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39" r:id="rId1"/>
    <p:sldMasterId id="2147484042" r:id="rId2"/>
    <p:sldMasterId id="2147484098" r:id="rId3"/>
    <p:sldMasterId id="2147487543" r:id="rId4"/>
    <p:sldMasterId id="2147486951" r:id="rId5"/>
    <p:sldMasterId id="2147487731" r:id="rId6"/>
    <p:sldMasterId id="2147483903" r:id="rId7"/>
    <p:sldMasterId id="2147488059" r:id="rId8"/>
    <p:sldMasterId id="2147488249" r:id="rId9"/>
    <p:sldMasterId id="2147488466" r:id="rId10"/>
    <p:sldMasterId id="2147488482" r:id="rId11"/>
    <p:sldMasterId id="2147488494" r:id="rId12"/>
    <p:sldMasterId id="2147488506" r:id="rId13"/>
    <p:sldMasterId id="2147488518" r:id="rId14"/>
    <p:sldMasterId id="2147489215" r:id="rId15"/>
    <p:sldMasterId id="2147489499" r:id="rId16"/>
    <p:sldMasterId id="2147489536" r:id="rId17"/>
    <p:sldMasterId id="2147489734" r:id="rId18"/>
    <p:sldMasterId id="2147490023" r:id="rId19"/>
    <p:sldMasterId id="2147490312" r:id="rId20"/>
  </p:sldMasterIdLst>
  <p:notesMasterIdLst>
    <p:notesMasterId r:id="rId77"/>
  </p:notesMasterIdLst>
  <p:sldIdLst>
    <p:sldId id="866" r:id="rId21"/>
    <p:sldId id="833" r:id="rId22"/>
    <p:sldId id="888" r:id="rId23"/>
    <p:sldId id="889" r:id="rId24"/>
    <p:sldId id="867" r:id="rId25"/>
    <p:sldId id="869" r:id="rId26"/>
    <p:sldId id="848" r:id="rId27"/>
    <p:sldId id="870" r:id="rId28"/>
    <p:sldId id="850" r:id="rId29"/>
    <p:sldId id="851" r:id="rId30"/>
    <p:sldId id="871" r:id="rId31"/>
    <p:sldId id="879" r:id="rId32"/>
    <p:sldId id="872" r:id="rId33"/>
    <p:sldId id="322" r:id="rId34"/>
    <p:sldId id="886" r:id="rId35"/>
    <p:sldId id="742" r:id="rId36"/>
    <p:sldId id="324" r:id="rId37"/>
    <p:sldId id="873" r:id="rId38"/>
    <p:sldId id="890" r:id="rId39"/>
    <p:sldId id="274" r:id="rId40"/>
    <p:sldId id="316" r:id="rId41"/>
    <p:sldId id="317" r:id="rId42"/>
    <p:sldId id="831" r:id="rId43"/>
    <p:sldId id="278" r:id="rId44"/>
    <p:sldId id="852" r:id="rId45"/>
    <p:sldId id="280" r:id="rId46"/>
    <p:sldId id="319" r:id="rId47"/>
    <p:sldId id="318" r:id="rId48"/>
    <p:sldId id="286" r:id="rId49"/>
    <p:sldId id="287" r:id="rId50"/>
    <p:sldId id="844" r:id="rId51"/>
    <p:sldId id="325" r:id="rId52"/>
    <p:sldId id="326" r:id="rId53"/>
    <p:sldId id="864" r:id="rId54"/>
    <p:sldId id="328" r:id="rId55"/>
    <p:sldId id="332" r:id="rId56"/>
    <p:sldId id="343" r:id="rId57"/>
    <p:sldId id="825" r:id="rId58"/>
    <p:sldId id="345" r:id="rId59"/>
    <p:sldId id="335" r:id="rId60"/>
    <p:sldId id="827" r:id="rId61"/>
    <p:sldId id="336" r:id="rId62"/>
    <p:sldId id="820" r:id="rId63"/>
    <p:sldId id="894" r:id="rId64"/>
    <p:sldId id="329" r:id="rId65"/>
    <p:sldId id="887" r:id="rId66"/>
    <p:sldId id="338" r:id="rId67"/>
    <p:sldId id="818" r:id="rId68"/>
    <p:sldId id="881" r:id="rId69"/>
    <p:sldId id="341" r:id="rId70"/>
    <p:sldId id="342" r:id="rId71"/>
    <p:sldId id="705" r:id="rId72"/>
    <p:sldId id="892" r:id="rId73"/>
    <p:sldId id="830" r:id="rId74"/>
    <p:sldId id="765" r:id="rId75"/>
    <p:sldId id="880" r:id="rId7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FCF8223C-610E-2BBA-F33B-0E1F55F6BB33}" name="Patricia Ann Lee King" initials="PK" userId="S::pal094@ads.northwestern.edu::dbab7ec2-5444-4d21-afe7-a39974533ddc" providerId="AD"/>
  <p188:author id="{0B48CC40-4357-5959-C41E-8F630855A478}" name="Aleena Lida Surenian" initials="AS" userId="S::als0813@ads.northwestern.edu::e2fd0e4e-6417-49b0-ab16-0ba26a1719f0" providerId="AD"/>
  <p188:author id="{65A64FCD-321F-D00C-6F0D-39389F913B93}" name="Isabel Rose Gippo" initials="" userId="S::irg9370@ads.northwestern.edu::b10bfe7e-55b9-46dd-9add-2eb52cb66d3b" providerId="AD"/>
  <p188:author id="{B1E8E1CE-C373-4BDB-0D3F-F84FE1DA86D4}" name="Eileen Fleming Suse" initials="" userId="S::efs3844@ads.northwestern.edu::725c94ef-d051-42d7-9d33-8572765d592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B77"/>
    <a:srgbClr val="545454"/>
    <a:srgbClr val="CA5C02"/>
    <a:srgbClr val="88936D"/>
    <a:srgbClr val="DE367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44125A5-C637-C426-677C-5F2C628BF894}" v="5" dt="2024-05-28T14:42:15.52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74435" autoAdjust="0"/>
  </p:normalViewPr>
  <p:slideViewPr>
    <p:cSldViewPr snapToGrid="0">
      <p:cViewPr varScale="1">
        <p:scale>
          <a:sx n="58" d="100"/>
          <a:sy n="58" d="100"/>
        </p:scale>
        <p:origin x="964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6.xml"/><Relationship Id="rId21" Type="http://schemas.openxmlformats.org/officeDocument/2006/relationships/slide" Target="slides/slide1.xml"/><Relationship Id="rId42" Type="http://schemas.openxmlformats.org/officeDocument/2006/relationships/slide" Target="slides/slide22.xml"/><Relationship Id="rId47" Type="http://schemas.openxmlformats.org/officeDocument/2006/relationships/slide" Target="slides/slide27.xml"/><Relationship Id="rId63" Type="http://schemas.openxmlformats.org/officeDocument/2006/relationships/slide" Target="slides/slide43.xml"/><Relationship Id="rId68" Type="http://schemas.openxmlformats.org/officeDocument/2006/relationships/slide" Target="slides/slide48.xml"/><Relationship Id="rId84" Type="http://schemas.microsoft.com/office/2018/10/relationships/authors" Target="authors.xml"/><Relationship Id="rId16" Type="http://schemas.openxmlformats.org/officeDocument/2006/relationships/slideMaster" Target="slideMasters/slideMaster16.xml"/><Relationship Id="rId11" Type="http://schemas.openxmlformats.org/officeDocument/2006/relationships/slideMaster" Target="slideMasters/slideMaster11.xml"/><Relationship Id="rId32" Type="http://schemas.openxmlformats.org/officeDocument/2006/relationships/slide" Target="slides/slide12.xml"/><Relationship Id="rId37" Type="http://schemas.openxmlformats.org/officeDocument/2006/relationships/slide" Target="slides/slide17.xml"/><Relationship Id="rId53" Type="http://schemas.openxmlformats.org/officeDocument/2006/relationships/slide" Target="slides/slide33.xml"/><Relationship Id="rId58" Type="http://schemas.openxmlformats.org/officeDocument/2006/relationships/slide" Target="slides/slide38.xml"/><Relationship Id="rId74" Type="http://schemas.openxmlformats.org/officeDocument/2006/relationships/slide" Target="slides/slide54.xml"/><Relationship Id="rId79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1.xml"/><Relationship Id="rId82" Type="http://schemas.microsoft.com/office/2016/11/relationships/changesInfo" Target="changesInfos/changesInfo1.xml"/><Relationship Id="rId19" Type="http://schemas.openxmlformats.org/officeDocument/2006/relationships/slideMaster" Target="slideMasters/slideMaster1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slide" Target="slides/slide10.xml"/><Relationship Id="rId35" Type="http://schemas.openxmlformats.org/officeDocument/2006/relationships/slide" Target="slides/slide15.xml"/><Relationship Id="rId43" Type="http://schemas.openxmlformats.org/officeDocument/2006/relationships/slide" Target="slides/slide23.xml"/><Relationship Id="rId48" Type="http://schemas.openxmlformats.org/officeDocument/2006/relationships/slide" Target="slides/slide28.xml"/><Relationship Id="rId56" Type="http://schemas.openxmlformats.org/officeDocument/2006/relationships/slide" Target="slides/slide36.xml"/><Relationship Id="rId64" Type="http://schemas.openxmlformats.org/officeDocument/2006/relationships/slide" Target="slides/slide44.xml"/><Relationship Id="rId69" Type="http://schemas.openxmlformats.org/officeDocument/2006/relationships/slide" Target="slides/slide49.xml"/><Relationship Id="rId77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1.xml"/><Relationship Id="rId72" Type="http://schemas.openxmlformats.org/officeDocument/2006/relationships/slide" Target="slides/slide52.xml"/><Relationship Id="rId80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5.xml"/><Relationship Id="rId33" Type="http://schemas.openxmlformats.org/officeDocument/2006/relationships/slide" Target="slides/slide13.xml"/><Relationship Id="rId38" Type="http://schemas.openxmlformats.org/officeDocument/2006/relationships/slide" Target="slides/slide18.xml"/><Relationship Id="rId46" Type="http://schemas.openxmlformats.org/officeDocument/2006/relationships/slide" Target="slides/slide26.xml"/><Relationship Id="rId59" Type="http://schemas.openxmlformats.org/officeDocument/2006/relationships/slide" Target="slides/slide39.xml"/><Relationship Id="rId67" Type="http://schemas.openxmlformats.org/officeDocument/2006/relationships/slide" Target="slides/slide47.xml"/><Relationship Id="rId20" Type="http://schemas.openxmlformats.org/officeDocument/2006/relationships/slideMaster" Target="slideMasters/slideMaster20.xml"/><Relationship Id="rId41" Type="http://schemas.openxmlformats.org/officeDocument/2006/relationships/slide" Target="slides/slide21.xml"/><Relationship Id="rId54" Type="http://schemas.openxmlformats.org/officeDocument/2006/relationships/slide" Target="slides/slide34.xml"/><Relationship Id="rId62" Type="http://schemas.openxmlformats.org/officeDocument/2006/relationships/slide" Target="slides/slide42.xml"/><Relationship Id="rId70" Type="http://schemas.openxmlformats.org/officeDocument/2006/relationships/slide" Target="slides/slide50.xml"/><Relationship Id="rId75" Type="http://schemas.openxmlformats.org/officeDocument/2006/relationships/slide" Target="slides/slide55.xml"/><Relationship Id="rId83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slide" Target="slides/slide16.xml"/><Relationship Id="rId49" Type="http://schemas.openxmlformats.org/officeDocument/2006/relationships/slide" Target="slides/slide29.xml"/><Relationship Id="rId57" Type="http://schemas.openxmlformats.org/officeDocument/2006/relationships/slide" Target="slides/slide37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11.xml"/><Relationship Id="rId44" Type="http://schemas.openxmlformats.org/officeDocument/2006/relationships/slide" Target="slides/slide24.xml"/><Relationship Id="rId52" Type="http://schemas.openxmlformats.org/officeDocument/2006/relationships/slide" Target="slides/slide32.xml"/><Relationship Id="rId60" Type="http://schemas.openxmlformats.org/officeDocument/2006/relationships/slide" Target="slides/slide40.xml"/><Relationship Id="rId65" Type="http://schemas.openxmlformats.org/officeDocument/2006/relationships/slide" Target="slides/slide45.xml"/><Relationship Id="rId73" Type="http://schemas.openxmlformats.org/officeDocument/2006/relationships/slide" Target="slides/slide53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9" Type="http://schemas.openxmlformats.org/officeDocument/2006/relationships/slide" Target="slides/slide19.xml"/><Relationship Id="rId34" Type="http://schemas.openxmlformats.org/officeDocument/2006/relationships/slide" Target="slides/slide14.xml"/><Relationship Id="rId50" Type="http://schemas.openxmlformats.org/officeDocument/2006/relationships/slide" Target="slides/slide30.xml"/><Relationship Id="rId55" Type="http://schemas.openxmlformats.org/officeDocument/2006/relationships/slide" Target="slides/slide35.xml"/><Relationship Id="rId76" Type="http://schemas.openxmlformats.org/officeDocument/2006/relationships/slide" Target="slides/slide56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1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9.xml"/><Relationship Id="rId24" Type="http://schemas.openxmlformats.org/officeDocument/2006/relationships/slide" Target="slides/slide4.xml"/><Relationship Id="rId40" Type="http://schemas.openxmlformats.org/officeDocument/2006/relationships/slide" Target="slides/slide20.xml"/><Relationship Id="rId45" Type="http://schemas.openxmlformats.org/officeDocument/2006/relationships/slide" Target="slides/slide25.xml"/><Relationship Id="rId66" Type="http://schemas.openxmlformats.org/officeDocument/2006/relationships/slide" Target="slides/slide46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ena Lida Surenian" userId="S::als0813@ads.northwestern.edu::e2fd0e4e-6417-49b0-ab16-0ba26a1719f0" providerId="AD" clId="Web-{744125A5-C637-C426-677C-5F2C628BF894}"/>
    <pc:docChg chg="modSld">
      <pc:chgData name="Aleena Lida Surenian" userId="S::als0813@ads.northwestern.edu::e2fd0e4e-6417-49b0-ab16-0ba26a1719f0" providerId="AD" clId="Web-{744125A5-C637-C426-677C-5F2C628BF894}" dt="2024-05-28T14:42:15.528" v="4"/>
      <pc:docMkLst>
        <pc:docMk/>
      </pc:docMkLst>
      <pc:sldChg chg="delSp">
        <pc:chgData name="Aleena Lida Surenian" userId="S::als0813@ads.northwestern.edu::e2fd0e4e-6417-49b0-ab16-0ba26a1719f0" providerId="AD" clId="Web-{744125A5-C637-C426-677C-5F2C628BF894}" dt="2024-05-28T14:41:53.996" v="2"/>
        <pc:sldMkLst>
          <pc:docMk/>
          <pc:sldMk cId="0" sldId="274"/>
        </pc:sldMkLst>
        <pc:picChg chg="del">
          <ac:chgData name="Aleena Lida Surenian" userId="S::als0813@ads.northwestern.edu::e2fd0e4e-6417-49b0-ab16-0ba26a1719f0" providerId="AD" clId="Web-{744125A5-C637-C426-677C-5F2C628BF894}" dt="2024-05-28T14:41:53.996" v="2"/>
          <ac:picMkLst>
            <pc:docMk/>
            <pc:sldMk cId="0" sldId="274"/>
            <ac:picMk id="2" creationId="{367DC70E-DA50-AD39-9177-F9AF5905D996}"/>
          </ac:picMkLst>
        </pc:picChg>
      </pc:sldChg>
      <pc:sldChg chg="delSp">
        <pc:chgData name="Aleena Lida Surenian" userId="S::als0813@ads.northwestern.edu::e2fd0e4e-6417-49b0-ab16-0ba26a1719f0" providerId="AD" clId="Web-{744125A5-C637-C426-677C-5F2C628BF894}" dt="2024-05-28T14:41:54.028" v="3"/>
        <pc:sldMkLst>
          <pc:docMk/>
          <pc:sldMk cId="2142227182" sldId="325"/>
        </pc:sldMkLst>
        <pc:picChg chg="del">
          <ac:chgData name="Aleena Lida Surenian" userId="S::als0813@ads.northwestern.edu::e2fd0e4e-6417-49b0-ab16-0ba26a1719f0" providerId="AD" clId="Web-{744125A5-C637-C426-677C-5F2C628BF894}" dt="2024-05-28T14:41:54.028" v="3"/>
          <ac:picMkLst>
            <pc:docMk/>
            <pc:sldMk cId="2142227182" sldId="325"/>
            <ac:picMk id="3" creationId="{6909E1EE-3986-BAE9-8DA8-A4BF808C23F0}"/>
          </ac:picMkLst>
        </pc:picChg>
      </pc:sldChg>
      <pc:sldChg chg="addSp delSp modSp">
        <pc:chgData name="Aleena Lida Surenian" userId="S::als0813@ads.northwestern.edu::e2fd0e4e-6417-49b0-ab16-0ba26a1719f0" providerId="AD" clId="Web-{744125A5-C637-C426-677C-5F2C628BF894}" dt="2024-05-28T14:42:15.528" v="4"/>
        <pc:sldMkLst>
          <pc:docMk/>
          <pc:sldMk cId="503611219" sldId="342"/>
        </pc:sldMkLst>
        <pc:spChg chg="add mod">
          <ac:chgData name="Aleena Lida Surenian" userId="S::als0813@ads.northwestern.edu::e2fd0e4e-6417-49b0-ab16-0ba26a1719f0" providerId="AD" clId="Web-{744125A5-C637-C426-677C-5F2C628BF894}" dt="2024-05-28T14:42:15.528" v="4"/>
          <ac:spMkLst>
            <pc:docMk/>
            <pc:sldMk cId="503611219" sldId="342"/>
            <ac:spMk id="6" creationId="{A29A62C5-8C42-D9D4-CCF1-6D249CFEC5E8}"/>
          </ac:spMkLst>
        </pc:spChg>
        <pc:picChg chg="del">
          <ac:chgData name="Aleena Lida Surenian" userId="S::als0813@ads.northwestern.edu::e2fd0e4e-6417-49b0-ab16-0ba26a1719f0" providerId="AD" clId="Web-{744125A5-C637-C426-677C-5F2C628BF894}" dt="2024-05-28T14:42:15.528" v="4"/>
          <ac:picMkLst>
            <pc:docMk/>
            <pc:sldMk cId="503611219" sldId="342"/>
            <ac:picMk id="5" creationId="{1A1F9611-2FAE-1FEA-48A7-ED9554D4E23E}"/>
          </ac:picMkLst>
        </pc:picChg>
      </pc:sldChg>
      <pc:sldChg chg="delSp">
        <pc:chgData name="Aleena Lida Surenian" userId="S::als0813@ads.northwestern.edu::e2fd0e4e-6417-49b0-ab16-0ba26a1719f0" providerId="AD" clId="Web-{744125A5-C637-C426-677C-5F2C628BF894}" dt="2024-05-28T14:41:19.495" v="0"/>
        <pc:sldMkLst>
          <pc:docMk/>
          <pc:sldMk cId="2131080640" sldId="833"/>
        </pc:sldMkLst>
        <pc:picChg chg="del">
          <ac:chgData name="Aleena Lida Surenian" userId="S::als0813@ads.northwestern.edu::e2fd0e4e-6417-49b0-ab16-0ba26a1719f0" providerId="AD" clId="Web-{744125A5-C637-C426-677C-5F2C628BF894}" dt="2024-05-28T14:41:19.495" v="0"/>
          <ac:picMkLst>
            <pc:docMk/>
            <pc:sldMk cId="2131080640" sldId="833"/>
            <ac:picMk id="5" creationId="{69C72F25-B5B6-4A7F-B1EA-A92C16BEA661}"/>
          </ac:picMkLst>
        </pc:picChg>
      </pc:sldChg>
      <pc:sldChg chg="delSp">
        <pc:chgData name="Aleena Lida Surenian" userId="S::als0813@ads.northwestern.edu::e2fd0e4e-6417-49b0-ab16-0ba26a1719f0" providerId="AD" clId="Web-{744125A5-C637-C426-677C-5F2C628BF894}" dt="2024-05-28T14:41:53.949" v="1"/>
        <pc:sldMkLst>
          <pc:docMk/>
          <pc:sldMk cId="2888929115" sldId="867"/>
        </pc:sldMkLst>
        <pc:picChg chg="del">
          <ac:chgData name="Aleena Lida Surenian" userId="S::als0813@ads.northwestern.edu::e2fd0e4e-6417-49b0-ab16-0ba26a1719f0" providerId="AD" clId="Web-{744125A5-C637-C426-677C-5F2C628BF894}" dt="2024-05-28T14:41:53.949" v="1"/>
          <ac:picMkLst>
            <pc:docMk/>
            <pc:sldMk cId="2888929115" sldId="867"/>
            <ac:picMk id="4" creationId="{17273ACB-18AD-00F9-285C-FD18EA10D2D2}"/>
          </ac:picMkLst>
        </pc:picChg>
      </pc:sldChg>
    </pc:docChg>
  </pc:docChgLst>
</pc:chgInfo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Quarterly PREM Survey Submissions</a:t>
            </a:r>
          </a:p>
        </c:rich>
      </c:tx>
      <c:layout>
        <c:manualLayout>
          <c:xMode val="edge"/>
          <c:yMode val="edge"/>
          <c:x val="0.28539448208012086"/>
          <c:y val="2.87292986284961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PREM Survey Completion.xlsx]Sheet3'!$B$1</c:f>
              <c:strCache>
                <c:ptCount val="1"/>
                <c:pt idx="0">
                  <c:v>PREM Survey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PREM Survey Completion.xlsx]Sheet3'!$A$2:$A$10</c:f>
              <c:strCache>
                <c:ptCount val="9"/>
                <c:pt idx="0">
                  <c:v>Q1 2022</c:v>
                </c:pt>
                <c:pt idx="1">
                  <c:v>Q2 2022</c:v>
                </c:pt>
                <c:pt idx="2">
                  <c:v>Q3 2022</c:v>
                </c:pt>
                <c:pt idx="3">
                  <c:v>Q4 2022</c:v>
                </c:pt>
                <c:pt idx="4">
                  <c:v>Q1 2023</c:v>
                </c:pt>
                <c:pt idx="5">
                  <c:v>Q2 2023</c:v>
                </c:pt>
                <c:pt idx="6">
                  <c:v>Q3 2023</c:v>
                </c:pt>
                <c:pt idx="7">
                  <c:v>Q4 2023</c:v>
                </c:pt>
                <c:pt idx="8">
                  <c:v>Q1 2024</c:v>
                </c:pt>
              </c:strCache>
            </c:strRef>
          </c:cat>
          <c:val>
            <c:numRef>
              <c:f>'[PREM Survey Completion.xlsx]Sheet3'!$B$2:$B$10</c:f>
              <c:numCache>
                <c:formatCode>General</c:formatCode>
                <c:ptCount val="9"/>
                <c:pt idx="0">
                  <c:v>17</c:v>
                </c:pt>
                <c:pt idx="1">
                  <c:v>154</c:v>
                </c:pt>
                <c:pt idx="2">
                  <c:v>321</c:v>
                </c:pt>
                <c:pt idx="3">
                  <c:v>682</c:v>
                </c:pt>
                <c:pt idx="4">
                  <c:v>1006</c:v>
                </c:pt>
                <c:pt idx="5">
                  <c:v>1778</c:v>
                </c:pt>
                <c:pt idx="6">
                  <c:v>1965</c:v>
                </c:pt>
                <c:pt idx="7">
                  <c:v>1834</c:v>
                </c:pt>
                <c:pt idx="8">
                  <c:v>1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D5-410C-9040-23B4B77A91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010466311"/>
        <c:axId val="2010477063"/>
      </c:barChart>
      <c:catAx>
        <c:axId val="201046631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0477063"/>
        <c:crosses val="autoZero"/>
        <c:auto val="1"/>
        <c:lblAlgn val="ctr"/>
        <c:lblOffset val="100"/>
        <c:noMultiLvlLbl val="0"/>
      </c:catAx>
      <c:valAx>
        <c:axId val="201047706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10466311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11F_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CAC1522-02B9-411B-A50B-3782DC0DF629}" authorId="{E5FBE01E-7B92-B9C0-0995-5C3FE74E91A1}" status="resolved" created="2024-05-07T17:13:59.107" startDate="2024-05-07T17:13:59.107" dueDate="2024-05-07T17:13:59.107" assignedTo="{B1E8E1CE-C373-4BDB-0D3F-F84FE1DA86D4}" complete="100000" title="@Eileen Fleming Suse per notes, Add in what % of teams have already received QI excellence award.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87"/>
      <ac:spMk id="4071" creationId="{00000000-0000-0000-0000-000000000000}"/>
    </ac:deMkLst>
    <p188:txBody>
      <a:bodyPr/>
      <a:lstStyle/>
      <a:p>
        <a:r>
          <a:rPr lang="en-US"/>
          <a:t>[@Eileen Fleming Suse] per notes, Add in what % of teams have already received QI excellence award.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>
            <p228:event time="2024-05-07T17:13:59.107" id="{48E98326-50BD-4792-A5A2-E8660554E43C}">
              <p228:atrbtn authorId="{E5FBE01E-7B92-B9C0-0995-5C3FE74E91A1}"/>
              <p228:anchr>
                <p228:comment id="{CCAC1522-02B9-411B-A50B-3782DC0DF629}"/>
              </p228:anchr>
              <p228:add/>
            </p228:event>
            <p228:event time="2024-05-07T17:13:59.107" id="{B9133995-CE55-47F5-9367-D51F060DE0E7}">
              <p228:atrbtn authorId="{E5FBE01E-7B92-B9C0-0995-5C3FE74E91A1}"/>
              <p228:anchr>
                <p228:comment id="{CCAC1522-02B9-411B-A50B-3782DC0DF629}"/>
              </p228:anchr>
              <p228:asgn authorId="{B1E8E1CE-C373-4BDB-0D3F-F84FE1DA86D4}"/>
            </p228:event>
            <p228:event time="2024-05-07T17:13:59.107" id="{CBCDD8EF-A571-4B36-AF8C-63C688555EB2}">
              <p228:atrbtn authorId="{E5FBE01E-7B92-B9C0-0995-5C3FE74E91A1}"/>
              <p228:anchr>
                <p228:comment id="{CCAC1522-02B9-411B-A50B-3782DC0DF629}"/>
              </p228:anchr>
              <p228:title val="@Eileen Fleming Suse per notes, Add in what % of teams have already received QI excellence award."/>
            </p228:event>
            <p228:event time="2024-05-07T17:13:59.107" id="{2103AD5E-E669-482A-95A3-14893A5F0A6F}">
              <p228:atrbtn authorId="{E5FBE01E-7B92-B9C0-0995-5C3FE74E91A1}"/>
              <p228:anchr>
                <p228:comment id="{CCAC1522-02B9-411B-A50B-3782DC0DF629}"/>
              </p228:anchr>
              <p228:date stDt="2024-05-07T17:13:59.107" endDt="2024-05-07T17:13:59.107"/>
            </p228:event>
            <p228:event time="2024-05-07T17:19:04.363" id="{CCFAEC7C-C2BF-4C92-A92B-835F45E62DFE}">
              <p228:atrbtn authorId="{B1E8E1CE-C373-4BDB-0D3F-F84FE1DA86D4}"/>
              <p228:anchr>
                <p228:comment id="{00000000-0000-0000-0000-000000000000}"/>
              </p228:anchr>
              <p228:pcntCmplt val="100000"/>
            </p228:event>
          </p228:history>
        </p228:taskDetails>
      </p:ext>
    </p188:extLst>
  </p188:cm>
</p188:cmLst>
</file>

<file path=ppt/comments/modernComment_149_75110E4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567A33A-814F-49FA-A88C-1FB4C6B74AD7}" authorId="{E5FBE01E-7B92-B9C0-0995-5C3FE74E91A1}" status="resolved" created="2024-05-07T17:13:59.10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0" sldId="287"/>
      <ac:spMk id="4071" creationId="{00000000-0000-0000-0000-000000000000}"/>
    </ac:deMkLst>
    <p188:txBody>
      <a:bodyPr/>
      <a:lstStyle/>
      <a:p>
        <a:r>
          <a:rPr lang="en-US"/>
          <a:t>[@Eileen Fleming Suse] per notes, Add in what % of teams have already received QI excellence award.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EA87362-1899-4804-B8FB-F55F0C4920AC}" type="doc">
      <dgm:prSet loTypeId="urn:microsoft.com/office/officeart/2005/8/layout/hList3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7DF096E-3BE8-42F5-BE27-1E90FECF1A9E}">
      <dgm:prSet phldrT="[Text]" phldr="0"/>
      <dgm:spPr/>
      <dgm:t>
        <a:bodyPr/>
        <a:lstStyle/>
        <a:p>
          <a:pPr algn="ctr">
            <a:lnSpc>
              <a:spcPct val="90000"/>
            </a:lnSpc>
          </a:pPr>
          <a:r>
            <a:rPr lang="en-US">
              <a:solidFill>
                <a:schemeClr val="tx1"/>
              </a:solidFill>
              <a:latin typeface="Calibri" panose="020F0502020204030204"/>
            </a:rPr>
            <a:t>We are so excited to be here together to share this work and learn from one another</a:t>
          </a:r>
          <a:endParaRPr lang="en-US">
            <a:solidFill>
              <a:schemeClr val="tx1"/>
            </a:solidFill>
          </a:endParaRPr>
        </a:p>
      </dgm:t>
    </dgm:pt>
    <dgm:pt modelId="{A4109664-2C79-488F-8D07-15F799AF627E}" type="parTrans" cxnId="{E1FE21FC-43EE-4061-B759-328A4B6B4DD1}">
      <dgm:prSet/>
      <dgm:spPr/>
      <dgm:t>
        <a:bodyPr/>
        <a:lstStyle/>
        <a:p>
          <a:endParaRPr lang="en-US"/>
        </a:p>
      </dgm:t>
    </dgm:pt>
    <dgm:pt modelId="{A10CFF84-66B9-494A-964C-A52361FCFFD0}" type="sibTrans" cxnId="{E1FE21FC-43EE-4061-B759-328A4B6B4DD1}">
      <dgm:prSet/>
      <dgm:spPr/>
      <dgm:t>
        <a:bodyPr/>
        <a:lstStyle/>
        <a:p>
          <a:endParaRPr lang="en-US"/>
        </a:p>
      </dgm:t>
    </dgm:pt>
    <dgm:pt modelId="{C62AD69D-66F6-4243-8D16-807C8B775269}">
      <dgm:prSet phldr="0"/>
      <dgm:spPr>
        <a:solidFill>
          <a:schemeClr val="accent1"/>
        </a:solidFill>
      </dgm:spPr>
      <dgm:t>
        <a:bodyPr/>
        <a:lstStyle/>
        <a:p>
          <a:pPr algn="ctr" rtl="0">
            <a:lnSpc>
              <a:spcPct val="90000"/>
            </a:lnSpc>
          </a:pPr>
          <a:r>
            <a:rPr lang="en-US" b="1">
              <a:latin typeface="Calibri" panose="020F0502020204030204"/>
            </a:rPr>
            <a:t>ILPQC is a network of hospital teams, perinatal clinicians, patients, community partners, public health leaders and .....YOU!</a:t>
          </a:r>
          <a:endParaRPr lang="en-US">
            <a:latin typeface="Calibri" panose="020F0502020204030204"/>
          </a:endParaRPr>
        </a:p>
      </dgm:t>
    </dgm:pt>
    <dgm:pt modelId="{A97D2D7A-976B-465C-9FB1-5EB719777E3D}" type="parTrans" cxnId="{BB77A392-6CDC-4C39-B84D-21C41BD3D91A}">
      <dgm:prSet/>
      <dgm:spPr/>
      <dgm:t>
        <a:bodyPr/>
        <a:lstStyle/>
        <a:p>
          <a:endParaRPr lang="en-US"/>
        </a:p>
      </dgm:t>
    </dgm:pt>
    <dgm:pt modelId="{1778DF8F-EF39-4DA4-B5C4-E99043F9674D}" type="sibTrans" cxnId="{BB77A392-6CDC-4C39-B84D-21C41BD3D91A}">
      <dgm:prSet/>
      <dgm:spPr/>
      <dgm:t>
        <a:bodyPr/>
        <a:lstStyle/>
        <a:p>
          <a:endParaRPr lang="en-US"/>
        </a:p>
      </dgm:t>
    </dgm:pt>
    <dgm:pt modelId="{C5C7972A-0843-4389-AF60-9FBDAFA947FE}">
      <dgm:prSet phldr="0" custT="1"/>
      <dgm:spPr/>
      <dgm:t>
        <a:bodyPr/>
        <a:lstStyle/>
        <a:p>
          <a:pPr algn="ctr">
            <a:lnSpc>
              <a:spcPct val="90000"/>
            </a:lnSpc>
          </a:pPr>
          <a:r>
            <a:rPr lang="en-US" sz="2700">
              <a:solidFill>
                <a:schemeClr val="tx1"/>
              </a:solidFill>
              <a:latin typeface="Calibri" panose="020F0502020204030204"/>
            </a:rPr>
            <a:t>We are so grateful for your hard work, commitment,    dedication and expertise</a:t>
          </a:r>
        </a:p>
      </dgm:t>
    </dgm:pt>
    <dgm:pt modelId="{EDA0ED1A-7127-41FA-8241-5DDC551EF214}" type="parTrans" cxnId="{D3DFF165-3E33-498F-9CFC-9F548C5E2773}">
      <dgm:prSet/>
      <dgm:spPr/>
      <dgm:t>
        <a:bodyPr/>
        <a:lstStyle/>
        <a:p>
          <a:endParaRPr lang="en-US"/>
        </a:p>
      </dgm:t>
    </dgm:pt>
    <dgm:pt modelId="{E9BC932A-3955-413B-B300-5BD826FA9D18}" type="sibTrans" cxnId="{D3DFF165-3E33-498F-9CFC-9F548C5E2773}">
      <dgm:prSet/>
      <dgm:spPr/>
      <dgm:t>
        <a:bodyPr/>
        <a:lstStyle/>
        <a:p>
          <a:endParaRPr lang="en-US"/>
        </a:p>
      </dgm:t>
    </dgm:pt>
    <dgm:pt modelId="{CC240E12-485D-47C9-9FB4-D1E51B0D6932}">
      <dgm:prSet phldr="0"/>
      <dgm:spPr/>
      <dgm:t>
        <a:bodyPr/>
        <a:lstStyle/>
        <a:p>
          <a:pPr algn="ctr" rtl="0">
            <a:lnSpc>
              <a:spcPct val="90000"/>
            </a:lnSpc>
          </a:pPr>
          <a:r>
            <a:rPr lang="en-US">
              <a:solidFill>
                <a:schemeClr val="tx1"/>
              </a:solidFill>
              <a:latin typeface="Calibri" panose="020F0502020204030204"/>
            </a:rPr>
            <a:t>You have all done such incredible work over the last year</a:t>
          </a:r>
        </a:p>
      </dgm:t>
    </dgm:pt>
    <dgm:pt modelId="{A264C54A-3B98-41F4-B3E1-747A572945BB}" type="parTrans" cxnId="{798D8B94-E1D2-461D-A808-543A1E5101EA}">
      <dgm:prSet/>
      <dgm:spPr/>
      <dgm:t>
        <a:bodyPr/>
        <a:lstStyle/>
        <a:p>
          <a:endParaRPr lang="en-US"/>
        </a:p>
      </dgm:t>
    </dgm:pt>
    <dgm:pt modelId="{B2D8F1E1-97C9-4AC9-93D6-270276D623B1}" type="sibTrans" cxnId="{798D8B94-E1D2-461D-A808-543A1E5101EA}">
      <dgm:prSet/>
      <dgm:spPr/>
      <dgm:t>
        <a:bodyPr/>
        <a:lstStyle/>
        <a:p>
          <a:endParaRPr lang="en-US"/>
        </a:p>
      </dgm:t>
    </dgm:pt>
    <dgm:pt modelId="{AFECE6E3-E490-49F5-A291-931A505C65FC}" type="pres">
      <dgm:prSet presAssocID="{6EA87362-1899-4804-B8FB-F55F0C4920AC}" presName="composite" presStyleCnt="0">
        <dgm:presLayoutVars>
          <dgm:chMax val="1"/>
          <dgm:dir/>
          <dgm:resizeHandles val="exact"/>
        </dgm:presLayoutVars>
      </dgm:prSet>
      <dgm:spPr/>
    </dgm:pt>
    <dgm:pt modelId="{8787A963-FCD3-4274-8FD7-565EAF482331}" type="pres">
      <dgm:prSet presAssocID="{C62AD69D-66F6-4243-8D16-807C8B775269}" presName="roof" presStyleLbl="dkBgShp" presStyleIdx="0" presStyleCnt="2"/>
      <dgm:spPr/>
    </dgm:pt>
    <dgm:pt modelId="{8ACF6CBB-D7C1-4B2E-86A9-F8097CBFA1A1}" type="pres">
      <dgm:prSet presAssocID="{C62AD69D-66F6-4243-8D16-807C8B775269}" presName="pillars" presStyleCnt="0"/>
      <dgm:spPr/>
    </dgm:pt>
    <dgm:pt modelId="{1D64FB2C-0097-4559-B3D7-26D57949ED25}" type="pres">
      <dgm:prSet presAssocID="{C62AD69D-66F6-4243-8D16-807C8B775269}" presName="pillar1" presStyleLbl="node1" presStyleIdx="0" presStyleCnt="3">
        <dgm:presLayoutVars>
          <dgm:bulletEnabled val="1"/>
        </dgm:presLayoutVars>
      </dgm:prSet>
      <dgm:spPr/>
    </dgm:pt>
    <dgm:pt modelId="{70B20B95-8241-4A6F-9E18-0B78A2ED7C75}" type="pres">
      <dgm:prSet presAssocID="{CC240E12-485D-47C9-9FB4-D1E51B0D6932}" presName="pillarX" presStyleLbl="node1" presStyleIdx="1" presStyleCnt="3">
        <dgm:presLayoutVars>
          <dgm:bulletEnabled val="1"/>
        </dgm:presLayoutVars>
      </dgm:prSet>
      <dgm:spPr/>
    </dgm:pt>
    <dgm:pt modelId="{BA31223F-1DB7-4362-942B-BA851DAE2811}" type="pres">
      <dgm:prSet presAssocID="{F7DF096E-3BE8-42F5-BE27-1E90FECF1A9E}" presName="pillarX" presStyleLbl="node1" presStyleIdx="2" presStyleCnt="3">
        <dgm:presLayoutVars>
          <dgm:bulletEnabled val="1"/>
        </dgm:presLayoutVars>
      </dgm:prSet>
      <dgm:spPr/>
    </dgm:pt>
    <dgm:pt modelId="{593277F5-D729-4925-AB35-F65BDC29CE76}" type="pres">
      <dgm:prSet presAssocID="{C62AD69D-66F6-4243-8D16-807C8B775269}" presName="base" presStyleLbl="dkBgShp" presStyleIdx="1" presStyleCnt="2"/>
      <dgm:spPr>
        <a:solidFill>
          <a:schemeClr val="accent1"/>
        </a:solidFill>
      </dgm:spPr>
    </dgm:pt>
  </dgm:ptLst>
  <dgm:cxnLst>
    <dgm:cxn modelId="{A830B90D-9AB6-49CC-BA00-715A5B88D3E6}" type="presOf" srcId="{CC240E12-485D-47C9-9FB4-D1E51B0D6932}" destId="{70B20B95-8241-4A6F-9E18-0B78A2ED7C75}" srcOrd="0" destOrd="0" presId="urn:microsoft.com/office/officeart/2005/8/layout/hList3"/>
    <dgm:cxn modelId="{D5F5AF17-4E1F-4115-AD8D-51F82F5B8960}" type="presOf" srcId="{C5C7972A-0843-4389-AF60-9FBDAFA947FE}" destId="{1D64FB2C-0097-4559-B3D7-26D57949ED25}" srcOrd="0" destOrd="0" presId="urn:microsoft.com/office/officeart/2005/8/layout/hList3"/>
    <dgm:cxn modelId="{61F3FD36-E947-4919-80C9-34CA59A1421E}" type="presOf" srcId="{6EA87362-1899-4804-B8FB-F55F0C4920AC}" destId="{AFECE6E3-E490-49F5-A291-931A505C65FC}" srcOrd="0" destOrd="0" presId="urn:microsoft.com/office/officeart/2005/8/layout/hList3"/>
    <dgm:cxn modelId="{D3DFF165-3E33-498F-9CFC-9F548C5E2773}" srcId="{C62AD69D-66F6-4243-8D16-807C8B775269}" destId="{C5C7972A-0843-4389-AF60-9FBDAFA947FE}" srcOrd="0" destOrd="0" parTransId="{EDA0ED1A-7127-41FA-8241-5DDC551EF214}" sibTransId="{E9BC932A-3955-413B-B300-5BD826FA9D18}"/>
    <dgm:cxn modelId="{623E7B4E-1494-4B76-821B-157134AE4949}" type="presOf" srcId="{F7DF096E-3BE8-42F5-BE27-1E90FECF1A9E}" destId="{BA31223F-1DB7-4362-942B-BA851DAE2811}" srcOrd="0" destOrd="0" presId="urn:microsoft.com/office/officeart/2005/8/layout/hList3"/>
    <dgm:cxn modelId="{BB77A392-6CDC-4C39-B84D-21C41BD3D91A}" srcId="{6EA87362-1899-4804-B8FB-F55F0C4920AC}" destId="{C62AD69D-66F6-4243-8D16-807C8B775269}" srcOrd="0" destOrd="0" parTransId="{A97D2D7A-976B-465C-9FB1-5EB719777E3D}" sibTransId="{1778DF8F-EF39-4DA4-B5C4-E99043F9674D}"/>
    <dgm:cxn modelId="{798D8B94-E1D2-461D-A808-543A1E5101EA}" srcId="{C62AD69D-66F6-4243-8D16-807C8B775269}" destId="{CC240E12-485D-47C9-9FB4-D1E51B0D6932}" srcOrd="1" destOrd="0" parTransId="{A264C54A-3B98-41F4-B3E1-747A572945BB}" sibTransId="{B2D8F1E1-97C9-4AC9-93D6-270276D623B1}"/>
    <dgm:cxn modelId="{F94B85BA-6DCF-4D4F-8321-341D60A0B53A}" type="presOf" srcId="{C62AD69D-66F6-4243-8D16-807C8B775269}" destId="{8787A963-FCD3-4274-8FD7-565EAF482331}" srcOrd="0" destOrd="0" presId="urn:microsoft.com/office/officeart/2005/8/layout/hList3"/>
    <dgm:cxn modelId="{E1FE21FC-43EE-4061-B759-328A4B6B4DD1}" srcId="{C62AD69D-66F6-4243-8D16-807C8B775269}" destId="{F7DF096E-3BE8-42F5-BE27-1E90FECF1A9E}" srcOrd="2" destOrd="0" parTransId="{A4109664-2C79-488F-8D07-15F799AF627E}" sibTransId="{A10CFF84-66B9-494A-964C-A52361FCFFD0}"/>
    <dgm:cxn modelId="{A1E8186C-C82A-46B7-8EB5-32098383B363}" type="presParOf" srcId="{AFECE6E3-E490-49F5-A291-931A505C65FC}" destId="{8787A963-FCD3-4274-8FD7-565EAF482331}" srcOrd="0" destOrd="0" presId="urn:microsoft.com/office/officeart/2005/8/layout/hList3"/>
    <dgm:cxn modelId="{7F4A3966-38C7-4F6A-8925-475B63A43167}" type="presParOf" srcId="{AFECE6E3-E490-49F5-A291-931A505C65FC}" destId="{8ACF6CBB-D7C1-4B2E-86A9-F8097CBFA1A1}" srcOrd="1" destOrd="0" presId="urn:microsoft.com/office/officeart/2005/8/layout/hList3"/>
    <dgm:cxn modelId="{2ABF793E-CA81-430D-9502-DCC328704AA5}" type="presParOf" srcId="{8ACF6CBB-D7C1-4B2E-86A9-F8097CBFA1A1}" destId="{1D64FB2C-0097-4559-B3D7-26D57949ED25}" srcOrd="0" destOrd="0" presId="urn:microsoft.com/office/officeart/2005/8/layout/hList3"/>
    <dgm:cxn modelId="{B42E4171-E9F2-4DFE-AD81-84909FF4FA91}" type="presParOf" srcId="{8ACF6CBB-D7C1-4B2E-86A9-F8097CBFA1A1}" destId="{70B20B95-8241-4A6F-9E18-0B78A2ED7C75}" srcOrd="1" destOrd="0" presId="urn:microsoft.com/office/officeart/2005/8/layout/hList3"/>
    <dgm:cxn modelId="{D2876430-577D-4A17-9C4F-A3125793EF8B}" type="presParOf" srcId="{8ACF6CBB-D7C1-4B2E-86A9-F8097CBFA1A1}" destId="{BA31223F-1DB7-4362-942B-BA851DAE2811}" srcOrd="2" destOrd="0" presId="urn:microsoft.com/office/officeart/2005/8/layout/hList3"/>
    <dgm:cxn modelId="{13EB996B-1B62-4D56-B173-5C30582BCDEE}" type="presParOf" srcId="{AFECE6E3-E490-49F5-A291-931A505C65FC}" destId="{593277F5-D729-4925-AB35-F65BDC29CE76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87A963-FCD3-4274-8FD7-565EAF482331}">
      <dsp:nvSpPr>
        <dsp:cNvPr id="0" name=""/>
        <dsp:cNvSpPr/>
      </dsp:nvSpPr>
      <dsp:spPr>
        <a:xfrm>
          <a:off x="0" y="0"/>
          <a:ext cx="7720640" cy="1209423"/>
        </a:xfrm>
        <a:prstGeom prst="rect">
          <a:avLst/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b="1" kern="1200">
              <a:latin typeface="Calibri" panose="020F0502020204030204"/>
            </a:rPr>
            <a:t>ILPQC is a network of hospital teams, perinatal clinicians, patients, community partners, public health leaders and .....YOU!</a:t>
          </a:r>
          <a:endParaRPr lang="en-US" sz="2400" kern="1200">
            <a:latin typeface="Calibri" panose="020F0502020204030204"/>
          </a:endParaRPr>
        </a:p>
      </dsp:txBody>
      <dsp:txXfrm>
        <a:off x="0" y="0"/>
        <a:ext cx="7720640" cy="1209423"/>
      </dsp:txXfrm>
    </dsp:sp>
    <dsp:sp modelId="{1D64FB2C-0097-4559-B3D7-26D57949ED25}">
      <dsp:nvSpPr>
        <dsp:cNvPr id="0" name=""/>
        <dsp:cNvSpPr/>
      </dsp:nvSpPr>
      <dsp:spPr>
        <a:xfrm>
          <a:off x="3769" y="1209423"/>
          <a:ext cx="2571033" cy="2539789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>
              <a:solidFill>
                <a:schemeClr val="tx1"/>
              </a:solidFill>
              <a:latin typeface="Calibri" panose="020F0502020204030204"/>
            </a:rPr>
            <a:t>We are so grateful for your hard work, commitment,    dedication and expertise</a:t>
          </a:r>
        </a:p>
      </dsp:txBody>
      <dsp:txXfrm>
        <a:off x="3769" y="1209423"/>
        <a:ext cx="2571033" cy="2539789"/>
      </dsp:txXfrm>
    </dsp:sp>
    <dsp:sp modelId="{70B20B95-8241-4A6F-9E18-0B78A2ED7C75}">
      <dsp:nvSpPr>
        <dsp:cNvPr id="0" name=""/>
        <dsp:cNvSpPr/>
      </dsp:nvSpPr>
      <dsp:spPr>
        <a:xfrm>
          <a:off x="2574803" y="1209423"/>
          <a:ext cx="2571033" cy="2539789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>
              <a:solidFill>
                <a:schemeClr val="tx1"/>
              </a:solidFill>
              <a:latin typeface="Calibri" panose="020F0502020204030204"/>
            </a:rPr>
            <a:t>You have all done such incredible work over the last year</a:t>
          </a:r>
        </a:p>
      </dsp:txBody>
      <dsp:txXfrm>
        <a:off x="2574803" y="1209423"/>
        <a:ext cx="2571033" cy="2539789"/>
      </dsp:txXfrm>
    </dsp:sp>
    <dsp:sp modelId="{BA31223F-1DB7-4362-942B-BA851DAE2811}">
      <dsp:nvSpPr>
        <dsp:cNvPr id="0" name=""/>
        <dsp:cNvSpPr/>
      </dsp:nvSpPr>
      <dsp:spPr>
        <a:xfrm>
          <a:off x="5145836" y="1209423"/>
          <a:ext cx="2571033" cy="2539789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2870" tIns="102870" rIns="102870" bIns="102870" numCol="1" spcCol="1270" anchor="ctr" anchorCtr="0">
          <a:noAutofit/>
        </a:bodyPr>
        <a:lstStyle/>
        <a:p>
          <a:pPr marL="0" lvl="0" indent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700" kern="1200">
              <a:solidFill>
                <a:schemeClr val="tx1"/>
              </a:solidFill>
              <a:latin typeface="Calibri" panose="020F0502020204030204"/>
            </a:rPr>
            <a:t>We are so excited to be here together to share this work and learn from one another</a:t>
          </a:r>
          <a:endParaRPr lang="en-US" sz="2700" kern="1200">
            <a:solidFill>
              <a:schemeClr val="tx1"/>
            </a:solidFill>
          </a:endParaRPr>
        </a:p>
      </dsp:txBody>
      <dsp:txXfrm>
        <a:off x="5145836" y="1209423"/>
        <a:ext cx="2571033" cy="2539789"/>
      </dsp:txXfrm>
    </dsp:sp>
    <dsp:sp modelId="{593277F5-D729-4925-AB35-F65BDC29CE76}">
      <dsp:nvSpPr>
        <dsp:cNvPr id="0" name=""/>
        <dsp:cNvSpPr/>
      </dsp:nvSpPr>
      <dsp:spPr>
        <a:xfrm>
          <a:off x="0" y="3749213"/>
          <a:ext cx="7720640" cy="282198"/>
        </a:xfrm>
        <a:prstGeom prst="rect">
          <a:avLst/>
        </a:prstGeom>
        <a:solidFill>
          <a:schemeClr val="accent1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9E1212-13DD-4F7F-ADDA-35435FC50D93}" type="datetimeFigureOut">
              <a:t>5/2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19EE26-A09D-4829-9B07-906A6023EC61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27376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Team, let's us this slide for sponso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40A913-E179-4808-9BA2-F031F447DFE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63766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1" name="Google Shape;3811;p14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/>
            <a:endParaRPr lang="en-US">
              <a:ea typeface="Calibri"/>
              <a:cs typeface="Calibri"/>
            </a:endParaRPr>
          </a:p>
        </p:txBody>
      </p:sp>
      <p:sp>
        <p:nvSpPr>
          <p:cNvPr id="3812" name="Google Shape;3812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lnSpc>
                <a:spcPct val="150000"/>
              </a:lnSpc>
              <a:spcBef>
                <a:spcPts val="100"/>
              </a:spcBef>
              <a:spcAft>
                <a:spcPts val="100"/>
              </a:spcAft>
              <a:buFont typeface="Arial"/>
              <a:buChar char="•"/>
            </a:pPr>
            <a:r>
              <a:rPr lang="en-US" b="1"/>
              <a:t>ILPQC Obstetric Advisory Workgroups </a:t>
            </a:r>
            <a:endParaRPr lang="en-US"/>
          </a:p>
          <a:p>
            <a:pPr marL="285750" indent="-285750">
              <a:lnSpc>
                <a:spcPct val="150000"/>
              </a:lnSpc>
              <a:spcBef>
                <a:spcPts val="100"/>
              </a:spcBef>
              <a:spcAft>
                <a:spcPts val="100"/>
              </a:spcAft>
              <a:buFont typeface="Arial"/>
              <a:buChar char="•"/>
            </a:pPr>
            <a:r>
              <a:rPr lang="en-US" b="1"/>
              <a:t>ILPQC Leadership Team</a:t>
            </a:r>
            <a:endParaRPr lang="en-US"/>
          </a:p>
          <a:p>
            <a:pPr marL="285750" indent="-285750">
              <a:lnSpc>
                <a:spcPct val="150000"/>
              </a:lnSpc>
              <a:spcBef>
                <a:spcPts val="100"/>
              </a:spcBef>
              <a:spcAft>
                <a:spcPts val="100"/>
              </a:spcAft>
              <a:buFont typeface="Arial"/>
              <a:buChar char="•"/>
            </a:pPr>
            <a:r>
              <a:rPr lang="en-US" b="1"/>
              <a:t>ILPQC Planning Committee &amp; Meeting Volunteers</a:t>
            </a:r>
            <a:endParaRPr lang="en-US"/>
          </a:p>
          <a:p>
            <a:pPr marL="285750" indent="-285750">
              <a:lnSpc>
                <a:spcPct val="150000"/>
              </a:lnSpc>
              <a:spcBef>
                <a:spcPts val="100"/>
              </a:spcBef>
              <a:spcAft>
                <a:spcPts val="100"/>
              </a:spcAft>
              <a:buFont typeface="Arial"/>
              <a:buChar char="•"/>
            </a:pPr>
            <a:r>
              <a:rPr lang="en-US" b="1"/>
              <a:t>Perinatal Network Administrators and Educators</a:t>
            </a:r>
            <a:endParaRPr lang="en-US"/>
          </a:p>
          <a:p>
            <a:pPr marL="285750" indent="-285750">
              <a:lnSpc>
                <a:spcPct val="150000"/>
              </a:lnSpc>
              <a:spcBef>
                <a:spcPts val="100"/>
              </a:spcBef>
              <a:spcAft>
                <a:spcPts val="100"/>
              </a:spcAft>
              <a:buFont typeface="Arial"/>
              <a:buChar char="•"/>
            </a:pPr>
            <a:r>
              <a:rPr lang="en-US" b="1"/>
              <a:t>ILPQC Speakers, Experts, and Clinical Leads</a:t>
            </a:r>
            <a:endParaRPr lang="en-US"/>
          </a:p>
          <a:p>
            <a:pPr marL="285750" indent="-285750">
              <a:lnSpc>
                <a:spcPct val="150000"/>
              </a:lnSpc>
              <a:spcBef>
                <a:spcPts val="100"/>
              </a:spcBef>
              <a:spcAft>
                <a:spcPts val="100"/>
              </a:spcAft>
              <a:buFont typeface="Arial"/>
              <a:buChar char="•"/>
            </a:pPr>
            <a:r>
              <a:rPr lang="en-US" b="1"/>
              <a:t>ILPQC Community Advisory Boards &amp; additional Patient/Family Advisors </a:t>
            </a:r>
            <a:endParaRPr lang="en-US"/>
          </a:p>
          <a:p>
            <a:pPr marL="285750" indent="-285750">
              <a:lnSpc>
                <a:spcPct val="150000"/>
              </a:lnSpc>
              <a:spcBef>
                <a:spcPts val="100"/>
              </a:spcBef>
              <a:spcAft>
                <a:spcPts val="100"/>
              </a:spcAft>
              <a:buFont typeface="Arial"/>
              <a:buChar char="•"/>
            </a:pPr>
            <a:r>
              <a:rPr lang="en-US" b="1"/>
              <a:t>ILPQC OB Hospital Teams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B1C258-122C-4775-B207-3DE2D949F4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248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88" name="Google Shape;21488;p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en-US">
              <a:cs typeface="Calibri"/>
            </a:endParaRPr>
          </a:p>
        </p:txBody>
      </p:sp>
      <p:sp>
        <p:nvSpPr>
          <p:cNvPr id="21489" name="Google Shape;2148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69" name="Google Shape;3869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70" name="Google Shape;387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5584812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7" name="Google Shape;3877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878" name="Google Shape;3878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/>
              <a:t>Add picture</a:t>
            </a:r>
          </a:p>
        </p:txBody>
      </p:sp>
      <p:sp>
        <p:nvSpPr>
          <p:cNvPr id="3879" name="Google Shape;3879;p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0</a:t>
            </a:fld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19EE26-A09D-4829-9B07-906A6023EC61}" type="slidenum">
              <a:rPr lang="en-US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59897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19EE26-A09D-4829-9B07-906A6023EC61}" type="slidenum">
              <a:rPr lang="en-US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85296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33" name="Google Shape;3933;p2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934" name="Google Shape;3934;p2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3935" name="Google Shape;3935;p2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4</a:t>
            </a:fld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4" name="Google Shape;3964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965" name="Google Shape;3965;p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endParaRPr lang="en-US">
              <a:cs typeface="Calibri"/>
            </a:endParaRPr>
          </a:p>
        </p:txBody>
      </p:sp>
      <p:sp>
        <p:nvSpPr>
          <p:cNvPr id="3966" name="Google Shape;3966;p2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6</a:t>
            </a:fld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B1C258-122C-4775-B207-3DE2D949F41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55699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6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9" name="Google Shape;361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620" name="Google Shape;3620;p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>
                <a:cs typeface="Calibri"/>
              </a:rPr>
              <a:t>Welcome Slide, ILPQC Face-to-Face 2-day meeting</a:t>
            </a:r>
          </a:p>
          <a:p>
            <a:r>
              <a:rPr lang="en-US">
                <a:cs typeface="Calibri"/>
              </a:rPr>
              <a:t>Day 1: PVB and BE</a:t>
            </a:r>
            <a:endParaRPr lang="en-US">
              <a:ea typeface="Calibri"/>
              <a:cs typeface="Calibri"/>
            </a:endParaRPr>
          </a:p>
          <a:p>
            <a:r>
              <a:rPr lang="en-US">
                <a:cs typeface="Calibri"/>
              </a:rPr>
              <a:t>Day 2: ESSI 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3621" name="Google Shape;3621;p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</a:t>
            </a:fld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19EE26-A09D-4829-9B07-906A6023EC61}" type="slidenum">
              <a:rPr lang="en-US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402382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58" name="Google Shape;4058;p3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/>
            <a:endParaRPr lang="en-US"/>
          </a:p>
        </p:txBody>
      </p:sp>
      <p:sp>
        <p:nvSpPr>
          <p:cNvPr id="4059" name="Google Shape;4059;p3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7" name="Google Shape;4067;p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68" name="Google Shape;4068;p3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/>
            <a:endParaRPr lang="en-US">
              <a:ea typeface="Calibri"/>
              <a:cs typeface="Calibri"/>
            </a:endParaRPr>
          </a:p>
          <a:p>
            <a:endParaRPr lang="en-US"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69" name="Google Shape;4069;p3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0</a:t>
            </a:fld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19EE26-A09D-4829-9B07-906A6023EC61}" type="slidenum">
              <a:rPr lang="en-US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4992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3" name="Google Shape;4083;p3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/>
            <a:endParaRPr lang="en-US">
              <a:ea typeface="Calibri"/>
              <a:cs typeface="Calibri"/>
            </a:endParaRPr>
          </a:p>
        </p:txBody>
      </p:sp>
      <p:sp>
        <p:nvSpPr>
          <p:cNvPr id="4084" name="Google Shape;4084;p3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19EE26-A09D-4829-9B07-906A6023EC61}" type="slidenum">
              <a:rPr lang="en-US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84639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0" name="Google Shape;4190;p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191" name="Google Shape;4191;p3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2" name="Google Shape;4192;p3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6</a:t>
            </a:fld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4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50" name="Google Shape;21450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73163"/>
            <a:ext cx="5632450" cy="31686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1451" name="Google Shape;21451;p18:notes"/>
          <p:cNvSpPr txBox="1">
            <a:spLocks noGrp="1"/>
          </p:cNvSpPr>
          <p:nvPr>
            <p:ph type="body" idx="1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0" tIns="47075" rIns="94200" bIns="47075" anchor="t" anchorCtr="0">
            <a:noAutofit/>
          </a:bodyPr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21452" name="Google Shape;21452;p18:notes"/>
          <p:cNvSpPr txBox="1">
            <a:spLocks noGrp="1"/>
          </p:cNvSpPr>
          <p:nvPr>
            <p:ph type="sldNum" idx="12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200" tIns="47075" rIns="94200" bIns="47075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7</a:t>
            </a:fld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7" name="Google Shape;4237;p4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238" name="Google Shape;4238;p4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/>
            <a:endParaRPr lang="en-US" b="1">
              <a:cs typeface="Calibri"/>
            </a:endParaRPr>
          </a:p>
        </p:txBody>
      </p:sp>
      <p:sp>
        <p:nvSpPr>
          <p:cNvPr id="4239" name="Google Shape;4239;p4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0</a:t>
            </a:fld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Pull different quotes – hearing about patient experience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0B1C258-122C-4775-B207-3DE2D949F414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06309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ould add Day #1 at the top and then add a 2</a:t>
            </a:r>
            <a:r>
              <a:rPr lang="en-US" baseline="30000"/>
              <a:t>nd</a:t>
            </a:r>
            <a:r>
              <a:rPr lang="en-US"/>
              <a:t> slide with: Day #2 ILPQC 2024 Neonatal Face-to-Face Agenda.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40A913-E179-4808-9BA2-F031F447DFE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78013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3" name="Google Shape;4253;p4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254" name="Google Shape;4254;p4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255" name="Google Shape;4255;p43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2</a:t>
            </a:fld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7" name="Google Shape;4067;p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68" name="Google Shape;4068;p3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/>
            <a:endParaRPr lang="en-US">
              <a:ea typeface="Calibri" panose="020F0502020204030204"/>
              <a:cs typeface="Calibri" panose="020F0502020204030204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69" name="Google Shape;4069;p3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5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29910393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Can we change these pics for a BE focus pictures…maybe respectful care breakfasts, patient partners?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19EE26-A09D-4829-9B07-906A6023EC6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129654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5" name="Google Shape;4305;p4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/>
            <a:endParaRPr/>
          </a:p>
        </p:txBody>
      </p:sp>
      <p:sp>
        <p:nvSpPr>
          <p:cNvPr id="4306" name="Google Shape;4306;p4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4" name="Google Shape;4344;p4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345" name="Google Shape;4345;p4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>
                <a:cs typeface="Calibri"/>
              </a:rPr>
              <a:t>Add DOPP flyer</a:t>
            </a:r>
          </a:p>
          <a:p>
            <a:r>
              <a:rPr lang="en-US">
                <a:cs typeface="Calibri"/>
              </a:rPr>
              <a:t>QR code for MAR NOW </a:t>
            </a:r>
          </a:p>
          <a:p>
            <a:r>
              <a:rPr lang="en-US">
                <a:cs typeface="Calibri"/>
              </a:rPr>
              <a:t>QR code for Angel's Story</a:t>
            </a:r>
          </a:p>
          <a:p>
            <a:r>
              <a:rPr lang="en-US">
                <a:cs typeface="Calibri"/>
              </a:rPr>
              <a:t>QR code for DOPP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46" name="Google Shape;4346;p4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084969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9" name="Google Shape;4399;p5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400" name="Google Shape;4400;p5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19EE26-A09D-4829-9B07-906A6023EC61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604348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ovides an opportunity to address perinatal mental health conditions across the full perinatal pathway in order to optimize perinatal care and reduce associated maternal mortality. </a:t>
            </a: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19EE26-A09D-4829-9B07-906A6023EC61}" type="slidenum">
              <a:rPr lang="en-US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3097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Project will develop patient-centered resources to adapt </a:t>
            </a:r>
            <a:r>
              <a:rPr lang="en-US" err="1"/>
              <a:t>TeamBirth</a:t>
            </a:r>
            <a:r>
              <a:rPr lang="en-US"/>
              <a:t> in partnership with Black birthing patients and families in Illinois, support </a:t>
            </a:r>
            <a:r>
              <a:rPr lang="en-US" err="1"/>
              <a:t>TeamBirth</a:t>
            </a:r>
            <a:r>
              <a:rPr lang="en-US"/>
              <a:t> implementation, evaluate the impact on patient experience and birth outcomes, and work to share findings and resources with other Perinatal Quality Collaboratives across the country</a:t>
            </a:r>
          </a:p>
          <a:p>
            <a:endParaRPr lang="en-US"/>
          </a:p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419EE26-A09D-4829-9B07-906A6023EC61}" type="slidenum">
              <a:rPr lang="en-US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26518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40A913-E179-4808-9BA2-F031F447DFE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68036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Would add Day #1 at the top and then add a 2</a:t>
            </a:r>
            <a:r>
              <a:rPr lang="en-US" baseline="30000"/>
              <a:t>nd</a:t>
            </a:r>
            <a:r>
              <a:rPr lang="en-US"/>
              <a:t> slide with: Day #2 ILPQC 2024 Neonatal Face-to-Face Agenda.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40A913-E179-4808-9BA2-F031F447DFE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8371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54165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0" name="Google Shape;2650;g2491ddcd1b9_0_81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651" name="Google Shape;2651;g2491ddcd1b9_0_81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2652" name="Google Shape;2652;g2491ddcd1b9_0_811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0" name="Google Shape;2020;g24847f8a41b_0_57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021" name="Google Shape;2021;g24847f8a41b_0_572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022" name="Google Shape;2022;g24847f8a41b_0_5724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Add thank you DHS</a:t>
            </a:r>
          </a:p>
          <a:p>
            <a:r>
              <a:rPr lang="en-US">
                <a:cs typeface="Calibri"/>
              </a:rPr>
              <a:t>ILPQC program to increase/improve bedside nurse participation/attendance is a success!</a:t>
            </a:r>
          </a:p>
          <a:p>
            <a:r>
              <a:rPr lang="en-US">
                <a:cs typeface="Calibri"/>
              </a:rPr>
              <a:t>Thank PNAs</a:t>
            </a:r>
          </a:p>
          <a:p>
            <a:r>
              <a:rPr lang="en-US">
                <a:cs typeface="Calibri"/>
              </a:rPr>
              <a:t>Celebrate success! Recognize!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419EE26-A09D-4829-9B07-906A6023EC61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0473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svg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svg"/></Relationships>
</file>

<file path=ppt/slideLayouts/_rels/slideLayout3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svg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4.svg"/></Relationships>
</file>

<file path=ppt/slideLayouts/_rels/slideLayout3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3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svg"/></Relationships>
</file>

<file path=ppt/slideLayouts/_rels/slideLayout3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3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4.svg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3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svg"/></Relationships>
</file>

<file path=ppt/slideLayouts/_rels/slideLayout3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3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svg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svg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4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/Relationships>
</file>

<file path=ppt/slideLayouts/_rels/slideLayout4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svg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4.sv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svg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4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svg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4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svg"/></Relationships>
</file>

<file path=ppt/slideLayouts/_rels/slideLayout4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4.svg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svg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4.svg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5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5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5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5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5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5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5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5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5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5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5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5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5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1.svg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5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42.sv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oogle Shape;15;p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" name="Google Shape;16;p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" name="Google Shape;17;p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" name="Google Shape;18;p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;p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" name="Google Shape;20;p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" name="Google Shape;23;p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" name="Google Shape;24;p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" name="Google Shape;93;p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" name="Google Shape;94;p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" name="Google Shape;95;p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" name="Google Shape;96;p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" name="Google Shape;97;p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" name="Google Shape;98;p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1" name="Google Shape;731;p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2" name="Google Shape;732;p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3" name="Google Shape;733;p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4" name="Google Shape;734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5" name="Google Shape;735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6" name="Google Shape;736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7" name="Google Shape;737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8" name="Google Shape;738;p7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9" name="Google Shape;739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0" name="Google Shape;740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1" name="Google Shape;741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42" name="Google Shape;742;p7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2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Google Shape;232;p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3" name="Google Shape;233;p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4" name="Google Shape;234;p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5" name="Google Shape;235;p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6" name="Google Shape;236;p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7" name="Google Shape;237;p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38" name="Google Shape;238;p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9" name="Google Shape;239;p2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0" name="Google Shape;240;p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1" name="Google Shape;241;p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2" name="Google Shape;242;p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43" name="Google Shape;243;p2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2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46" name="Google Shape;246;p2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7" name="Google Shape;247;p2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48" name="Google Shape;248;p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49" name="Google Shape;249;p2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50" name="Google Shape;250;p2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1" name="Google Shape;251;p2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2" name="Google Shape;252;p2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4" name="Google Shape;254;p2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55" name="Google Shape;255;p2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7" name="Google Shape;257;p2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58" name="Google Shape;258;p2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59" name="Google Shape;259;p2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0" name="Google Shape;260;p2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3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63" name="Google Shape;263;p3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64" name="Google Shape;264;p3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65" name="Google Shape;265;p3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6" name="Google Shape;266;p3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7" name="Google Shape;267;p3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68" name="Google Shape;268;p30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Google Shape;270;p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1" name="Google Shape;271;p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2" name="Google Shape;272;p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3" name="Google Shape;273;p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4" name="Google Shape;274;p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5" name="Google Shape;275;p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6" name="Google Shape;276;p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7" name="Google Shape;277;p3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8" name="Google Shape;278;p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9" name="Google Shape;279;p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0" name="Google Shape;280;p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1" name="Google Shape;281;p3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" name="Google Shape;283;p3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4" name="Google Shape;284;p3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5" name="Google Shape;285;p3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6" name="Google Shape;286;p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7" name="Google Shape;287;p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8" name="Google Shape;288;p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9" name="Google Shape;289;p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0" name="Google Shape;290;p3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1" name="Google Shape;291;p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2" name="Google Shape;292;p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3" name="Google Shape;293;p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4" name="Google Shape;294;p3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2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" name="Google Shape;296;p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7" name="Google Shape;297;p3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98" name="Google Shape;298;p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9" name="Google Shape;299;p3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0" name="Google Shape;300;p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1" name="Google Shape;301;p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302;p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3" name="Google Shape;303;p3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4" name="Google Shape;304;p3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5" name="Google Shape;305;p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6" name="Google Shape;306;p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8" name="Google Shape;308;p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09" name="Google Shape;309;p3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0" name="Google Shape;310;p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1" name="Google Shape;311;p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2" name="Google Shape;312;p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3" name="Google Shape;313;p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4" name="Google Shape;314;p3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5" name="Google Shape;315;p3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6" name="Google Shape;316;p3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17" name="Google Shape;317;p3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8" name="Google Shape;318;p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9" name="Google Shape;319;p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0" name="Google Shape;320;p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2" name="Google Shape;322;p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3" name="Google Shape;323;p3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4" name="Google Shape;324;p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5" name="Google Shape;325;p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6" name="Google Shape;326;p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7" name="Google Shape;327;p3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8" name="Google Shape;328;p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9" name="Google Shape;329;p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0" name="Google Shape;330;p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2" name="Google Shape;332;p3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33" name="Google Shape;333;p3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4" name="Google Shape;334;p3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35" name="Google Shape;335;p3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6" name="Google Shape;336;p3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7" name="Google Shape;337;p3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38" name="Google Shape;338;p3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39" name="Google Shape;339;p3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8" name="Google Shape;718;p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9" name="Google Shape;719;p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0" name="Google Shape;720;p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1" name="Google Shape;721;p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2" name="Google Shape;722;p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3" name="Google Shape;723;p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24" name="Google Shape;724;p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5" name="Google Shape;725;p7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6" name="Google Shape;726;p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7" name="Google Shape;727;p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" name="Google Shape;728;p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9" name="Google Shape;729;p7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3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Google Shape;341;p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2" name="Google Shape;342;p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3" name="Google Shape;343;p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44" name="Google Shape;344;p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5" name="Google Shape;345;p3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6" name="Google Shape;346;p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7" name="Google Shape;347;p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8" name="Google Shape;348;p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0" name="Google Shape;350;p3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1" name="Google Shape;351;p3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2" name="Google Shape;352;p3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53" name="Google Shape;353;p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54" name="Google Shape;354;p3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55" name="Google Shape;355;p3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6" name="Google Shape;356;p3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57" name="Google Shape;357;p3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9" name="Google Shape;359;p3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60" name="Google Shape;360;p3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3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2" name="Google Shape;362;p3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63" name="Google Shape;363;p3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64" name="Google Shape;364;p3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5" name="Google Shape;365;p3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7" name="Google Shape;367;p4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8" name="Google Shape;368;p4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9" name="Google Shape;369;p4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0" name="Google Shape;370;p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1" name="Google Shape;371;p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2" name="Google Shape;372;p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3" name="Google Shape;373;p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4" name="Google Shape;374;p4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5" name="Google Shape;375;p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6" name="Google Shape;376;p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7" name="Google Shape;377;p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8" name="Google Shape;378;p4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0" name="Google Shape;380;p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1" name="Google Shape;381;p4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2" name="Google Shape;382;p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3" name="Google Shape;383;p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4" name="Google Shape;384;p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85" name="Google Shape;385;p4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" name="Google Shape;386;p4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7" name="Google Shape;387;p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8" name="Google Shape;388;p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9" name="Google Shape;389;p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" name="Google Shape;391;p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2" name="Google Shape;392;p4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93" name="Google Shape;393;p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4" name="Google Shape;394;p4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5" name="Google Shape;395;p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6" name="Google Shape;396;p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7" name="Google Shape;397;p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98" name="Google Shape;398;p4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9" name="Google Shape;399;p4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0" name="Google Shape;400;p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1" name="Google Shape;401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" name="Google Shape;403;p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4" name="Google Shape;404;p4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5" name="Google Shape;405;p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6" name="Google Shape;406;p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7" name="Google Shape;407;p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8" name="Google Shape;408;p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9" name="Google Shape;409;p4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0" name="Google Shape;410;p4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1" name="Google Shape;411;p4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12" name="Google Shape;412;p4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3" name="Google Shape;413;p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4" name="Google Shape;414;p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5" name="Google Shape;415;p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7" name="Google Shape;417;p4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18" name="Google Shape;418;p4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19" name="Google Shape;419;p4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20" name="Google Shape;420;p4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4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22" name="Google Shape;422;p4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23" name="Google Shape;423;p44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5" name="Google Shape;425;p4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26" name="Google Shape;426;p4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7" name="Google Shape;427;p4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28" name="Google Shape;428;p4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9" name="Google Shape;429;p4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0" name="Google Shape;430;p4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31" name="Google Shape;431;p4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32" name="Google Shape;432;p4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" name="Google Shape;434;p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5" name="Google Shape;435;p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6" name="Google Shape;436;p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37" name="Google Shape;437;p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8" name="Google Shape;438;p4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9" name="Google Shape;439;p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0" name="Google Shape;440;p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1" name="Google Shape;441;p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1" name="Google Shape;731;p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2" name="Google Shape;732;p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3" name="Google Shape;733;p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4" name="Google Shape;734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5" name="Google Shape;735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6" name="Google Shape;736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7" name="Google Shape;737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8" name="Google Shape;738;p7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9" name="Google Shape;739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0" name="Google Shape;740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1" name="Google Shape;741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42" name="Google Shape;742;p7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4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3" name="Google Shape;443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4" name="Google Shape;444;p4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5" name="Google Shape;445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6" name="Google Shape;446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47" name="Google Shape;447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48" name="Google Shape;448;p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9" name="Google Shape;449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0" name="Google Shape;450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1" name="Google Shape;451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" name="Google Shape;453;p4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4" name="Google Shape;454;p4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5" name="Google Shape;455;p4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6" name="Google Shape;456;p4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57" name="Google Shape;457;p4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58" name="Google Shape;458;p4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9" name="Google Shape;459;p4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0" name="Google Shape;460;p4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2" name="Google Shape;462;p4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63" name="Google Shape;463;p4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4" name="Google Shape;464;p4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5" name="Google Shape;465;p4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6" name="Google Shape;466;p4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67" name="Google Shape;467;p4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8" name="Google Shape;468;p4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4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" name="Google Shape;470;p5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1" name="Google Shape;471;p5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2" name="Google Shape;472;p5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3" name="Google Shape;473;p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4" name="Google Shape;474;p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5" name="Google Shape;475;p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76" name="Google Shape;476;p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7" name="Google Shape;477;p5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8" name="Google Shape;478;p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9" name="Google Shape;479;p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0" name="Google Shape;480;p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81" name="Google Shape;481;p5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3" name="Google Shape;483;p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4" name="Google Shape;484;p5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5" name="Google Shape;485;p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6" name="Google Shape;486;p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7" name="Google Shape;487;p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8" name="Google Shape;488;p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9" name="Google Shape;489;p5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0" name="Google Shape;490;p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1" name="Google Shape;491;p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2" name="Google Shape;492;p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5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5" name="Google Shape;495;p5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96" name="Google Shape;496;p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7" name="Google Shape;497;p5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98" name="Google Shape;498;p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9" name="Google Shape;499;p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0" name="Google Shape;500;p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01" name="Google Shape;501;p5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2" name="Google Shape;502;p5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3" name="Google Shape;503;p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4" name="Google Shape;504;p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6" name="Google Shape;506;p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7" name="Google Shape;507;p5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8" name="Google Shape;508;p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9" name="Google Shape;509;p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0" name="Google Shape;510;p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1" name="Google Shape;511;p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2" name="Google Shape;512;p5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13" name="Google Shape;513;p5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4" name="Google Shape;514;p5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15" name="Google Shape;515;p5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6" name="Google Shape;516;p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7" name="Google Shape;517;p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8" name="Google Shape;518;p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5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0" name="Google Shape;520;p5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21" name="Google Shape;521;p5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22" name="Google Shape;522;p5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23" name="Google Shape;523;p5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24" name="Google Shape;524;p5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25" name="Google Shape;525;p5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26" name="Google Shape;526;p54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8" name="Google Shape;528;p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9" name="Google Shape;529;p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0" name="Google Shape;530;p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" name="Google Shape;531;p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2" name="Google Shape;532;p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3" name="Google Shape;533;p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34" name="Google Shape;534;p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5" name="Google Shape;535;p5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6" name="Google Shape;536;p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7" name="Google Shape;537;p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8" name="Google Shape;538;p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9" name="Google Shape;539;p5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5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1" name="Google Shape;541;p5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42" name="Google Shape;542;p5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3" name="Google Shape;543;p5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4" name="Google Shape;544;p5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5" name="Google Shape;545;p5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6" name="Google Shape;546;p5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47" name="Google Shape;547;p5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48" name="Google Shape;548;p5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4" name="Google Shape;744;p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5" name="Google Shape;745;p7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6" name="Google Shape;746;p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7" name="Google Shape;747;p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8" name="Google Shape;748;p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9" name="Google Shape;749;p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0" name="Google Shape;750;p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1" name="Google Shape;751;p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52" name="Google Shape;752;p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53" name="Google Shape;753;p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0" name="Google Shape;550;p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1" name="Google Shape;551;p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2" name="Google Shape;552;p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3" name="Google Shape;553;p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4" name="Google Shape;554;p5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5" name="Google Shape;555;p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6" name="Google Shape;556;p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" name="Google Shape;557;p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9" name="Google Shape;559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0" name="Google Shape;560;p5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1" name="Google Shape;561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2" name="Google Shape;562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3" name="Google Shape;563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4" name="Google Shape;564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5" name="Google Shape;565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6" name="Google Shape;566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7" name="Google Shape;567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9" name="Google Shape;569;p5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0" name="Google Shape;570;p5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1" name="Google Shape;571;p5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72" name="Google Shape;572;p5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73" name="Google Shape;573;p5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74" name="Google Shape;574;p5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5" name="Google Shape;575;p5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6" name="Google Shape;576;p5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8" name="Google Shape;578;p6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79" name="Google Shape;579;p6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6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1" name="Google Shape;581;p6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82" name="Google Shape;582;p6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83" name="Google Shape;583;p6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4" name="Google Shape;584;p6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5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6" name="Google Shape;586;p6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87" name="Google Shape;587;p6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88" name="Google Shape;588;p6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89" name="Google Shape;589;p6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0" name="Google Shape;590;p6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91" name="Google Shape;591;p6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92" name="Google Shape;592;p6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5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4" name="Google Shape;594;p6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5" name="Google Shape;595;p6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6" name="Google Shape;596;p6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7" name="Google Shape;597;p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98" name="Google Shape;598;p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9" name="Google Shape;599;p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00" name="Google Shape;600;p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1" name="Google Shape;601;p6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2" name="Google Shape;602;p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3" name="Google Shape;603;p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04" name="Google Shape;604;p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05" name="Google Shape;605;p6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6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7" name="Google Shape;607;p6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8" name="Google Shape;608;p6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9" name="Google Shape;609;p6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0" name="Google Shape;610;p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1" name="Google Shape;611;p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2" name="Google Shape;612;p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13" name="Google Shape;613;p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4" name="Google Shape;614;p6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5" name="Google Shape;615;p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6" name="Google Shape;616;p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7" name="Google Shape;617;p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8" name="Google Shape;618;p6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6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0" name="Google Shape;620;p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1" name="Google Shape;621;p6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2" name="Google Shape;622;p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3" name="Google Shape;623;p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4" name="Google Shape;624;p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5" name="Google Shape;625;p6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6" name="Google Shape;626;p6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7" name="Google Shape;627;p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8" name="Google Shape;628;p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9" name="Google Shape;629;p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1" name="Google Shape;631;p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33" name="Google Shape;633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4" name="Google Shape;634;p6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5" name="Google Shape;635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6" name="Google Shape;636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7" name="Google Shape;637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8" name="Google Shape;638;p6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9" name="Google Shape;639;p6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0" name="Google Shape;640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1" name="Google Shape;641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3" name="Google Shape;643;p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4" name="Google Shape;644;p6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45" name="Google Shape;645;p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46" name="Google Shape;646;p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7" name="Google Shape;647;p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8" name="Google Shape;648;p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9" name="Google Shape;649;p6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50" name="Google Shape;650;p6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1" name="Google Shape;651;p6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52" name="Google Shape;652;p6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3" name="Google Shape;653;p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4" name="Google Shape;654;p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5" name="Google Shape;655;p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" name="Google Shape;755;p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6" name="Google Shape;756;p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57" name="Google Shape;757;p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58" name="Google Shape;758;p7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59" name="Google Shape;759;p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60" name="Google Shape;760;p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1" name="Google Shape;761;p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2" name="Google Shape;762;p7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3" name="Google Shape;763;p7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4" name="Google Shape;764;p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5" name="Google Shape;765;p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6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7" name="Google Shape;657;p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8" name="Google Shape;658;p6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9" name="Google Shape;659;p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0" name="Google Shape;660;p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1" name="Google Shape;661;p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62" name="Google Shape;662;p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3" name="Google Shape;663;p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4" name="Google Shape;664;p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5" name="Google Shape;665;p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7" name="Google Shape;667;p6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68" name="Google Shape;668;p6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9" name="Google Shape;669;p6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0" name="Google Shape;670;p6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71" name="Google Shape;671;p6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2" name="Google Shape;672;p6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73" name="Google Shape;673;p6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74" name="Google Shape;674;p6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Google Shape;676;p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7" name="Google Shape;677;p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8" name="Google Shape;678;p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79" name="Google Shape;679;p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0" name="Google Shape;680;p6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1" name="Google Shape;681;p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2" name="Google Shape;682;p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83" name="Google Shape;683;p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Google Shape;685;p70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6" name="Google Shape;686;p70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687" name="Google Shape;687;p70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688" name="Google Shape;688;p70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9" name="Google Shape;689;p70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690" name="Google Shape;690;p7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2" name="Google Shape;692;p7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93" name="Google Shape;693;p7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4" name="Google Shape;694;p7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5" name="Google Shape;695;p7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96" name="Google Shape;696;p7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97" name="Google Shape;697;p7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8" name="Google Shape;698;p7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0" name="Google Shape;700;p7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01" name="Google Shape;701;p7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02" name="Google Shape;702;p7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03" name="Google Shape;703;p7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4" name="Google Shape;704;p7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05" name="Google Shape;705;p7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06" name="Google Shape;706;p7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8" name="Google Shape;708;p7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9" name="Google Shape;709;p7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0" name="Google Shape;710;p7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11" name="Google Shape;711;p7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12" name="Google Shape;712;p7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13" name="Google Shape;713;p7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4" name="Google Shape;714;p7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15" name="Google Shape;715;p7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7" name="Google Shape;717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8" name="Google Shape;718;p7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19" name="Google Shape;719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0" name="Google Shape;720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1" name="Google Shape;721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22" name="Google Shape;722;p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3" name="Google Shape;723;p7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4" name="Google Shape;724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5" name="Google Shape;725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6" name="Google Shape;726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7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8" name="Google Shape;728;p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9" name="Google Shape;729;p7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30" name="Google Shape;730;p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1" name="Google Shape;731;p7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2" name="Google Shape;732;p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3" name="Google Shape;733;p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4" name="Google Shape;734;p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35" name="Google Shape;735;p7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6" name="Google Shape;736;p7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7" name="Google Shape;737;p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8" name="Google Shape;738;p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0" name="Google Shape;740;p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1" name="Google Shape;741;p7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2" name="Google Shape;742;p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3" name="Google Shape;743;p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4" name="Google Shape;744;p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5" name="Google Shape;745;p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6" name="Google Shape;746;p7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47" name="Google Shape;747;p7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8" name="Google Shape;748;p7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49" name="Google Shape;749;p7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0" name="Google Shape;750;p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51" name="Google Shape;751;p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52" name="Google Shape;752;p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7" name="Google Shape;767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68" name="Google Shape;768;p7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9" name="Google Shape;769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0" name="Google Shape;770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1" name="Google Shape;771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2" name="Google Shape;772;p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3" name="Google Shape;773;p7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74" name="Google Shape;774;p7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5" name="Google Shape;775;p7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76" name="Google Shape;776;p7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7" name="Google Shape;777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8" name="Google Shape;778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9" name="Google Shape;779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7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4" name="Google Shape;754;p7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5" name="Google Shape;755;p7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6" name="Google Shape;756;p7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7" name="Google Shape;757;p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58" name="Google Shape;758;p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59" name="Google Shape;759;p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60" name="Google Shape;760;p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61" name="Google Shape;761;p7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2" name="Google Shape;762;p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63" name="Google Shape;763;p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4" name="Google Shape;764;p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65" name="Google Shape;765;p7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7" name="Google Shape;767;p7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68" name="Google Shape;768;p7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9" name="Google Shape;769;p7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70" name="Google Shape;770;p7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71" name="Google Shape;771;p7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2" name="Google Shape;772;p7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73" name="Google Shape;773;p7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74" name="Google Shape;774;p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7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6" name="Google Shape;776;p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7" name="Google Shape;777;p7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78" name="Google Shape;778;p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9" name="Google Shape;779;p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0" name="Google Shape;780;p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1" name="Google Shape;781;p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2" name="Google Shape;782;p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3" name="Google Shape;783;p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84" name="Google Shape;784;p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2">
    <p:spTree>
      <p:nvGrpSpPr>
        <p:cNvPr id="1" name="Shape 7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6" name="Google Shape;786;p80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7" name="Google Shape;787;p80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788" name="Google Shape;788;p80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789" name="Google Shape;789;p80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0" name="Google Shape;790;p80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791" name="Google Shape;791;p8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3" name="Google Shape;793;p8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4" name="Google Shape;794;p8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5" name="Google Shape;795;p8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96" name="Google Shape;796;p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97" name="Google Shape;797;p8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98" name="Google Shape;798;p8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9" name="Google Shape;799;p8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00" name="Google Shape;800;p8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8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2" name="Google Shape;802;p8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3" name="Google Shape;803;p8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4" name="Google Shape;804;p8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5" name="Google Shape;805;p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6" name="Google Shape;806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7" name="Google Shape;807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08" name="Google Shape;808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9" name="Google Shape;809;p8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0" name="Google Shape;810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1" name="Google Shape;811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2" name="Google Shape;812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13" name="Google Shape;813;p8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8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5" name="Google Shape;815;p8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16" name="Google Shape;816;p8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7" name="Google Shape;817;p8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8" name="Google Shape;818;p8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9" name="Google Shape;819;p8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20" name="Google Shape;820;p8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1" name="Google Shape;821;p8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3" name="Google Shape;823;p8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24" name="Google Shape;824;p8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25" name="Google Shape;825;p8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26" name="Google Shape;826;p8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7" name="Google Shape;827;p8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28" name="Google Shape;828;p8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29" name="Google Shape;829;p84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8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1" name="Google Shape;831;p8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2" name="Google Shape;832;p8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3" name="Google Shape;833;p8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4" name="Google Shape;834;p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5" name="Google Shape;835;p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6" name="Google Shape;836;p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37" name="Google Shape;837;p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8" name="Google Shape;838;p8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9" name="Google Shape;839;p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40" name="Google Shape;840;p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1" name="Google Shape;841;p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42" name="Google Shape;842;p8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4" name="Google Shape;844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45" name="Google Shape;845;p8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6" name="Google Shape;846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47" name="Google Shape;847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8" name="Google Shape;848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9" name="Google Shape;849;p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0" name="Google Shape;850;p8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" name="Google Shape;851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2" name="Google Shape;852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3" name="Google Shape;853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1" name="Google Shape;781;p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2" name="Google Shape;782;p7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3" name="Google Shape;783;p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4" name="Google Shape;784;p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5" name="Google Shape;785;p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6" name="Google Shape;786;p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7" name="Google Shape;787;p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8" name="Google Shape;788;p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89" name="Google Shape;789;p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8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5" name="Google Shape;855;p8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6" name="Google Shape;856;p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7" name="Google Shape;857;p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8" name="Google Shape;858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9" name="Google Shape;859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0" name="Google Shape;860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61" name="Google Shape;861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2" name="Google Shape;862;p8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3" name="Google Shape;863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4" name="Google Shape;864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5" name="Google Shape;865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66" name="Google Shape;866;p8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8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8" name="Google Shape;868;p88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69" name="Google Shape;869;p88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70" name="Google Shape;870;p8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871" name="Google Shape;871;p88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72" name="Google Shape;872;p88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873" name="Google Shape;873;p88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4" name="Google Shape;874;p88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5" name="Google Shape;875;p88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6" name="Google Shape;876;p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7" name="Google Shape;877;p8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78" name="Google Shape;878;p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8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" name="Google Shape;880;p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1" name="Google Shape;881;p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82" name="Google Shape;882;p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3" name="Google Shape;883;p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4" name="Google Shape;884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5" name="Google Shape;885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86" name="Google Shape;886;p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7" name="Google Shape;887;p8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8" name="Google Shape;888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9" name="Google Shape;889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0" name="Google Shape;890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91" name="Google Shape;891;p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3" name="Google Shape;893;p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4" name="Google Shape;894;p9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95" name="Google Shape;895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6" name="Google Shape;896;p9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7" name="Google Shape;897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8" name="Google Shape;898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9" name="Google Shape;899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0" name="Google Shape;900;p9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01" name="Google Shape;901;p9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2" name="Google Shape;902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3" name="Google Shape;903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9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5" name="Google Shape;905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6" name="Google Shape;906;p9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7" name="Google Shape;907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8" name="Google Shape;908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9" name="Google Shape;909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0" name="Google Shape;910;p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1" name="Google Shape;911;p9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2" name="Google Shape;912;p9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3" name="Google Shape;913;p9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14" name="Google Shape;914;p9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5" name="Google Shape;915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6" name="Google Shape;916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7" name="Google Shape;917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9" name="Google Shape;919;p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0" name="Google Shape;920;p9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1" name="Google Shape;921;p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2" name="Google Shape;922;p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3" name="Google Shape;923;p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4" name="Google Shape;924;p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5" name="Google Shape;925;p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6" name="Google Shape;926;p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7" name="Google Shape;927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9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29" name="Google Shape;929;p9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30" name="Google Shape;930;p9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31" name="Google Shape;931;p9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32" name="Google Shape;932;p9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3" name="Google Shape;933;p9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4" name="Google Shape;934;p9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35" name="Google Shape;935;p93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36" name="Google Shape;936;p9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9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8" name="Google Shape;938;p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9" name="Google Shape;939;p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0" name="Google Shape;940;p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1" name="Google Shape;941;p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2" name="Google Shape;942;p9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3" name="Google Shape;943;p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4" name="Google Shape;944;p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5" name="Google Shape;945;p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9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7" name="Google Shape;947;p9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8" name="Google Shape;948;p9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9" name="Google Shape;949;p9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" name="Google Shape;950;p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1" name="Google Shape;951;p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2" name="Google Shape;952;p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3" name="Google Shape;953;p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4" name="Google Shape;954;p9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5" name="Google Shape;955;p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6" name="Google Shape;956;p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7" name="Google Shape;957;p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8" name="Google Shape;958;p9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9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0" name="Google Shape;960;p9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1" name="Google Shape;961;p9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2" name="Google Shape;962;p9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3" name="Google Shape;963;p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4" name="Google Shape;964;p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5" name="Google Shape;965;p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6" name="Google Shape;966;p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7" name="Google Shape;967;p9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8" name="Google Shape;968;p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9" name="Google Shape;969;p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0" name="Google Shape;970;p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71" name="Google Shape;971;p9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1" name="Google Shape;791;p7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92" name="Google Shape;792;p7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3" name="Google Shape;793;p7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94" name="Google Shape;794;p7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5" name="Google Shape;795;p7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6" name="Google Shape;796;p7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97" name="Google Shape;797;p7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98" name="Google Shape;798;p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9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3" name="Google Shape;973;p9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4" name="Google Shape;974;p9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5" name="Google Shape;975;p9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76" name="Google Shape;976;p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77" name="Google Shape;977;p9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78" name="Google Shape;978;p9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79" name="Google Shape;979;p9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80" name="Google Shape;980;p9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9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82" name="Google Shape;982;p9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83" name="Google Shape;983;p9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4" name="Google Shape;984;p9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5" name="Google Shape;985;p9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86" name="Google Shape;986;p9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87" name="Google Shape;987;p9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8" name="Google Shape;988;p9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9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0" name="Google Shape;990;p9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991" name="Google Shape;991;p9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992" name="Google Shape;992;p9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93" name="Google Shape;993;p9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4" name="Google Shape;994;p9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95" name="Google Shape;995;p9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96" name="Google Shape;996;p99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9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8" name="Google Shape;998;p10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9" name="Google Shape;999;p10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0" name="Google Shape;1000;p10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1" name="Google Shape;1001;p1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02" name="Google Shape;1002;p1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03" name="Google Shape;1003;p1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04" name="Google Shape;1004;p1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05" name="Google Shape;1005;p10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06" name="Google Shape;1006;p1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07" name="Google Shape;1007;p1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8" name="Google Shape;1008;p1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09" name="Google Shape;1009;p10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10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1" name="Google Shape;1011;p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2" name="Google Shape;1012;p10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3" name="Google Shape;1013;p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4" name="Google Shape;1014;p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5" name="Google Shape;1015;p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16" name="Google Shape;1016;p1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7" name="Google Shape;1017;p10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8" name="Google Shape;1018;p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9" name="Google Shape;1019;p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0" name="Google Shape;1020;p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2" name="Google Shape;1022;p1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3" name="Google Shape;1023;p10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24" name="Google Shape;1024;p1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5" name="Google Shape;1025;p10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6" name="Google Shape;1026;p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7" name="Google Shape;1027;p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8" name="Google Shape;1028;p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9" name="Google Shape;1029;p10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0" name="Google Shape;1030;p10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1" name="Google Shape;1031;p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2" name="Google Shape;1032;p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4" name="Google Shape;1034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5" name="Google Shape;1035;p10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6" name="Google Shape;1036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7" name="Google Shape;1037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8" name="Google Shape;1038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9" name="Google Shape;1039;p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0" name="Google Shape;1040;p10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1" name="Google Shape;1041;p10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2" name="Google Shape;1042;p10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3" name="Google Shape;1043;p10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4" name="Google Shape;1044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5" name="Google Shape;1045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6" name="Google Shape;1046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8" name="Google Shape;1048;p1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9" name="Google Shape;1049;p10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0" name="Google Shape;1050;p1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1" name="Google Shape;1051;p1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2" name="Google Shape;1052;p1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3" name="Google Shape;1053;p1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4" name="Google Shape;1054;p1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5" name="Google Shape;1055;p1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6" name="Google Shape;1056;p1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8" name="Google Shape;1058;p10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59" name="Google Shape;1059;p10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60" name="Google Shape;1060;p10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61" name="Google Shape;1061;p10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62" name="Google Shape;1062;p10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3" name="Google Shape;1063;p10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64" name="Google Shape;1064;p10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65" name="Google Shape;1065;p10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10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7" name="Google Shape;1067;p1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8" name="Google Shape;1068;p1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9" name="Google Shape;1069;p1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70" name="Google Shape;1070;p1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1" name="Google Shape;1071;p10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2" name="Google Shape;1072;p1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3" name="Google Shape;1073;p1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4" name="Google Shape;1074;p1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" name="Google Shape;800;p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1" name="Google Shape;801;p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2" name="Google Shape;802;p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03" name="Google Shape;803;p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4" name="Google Shape;804;p7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5" name="Google Shape;805;p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6" name="Google Shape;806;p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7" name="Google Shape;807;p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10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6" name="Google Shape;1076;p10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7" name="Google Shape;1077;p10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8" name="Google Shape;1078;p10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79" name="Google Shape;1079;p1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80" name="Google Shape;1080;p10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81" name="Google Shape;1081;p10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2" name="Google Shape;1082;p10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83" name="Google Shape;1083;p10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10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5" name="Google Shape;1085;p10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86" name="Google Shape;1086;p10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7" name="Google Shape;1087;p10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8" name="Google Shape;1088;p10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89" name="Google Shape;1089;p10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90" name="Google Shape;1090;p10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1" name="Google Shape;1091;p10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" name="Google Shape;1093;p10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94" name="Google Shape;1094;p10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95" name="Google Shape;1095;p10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96" name="Google Shape;1096;p10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7" name="Google Shape;1097;p10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98" name="Google Shape;1098;p10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99" name="Google Shape;1099;p10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1" name="Google Shape;1101;p11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2" name="Google Shape;1102;p11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3" name="Google Shape;1103;p11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4" name="Google Shape;1104;p1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05" name="Google Shape;1105;p1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06" name="Google Shape;1106;p1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07" name="Google Shape;1107;p1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8" name="Google Shape;1108;p11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09" name="Google Shape;1109;p1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0" name="Google Shape;1110;p1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1" name="Google Shape;1111;p1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12" name="Google Shape;1112;p11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11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4" name="Google Shape;1114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5" name="Google Shape;1115;p11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6" name="Google Shape;1116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17" name="Google Shape;1117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18" name="Google Shape;1118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19" name="Google Shape;1119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0" name="Google Shape;1120;p11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1" name="Google Shape;1121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2" name="Google Shape;1122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3" name="Google Shape;1123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5" name="Google Shape;1125;p1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6" name="Google Shape;1126;p1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27" name="Google Shape;1127;p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8" name="Google Shape;1128;p11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9" name="Google Shape;1129;p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30" name="Google Shape;1130;p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1" name="Google Shape;1131;p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32" name="Google Shape;1132;p11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3" name="Google Shape;1133;p11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4" name="Google Shape;1134;p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5" name="Google Shape;1135;p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7" name="Google Shape;1137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8" name="Google Shape;1138;p1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9" name="Google Shape;1139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0" name="Google Shape;1140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1" name="Google Shape;1141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2" name="Google Shape;1142;p1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3" name="Google Shape;1143;p11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44" name="Google Shape;1144;p11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5" name="Google Shape;1145;p11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46" name="Google Shape;1146;p11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7" name="Google Shape;1147;p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8" name="Google Shape;1148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9" name="Google Shape;1149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1" name="Google Shape;1151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2" name="Google Shape;1152;p11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3" name="Google Shape;1153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4" name="Google Shape;1154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5" name="Google Shape;1155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6" name="Google Shape;1156;p1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7" name="Google Shape;1157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" name="Google Shape;1158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9" name="Google Shape;1159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1" name="Google Shape;1161;p11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62" name="Google Shape;1162;p11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63" name="Google Shape;1163;p11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64" name="Google Shape;1164;p11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65" name="Google Shape;1165;p11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6" name="Google Shape;1166;p11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67" name="Google Shape;1167;p11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68" name="Google Shape;1168;p11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0" name="Google Shape;1170;p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1" name="Google Shape;1171;p1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2" name="Google Shape;1172;p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73" name="Google Shape;1173;p1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4" name="Google Shape;1174;p11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5" name="Google Shape;1175;p1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6" name="Google Shape;1176;p1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7" name="Google Shape;1177;p1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" name="Google Shape;809;p7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0" name="Google Shape;810;p7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1" name="Google Shape;811;p7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12" name="Google Shape;812;p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13" name="Google Shape;813;p7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14" name="Google Shape;814;p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5" name="Google Shape;815;p7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6" name="Google Shape;816;p7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9" name="Google Shape;1179;p1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0" name="Google Shape;1180;p1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1" name="Google Shape;1181;p1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2" name="Google Shape;1182;p1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3" name="Google Shape;1183;p1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4" name="Google Shape;1184;p1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5" name="Google Shape;1185;p1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6" name="Google Shape;1186;p11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7" name="Google Shape;1187;p1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8" name="Google Shape;1188;p1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9" name="Google Shape;1189;p1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90" name="Google Shape;1190;p11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2" name="Google Shape;1192;p118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3" name="Google Shape;1193;p118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94" name="Google Shape;1194;p11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195" name="Google Shape;1195;p1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6" name="Google Shape;1196;p1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" name="Google Shape;1198;p11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9" name="Google Shape;1199;p11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0" name="Google Shape;1200;p11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01" name="Google Shape;1201;p1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2" name="Google Shape;1202;p1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03" name="Google Shape;1203;p11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4" name="Google Shape;1204;p11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5" name="Google Shape;1205;p11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06" name="Google Shape;1206;p119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" name="Google Shape;1208;p12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9" name="Google Shape;1209;p12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0" name="Google Shape;1210;p12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11" name="Google Shape;1211;p1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2" name="Google Shape;1212;p1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3" name="Google Shape;1213;p12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4" name="Google Shape;1214;p12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5" name="Google Shape;1215;p12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16" name="Google Shape;1216;p120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" name="Google Shape;1218;p12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9" name="Google Shape;1219;p12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0" name="Google Shape;1220;p12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1" name="Google Shape;1221;p12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22" name="Google Shape;1222;p12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2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4" name="Google Shape;1224;p12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25" name="Google Shape;1225;p12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26" name="Google Shape;1226;p12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7" name="Google Shape;1227;p12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8" name="Google Shape;1228;p12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0" name="Google Shape;1230;p12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1" name="Google Shape;1231;p12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2" name="Google Shape;1232;p12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3" name="Google Shape;1233;p12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4" name="Google Shape;1234;p12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35" name="Google Shape;1235;p12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p12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8" name="Google Shape;1238;p12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9" name="Google Shape;1239;p12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40" name="Google Shape;1240;p1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1" name="Google Shape;1241;p1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42" name="Google Shape;1242;p12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3" name="Google Shape;1243;p12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4" name="Google Shape;1244;p12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45" name="Google Shape;1245;p124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" name="Google Shape;1247;p12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8" name="Google Shape;1248;p12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9" name="Google Shape;1249;p12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0" name="Google Shape;1250;p12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51" name="Google Shape;1251;p12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3" name="Google Shape;1253;p12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54" name="Google Shape;1254;p12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55" name="Google Shape;1255;p12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6" name="Google Shape;1256;p12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7" name="Google Shape;1257;p12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oogle Shape;101;p1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2" name="Google Shape;102;p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103;p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104;p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5" name="Google Shape;105;p1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" name="Google Shape;106;p1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1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8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8" name="Google Shape;818;p7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19" name="Google Shape;819;p7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0" name="Google Shape;820;p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1" name="Google Shape;821;p7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2" name="Google Shape;822;p7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23" name="Google Shape;823;p7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7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" name="Google Shape;1259;p12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0" name="Google Shape;1260;p12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1" name="Google Shape;1261;p12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2" name="Google Shape;1262;p12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3" name="Google Shape;1263;p12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64" name="Google Shape;1264;p12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6" name="Google Shape;1266;p12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7" name="Google Shape;1267;p12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8" name="Google Shape;1268;p12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69" name="Google Shape;1269;p1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0" name="Google Shape;1270;p1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71" name="Google Shape;1271;p12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2" name="Google Shape;1272;p12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3" name="Google Shape;1273;p12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74" name="Google Shape;1274;p12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6" name="Google Shape;1276;p12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7" name="Google Shape;1277;p12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8" name="Google Shape;1278;p12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9" name="Google Shape;1279;p12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80" name="Google Shape;1280;p129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2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2" name="Google Shape;1282;p13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83" name="Google Shape;1283;p130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84" name="Google Shape;1284;p13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5" name="Google Shape;1285;p13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6" name="Google Shape;1286;p13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8" name="Google Shape;1288;p1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9" name="Google Shape;1289;p1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0" name="Google Shape;1290;p13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1" name="Google Shape;1291;p13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2" name="Google Shape;1292;p13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93" name="Google Shape;1293;p13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5" name="Google Shape;1295;p13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6" name="Google Shape;1296;p13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7" name="Google Shape;1297;p13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98" name="Google Shape;1298;p1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9" name="Google Shape;1299;p1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00" name="Google Shape;1300;p13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1" name="Google Shape;1301;p13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2" name="Google Shape;1302;p13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03" name="Google Shape;1303;p13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5" name="Google Shape;1305;p13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6" name="Google Shape;1306;p13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7" name="Google Shape;1307;p13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8" name="Google Shape;1308;p1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9" name="Google Shape;1309;p1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10" name="Google Shape;1310;p13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1" name="Google Shape;1311;p13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3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3" name="Google Shape;1313;p13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" name="Google Shape;1315;p134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6" name="Google Shape;1316;p13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7" name="Google Shape;1317;p13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8" name="Google Shape;1318;p134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9" name="Google Shape;1319;p13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" name="Google Shape;1321;p1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22" name="Google Shape;1322;p13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23" name="Google Shape;1323;p1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4" name="Google Shape;1324;p135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5" name="Google Shape;1325;p135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3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7" name="Google Shape;1327;p1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8" name="Google Shape;1328;p1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9" name="Google Shape;1329;p136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0" name="Google Shape;1330;p136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1" name="Google Shape;1331;p136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32" name="Google Shape;1332;p13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" name="Google Shape;826;p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" name="Google Shape;828;p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9" name="Google Shape;829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0" name="Google Shape;830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1" name="Google Shape;831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32" name="Google Shape;832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" name="Google Shape;833;p8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4" name="Google Shape;834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" name="Google Shape;835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" name="Google Shape;836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37" name="Google Shape;837;p8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4" name="Google Shape;1334;p13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5" name="Google Shape;1335;p13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6" name="Google Shape;1336;p13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37" name="Google Shape;1337;p1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8" name="Google Shape;1338;p1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39" name="Google Shape;1339;p13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0" name="Google Shape;1340;p13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1" name="Google Shape;1341;p13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42" name="Google Shape;1342;p13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4" name="Google Shape;1344;p13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5" name="Google Shape;1345;p13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6" name="Google Shape;1346;p13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7" name="Google Shape;1347;p13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48" name="Google Shape;1348;p13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3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0" name="Google Shape;1350;p13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51" name="Google Shape;1351;p13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52" name="Google Shape;1352;p13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3" name="Google Shape;1353;p13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4" name="Google Shape;1354;p13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1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6" name="Google Shape;1356;p14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7" name="Google Shape;1357;p14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8" name="Google Shape;1358;p14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9" name="Google Shape;1359;p14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0" name="Google Shape;1360;p14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61" name="Google Shape;1361;p14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1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3" name="Google Shape;1363;p14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4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5" name="Google Shape;1365;p14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6" name="Google Shape;1366;p14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67" name="Google Shape;1367;p1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1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9" name="Google Shape;1369;p14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70" name="Google Shape;1370;p14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71" name="Google Shape;1371;p14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2" name="Google Shape;1372;p14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3" name="Google Shape;1373;p14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13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5" name="Google Shape;1375;p14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6" name="Google Shape;1376;p14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7" name="Google Shape;1377;p14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8" name="Google Shape;1378;p14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9" name="Google Shape;1379;p14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80" name="Google Shape;1380;p14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" name="Google Shape;1382;p14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3" name="Google Shape;1383;p14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4" name="Google Shape;1384;p14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85" name="Google Shape;1385;p1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86" name="Google Shape;1386;p14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87" name="Google Shape;1387;p1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8" name="Google Shape;1388;p14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89" name="Google Shape;1389;p1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13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1" name="Google Shape;1391;p14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392" name="Google Shape;1392;p14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3" name="Google Shape;1393;p1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4" name="Google Shape;1394;p14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95" name="Google Shape;1395;p14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396" name="Google Shape;1396;p14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7" name="Google Shape;1397;p14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9" name="Google Shape;1399;p14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00" name="Google Shape;1400;p14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01" name="Google Shape;1401;p14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02" name="Google Shape;1402;p1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3" name="Google Shape;1403;p1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04" name="Google Shape;1404;p1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05" name="Google Shape;1405;p14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" name="Google Shape;826;p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" name="Google Shape;828;p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9" name="Google Shape;829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0" name="Google Shape;830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1" name="Google Shape;831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32" name="Google Shape;832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" name="Google Shape;833;p8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4" name="Google Shape;834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" name="Google Shape;835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" name="Google Shape;836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37" name="Google Shape;837;p8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7" name="Google Shape;1407;p1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8" name="Google Shape;1408;p1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9" name="Google Shape;1409;p1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0" name="Google Shape;1410;p1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11" name="Google Shape;1411;p1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2" name="Google Shape;1412;p1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13" name="Google Shape;1413;p1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14" name="Google Shape;1414;p14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15" name="Google Shape;1415;p1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16" name="Google Shape;1416;p1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17" name="Google Shape;1417;p1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18" name="Google Shape;1418;p14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1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0" name="Google Shape;1420;p1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21" name="Google Shape;1421;p14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2" name="Google Shape;1422;p1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3" name="Google Shape;1423;p1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4" name="Google Shape;1424;p1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25" name="Google Shape;1425;p1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6" name="Google Shape;1426;p14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7" name="Google Shape;1427;p1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8" name="Google Shape;1428;p1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9" name="Google Shape;1429;p1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1" name="Google Shape;1431;p1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2" name="Google Shape;1432;p1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33" name="Google Shape;1433;p1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34" name="Google Shape;1434;p14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5" name="Google Shape;1435;p1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36" name="Google Shape;1436;p1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7" name="Google Shape;1437;p1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38" name="Google Shape;1438;p14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9" name="Google Shape;1439;p14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40" name="Google Shape;1440;p1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41" name="Google Shape;1441;p1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4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3" name="Google Shape;1443;p1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44" name="Google Shape;1444;p15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45" name="Google Shape;1445;p1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46" name="Google Shape;1446;p1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7" name="Google Shape;1447;p1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48" name="Google Shape;1448;p1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9" name="Google Shape;1449;p15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50" name="Google Shape;1450;p15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1" name="Google Shape;1451;p1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52" name="Google Shape;1452;p1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3" name="Google Shape;1453;p1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54" name="Google Shape;1454;p1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55" name="Google Shape;1455;p1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4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7" name="Google Shape;1457;p1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58" name="Google Shape;1458;p15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59" name="Google Shape;1459;p1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60" name="Google Shape;1460;p1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1" name="Google Shape;1461;p1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62" name="Google Shape;1462;p1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3" name="Google Shape;1463;p1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4" name="Google Shape;1464;p1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65" name="Google Shape;1465;p1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4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67" name="Google Shape;1467;p15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68" name="Google Shape;1468;p15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9" name="Google Shape;1469;p15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70" name="Google Shape;1470;p15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1" name="Google Shape;1471;p15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2" name="Google Shape;1472;p15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73" name="Google Shape;1473;p15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74" name="Google Shape;1474;p1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4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6" name="Google Shape;1476;p1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77" name="Google Shape;1477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8" name="Google Shape;1478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79" name="Google Shape;1479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80" name="Google Shape;1480;p15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1" name="Google Shape;1481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2" name="Google Shape;1482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3" name="Google Shape;1483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4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5" name="Google Shape;1485;p15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6" name="Google Shape;1486;p15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7" name="Google Shape;1487;p15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88" name="Google Shape;1488;p15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89" name="Google Shape;1489;p15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90" name="Google Shape;1490;p15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1" name="Google Shape;1491;p15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2" name="Google Shape;1492;p15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4" name="Google Shape;1494;p15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95" name="Google Shape;1495;p15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6" name="Google Shape;1496;p15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7" name="Google Shape;1497;p15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8" name="Google Shape;1498;p15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99" name="Google Shape;1499;p15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0" name="Google Shape;1500;p15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2" name="Google Shape;1502;p15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03" name="Google Shape;1503;p15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04" name="Google Shape;1504;p15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05" name="Google Shape;1505;p15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6" name="Google Shape;1506;p15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07" name="Google Shape;1507;p15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08" name="Google Shape;1508;p15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9" name="Google Shape;839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40" name="Google Shape;840;p8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1" name="Google Shape;841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42" name="Google Shape;842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3" name="Google Shape;843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4" name="Google Shape;844;p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5" name="Google Shape;845;p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6" name="Google Shape;846;p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7" name="Google Shape;847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8" name="Google Shape;848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5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0" name="Google Shape;1510;p15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1" name="Google Shape;1511;p15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2" name="Google Shape;1512;p15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3" name="Google Shape;1513;p1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4" name="Google Shape;1514;p1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5" name="Google Shape;1515;p1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16" name="Google Shape;1516;p1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7" name="Google Shape;1517;p15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8" name="Google Shape;1518;p1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9" name="Google Shape;1519;p1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0" name="Google Shape;1520;p1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21" name="Google Shape;1521;p15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15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3" name="Google Shape;1523;p1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4" name="Google Shape;1524;p15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5" name="Google Shape;1525;p1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6" name="Google Shape;1526;p1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7" name="Google Shape;1527;p1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8" name="Google Shape;1528;p1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9" name="Google Shape;1529;p1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0" name="Google Shape;1530;p1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1" name="Google Shape;1531;p1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2" name="Google Shape;1532;p1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5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4" name="Google Shape;1534;p1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5" name="Google Shape;1535;p1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36" name="Google Shape;1536;p1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7" name="Google Shape;1537;p15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8" name="Google Shape;1538;p1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9" name="Google Shape;1539;p1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0" name="Google Shape;1540;p1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41" name="Google Shape;1541;p15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2" name="Google Shape;1542;p15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3" name="Google Shape;1543;p1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4" name="Google Shape;1544;p1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5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6" name="Google Shape;1546;p1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7" name="Google Shape;1547;p16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8" name="Google Shape;1548;p1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9" name="Google Shape;1549;p1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0" name="Google Shape;1550;p1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51" name="Google Shape;1551;p1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2" name="Google Shape;1552;p16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3" name="Google Shape;1553;p16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4" name="Google Shape;1554;p16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5" name="Google Shape;1555;p16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6" name="Google Shape;1556;p1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57" name="Google Shape;1557;p1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58" name="Google Shape;1558;p1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5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0" name="Google Shape;1560;p1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1" name="Google Shape;1561;p16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2" name="Google Shape;1562;p1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3" name="Google Shape;1563;p1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4" name="Google Shape;1564;p1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65" name="Google Shape;1565;p1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6" name="Google Shape;1566;p1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7" name="Google Shape;1567;p1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8" name="Google Shape;1568;p1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5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0" name="Google Shape;1570;p16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71" name="Google Shape;1571;p16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2" name="Google Shape;1572;p16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73" name="Google Shape;1573;p16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4" name="Google Shape;1574;p16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5" name="Google Shape;1575;p16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76" name="Google Shape;1576;p16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77" name="Google Shape;1577;p1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9" name="Google Shape;1579;p1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80" name="Google Shape;1580;p1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1" name="Google Shape;1581;p1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82" name="Google Shape;1582;p1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3" name="Google Shape;1583;p16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4" name="Google Shape;1584;p1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85" name="Google Shape;1585;p1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6" name="Google Shape;1586;p1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8" name="Google Shape;1588;p164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89" name="Google Shape;1589;p16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90" name="Google Shape;1590;p164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591" name="Google Shape;1591;p164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92" name="Google Shape;1592;p164"/>
            <p:cNvPicPr preferRelativeResize="0"/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593" name="Google Shape;1593;p164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4" name="Google Shape;1594;p164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5" name="Google Shape;1595;p164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6" name="Google Shape;1596;p164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5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8" name="Google Shape;1598;p165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9" name="Google Shape;1599;p165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0" name="Google Shape;1600;p165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1" name="Google Shape;1601;p165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2" name="Google Shape;1602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03" name="Google Shape;1603;p165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16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5" name="Google Shape;1605;p16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6" name="Google Shape;1606;p16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7" name="Google Shape;1607;p16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08" name="Google Shape;1608;p1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9" name="Google Shape;1609;p1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10" name="Google Shape;1610;p16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1" name="Google Shape;1611;p16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2" name="Google Shape;1612;p16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13" name="Google Shape;1613;p16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8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0" name="Google Shape;850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" name="Google Shape;851;p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52" name="Google Shape;852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3" name="Google Shape;853;p8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4" name="Google Shape;854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5" name="Google Shape;855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6" name="Google Shape;856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57" name="Google Shape;857;p8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8" name="Google Shape;858;p8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9" name="Google Shape;859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0" name="Google Shape;860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">
    <p:spTree>
      <p:nvGrpSpPr>
        <p:cNvPr id="1" name="Shape 16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5" name="Google Shape;1615;p167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16" name="Google Shape;1616;p16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17" name="Google Shape;1617;p167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18" name="Google Shape;1618;p167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19" name="Google Shape;1619;p167"/>
            <p:cNvPicPr preferRelativeResize="0"/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20" name="Google Shape;1620;p167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1" name="Google Shape;1621;p167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2" name="Google Shape;1622;p167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3" name="Google Shape;1623;p167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16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5" name="Google Shape;1625;p168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6" name="Google Shape;1626;p168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7" name="Google Shape;1627;p168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8" name="Google Shape;1628;p168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9" name="Google Shape;1629;p1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30" name="Google Shape;1630;p168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16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2" name="Google Shape;1632;p16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3" name="Google Shape;1633;p16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4" name="Google Shape;1634;p16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5" name="Google Shape;1635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6" name="Google Shape;1636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7" name="Google Shape;1637;p16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8" name="Google Shape;1638;p16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9" name="Google Shape;1639;p16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40" name="Google Shape;1640;p16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1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2" name="Google Shape;1642;p17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3" name="Google Shape;1643;p17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4" name="Google Shape;1644;p17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5" name="Google Shape;1645;p17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46" name="Google Shape;1646;p17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16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" name="Google Shape;1648;p17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49" name="Google Shape;1649;p17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50" name="Google Shape;1650;p17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1" name="Google Shape;1651;p17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2" name="Google Shape;1652;p17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1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4" name="Google Shape;1654;p17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5" name="Google Shape;1655;p17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6" name="Google Shape;1656;p17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7" name="Google Shape;1657;p17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8" name="Google Shape;1658;p17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59" name="Google Shape;1659;p17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1" name="Google Shape;1661;p173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2" name="Google Shape;1662;p173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663" name="Google Shape;1663;p17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64" name="Google Shape;1664;p1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5" name="Google Shape;1665;p1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7" name="Google Shape;1667;p174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8" name="Google Shape;1668;p174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669" name="Google Shape;1669;p174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670" name="Google Shape;1670;p1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71" name="Google Shape;1671;p1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2" name="Google Shape;1672;p1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4" name="Google Shape;1674;p175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5" name="Google Shape;1675;p175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76" name="Google Shape;1676;p175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7" name="Google Shape;1677;p175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78" name="Google Shape;1678;p175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9" name="Google Shape;1679;p175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80" name="Google Shape;1680;p175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1" name="Google Shape;1681;p175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82" name="Google Shape;1682;p17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6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4" name="Google Shape;1684;p1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5" name="Google Shape;1685;p1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6" name="Google Shape;1686;p1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7" name="Google Shape;1687;p1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8" name="Google Shape;1688;p1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9" name="Google Shape;1689;p1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90" name="Google Shape;1690;p1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91" name="Google Shape;1691;p17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2" name="Google Shape;1692;p1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3" name="Google Shape;1693;p1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4" name="Google Shape;1694;p1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95" name="Google Shape;1695;p17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8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2" name="Google Shape;862;p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3" name="Google Shape;863;p8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4" name="Google Shape;864;p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5" name="Google Shape;865;p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6" name="Google Shape;866;p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7" name="Google Shape;867;p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8" name="Google Shape;868;p8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69" name="Google Shape;869;p8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0" name="Google Shape;870;p8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71" name="Google Shape;871;p8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2" name="Google Shape;872;p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3" name="Google Shape;873;p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4" name="Google Shape;874;p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1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7" name="Google Shape;1697;p177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8" name="Google Shape;1698;p177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99" name="Google Shape;1699;p17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0" name="Google Shape;1700;p177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01" name="Google Shape;1701;p17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2" name="Google Shape;1702;p17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3" name="Google Shape;1703;p177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4" name="Google Shape;1704;p17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05" name="Google Shape;1705;p17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7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7" name="Google Shape;1707;p17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8" name="Google Shape;1708;p17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9" name="Google Shape;1709;p17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10" name="Google Shape;1710;p1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11" name="Google Shape;1711;p17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12" name="Google Shape;1712;p1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3" name="Google Shape;1713;p17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4" name="Google Shape;1714;p17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6" name="Google Shape;1716;p17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17" name="Google Shape;1717;p17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8" name="Google Shape;1718;p1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9" name="Google Shape;1719;p17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20" name="Google Shape;1720;p17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21" name="Google Shape;1721;p17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2" name="Google Shape;1722;p17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4" name="Google Shape;1724;p18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25" name="Google Shape;1725;p18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26" name="Google Shape;1726;p18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27" name="Google Shape;1727;p18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8" name="Google Shape;1728;p18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29" name="Google Shape;1729;p18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30" name="Google Shape;1730;p18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7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2" name="Google Shape;1732;p1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33" name="Google Shape;1733;p1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4" name="Google Shape;1734;p1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35" name="Google Shape;1735;p1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36" name="Google Shape;1736;p18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37" name="Google Shape;1737;p1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38" name="Google Shape;1738;p1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9" name="Google Shape;1739;p1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7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" name="Google Shape;1741;p18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42" name="Google Shape;1742;p18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3" name="Google Shape;1743;p18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4" name="Google Shape;1744;p1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5" name="Google Shape;1745;p1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6" name="Google Shape;1746;p1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47" name="Google Shape;1747;p1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8" name="Google Shape;1748;p18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9" name="Google Shape;1749;p1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50" name="Google Shape;1750;p1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1" name="Google Shape;1751;p1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52" name="Google Shape;1752;p18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7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54" name="Google Shape;1754;p1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5" name="Google Shape;1755;p18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56" name="Google Shape;1756;p1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57" name="Google Shape;1757;p1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8" name="Google Shape;1758;p1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59" name="Google Shape;1759;p1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0" name="Google Shape;1760;p18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1" name="Google Shape;1761;p1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2" name="Google Shape;1762;p1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3" name="Google Shape;1763;p1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5" name="Google Shape;1765;p18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6" name="Google Shape;1766;p18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67" name="Google Shape;1767;p1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8" name="Google Shape;1768;p18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9" name="Google Shape;1769;p1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70" name="Google Shape;1770;p1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1" name="Google Shape;1771;p1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72" name="Google Shape;1772;p18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3" name="Google Shape;1773;p18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74" name="Google Shape;1774;p1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5" name="Google Shape;1775;p1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7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7" name="Google Shape;1777;p18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78" name="Google Shape;1778;p18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79" name="Google Shape;1779;p18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0" name="Google Shape;1780;p18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1" name="Google Shape;1781;p18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82" name="Google Shape;1782;p18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3" name="Google Shape;1783;p18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84" name="Google Shape;1784;p18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5" name="Google Shape;1785;p18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86" name="Google Shape;1786;p18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7" name="Google Shape;1787;p18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8" name="Google Shape;1788;p18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9" name="Google Shape;1789;p18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1" name="Google Shape;1791;p1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92" name="Google Shape;1792;p18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93" name="Google Shape;1793;p1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94" name="Google Shape;1794;p1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5" name="Google Shape;1795;p1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96" name="Google Shape;1796;p18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7" name="Google Shape;1797;p1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8" name="Google Shape;1798;p1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99" name="Google Shape;1799;p1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8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6" name="Google Shape;876;p8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7" name="Google Shape;877;p8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78" name="Google Shape;878;p8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79" name="Google Shape;879;p8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0" name="Google Shape;880;p8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1" name="Google Shape;881;p8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82" name="Google Shape;882;p84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8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01" name="Google Shape;1801;p18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802" name="Google Shape;1802;p18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3" name="Google Shape;1803;p18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04" name="Google Shape;1804;p18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5" name="Google Shape;1805;p18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6" name="Google Shape;1806;p18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807" name="Google Shape;1807;p18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808" name="Google Shape;1808;p18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8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0" name="Google Shape;1810;p1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1" name="Google Shape;1811;p1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2" name="Google Shape;1812;p1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3" name="Google Shape;1813;p1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14" name="Google Shape;1814;p18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15" name="Google Shape;1815;p1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16" name="Google Shape;1816;p1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7" name="Google Shape;1817;p1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18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9" name="Google Shape;1819;p1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0" name="Google Shape;1820;p1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1" name="Google Shape;1821;p1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22" name="Google Shape;1822;p1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23" name="Google Shape;1823;p1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24" name="Google Shape;1824;p1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25" name="Google Shape;1825;p1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26" name="Google Shape;1826;p18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27" name="Google Shape;1827;p1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28" name="Google Shape;1828;p1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29" name="Google Shape;1829;p1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30" name="Google Shape;1830;p1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3">
    <p:spTree>
      <p:nvGrpSpPr>
        <p:cNvPr id="1" name="Shape 1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" name="Google Shape;1832;p190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3" name="Google Shape;1833;p190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834" name="Google Shape;1834;p190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835" name="Google Shape;1835;p190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6" name="Google Shape;1836;p190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837" name="Google Shape;1837;p19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9" name="Google Shape;1839;p19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40" name="Google Shape;1840;p19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1" name="Google Shape;1841;p19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42" name="Google Shape;1842;p1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43" name="Google Shape;1843;p19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44" name="Google Shape;1844;p1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5" name="Google Shape;1845;p19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46" name="Google Shape;1846;p19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48" name="Google Shape;1848;p19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49" name="Google Shape;1849;p19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0" name="Google Shape;1850;p19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1" name="Google Shape;1851;p19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52" name="Google Shape;1852;p19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53" name="Google Shape;1853;p19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19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8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6" name="Google Shape;1856;p19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57" name="Google Shape;1857;p19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58" name="Google Shape;1858;p19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59" name="Google Shape;1859;p19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0" name="Google Shape;1860;p19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61" name="Google Shape;1861;p19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62" name="Google Shape;1862;p19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8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4" name="Google Shape;1864;p19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5" name="Google Shape;1865;p1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6" name="Google Shape;1866;p1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7" name="Google Shape;1867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68" name="Google Shape;1868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69" name="Google Shape;1869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70" name="Google Shape;1870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1" name="Google Shape;1871;p19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72" name="Google Shape;1872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3" name="Google Shape;1873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4" name="Google Shape;1874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75" name="Google Shape;1875;p19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7" name="Google Shape;1877;p19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8" name="Google Shape;1878;p19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9" name="Google Shape;1879;p19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0" name="Google Shape;1880;p1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1" name="Google Shape;1881;p1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2" name="Google Shape;1882;p1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83" name="Google Shape;1883;p1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84" name="Google Shape;1884;p19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5" name="Google Shape;1885;p1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6" name="Google Shape;1886;p1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7" name="Google Shape;1887;p1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88" name="Google Shape;1888;p19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90" name="Google Shape;1890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1" name="Google Shape;1891;p19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2" name="Google Shape;1892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3" name="Google Shape;1893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4" name="Google Shape;1894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5" name="Google Shape;1895;p1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6" name="Google Shape;1896;p19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7" name="Google Shape;1897;p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8" name="Google Shape;1898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9" name="Google Shape;1899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4" name="Google Shape;884;p8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85" name="Google Shape;885;p8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6" name="Google Shape;886;p8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7" name="Google Shape;887;p8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8" name="Google Shape;888;p8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9" name="Google Shape;889;p8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90" name="Google Shape;890;p8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1" name="Google Shape;1901;p1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2" name="Google Shape;1902;p19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903" name="Google Shape;1903;p1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4" name="Google Shape;1904;p19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5" name="Google Shape;1905;p1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6" name="Google Shape;1906;p1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7" name="Google Shape;1907;p1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8" name="Google Shape;1908;p19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19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0" name="Google Shape;1910;p1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1" name="Google Shape;1911;p1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9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13" name="Google Shape;1913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4" name="Google Shape;1914;p19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5" name="Google Shape;1915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6" name="Google Shape;1916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7" name="Google Shape;1917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18" name="Google Shape;1918;p1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9" name="Google Shape;1919;p19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20" name="Google Shape;1920;p19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1" name="Google Shape;1921;p19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22" name="Google Shape;1922;p19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3" name="Google Shape;1923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4" name="Google Shape;1924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5" name="Google Shape;1925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9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7" name="Google Shape;1927;p1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28" name="Google Shape;1928;p19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29" name="Google Shape;1929;p1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30" name="Google Shape;1930;p1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1" name="Google Shape;1931;p1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32" name="Google Shape;1932;p1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3" name="Google Shape;1933;p1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4" name="Google Shape;1934;p1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5" name="Google Shape;1935;p1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9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37" name="Google Shape;1937;p20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38" name="Google Shape;1938;p20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39" name="Google Shape;1939;p20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40" name="Google Shape;1940;p20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1" name="Google Shape;1941;p20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42" name="Google Shape;1942;p20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43" name="Google Shape;1943;p20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44" name="Google Shape;1944;p20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9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6" name="Google Shape;1946;p2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47" name="Google Shape;1947;p2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48" name="Google Shape;1948;p2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49" name="Google Shape;1949;p2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50" name="Google Shape;1950;p20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51" name="Google Shape;1951;p2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52" name="Google Shape;1952;p2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3" name="Google Shape;1953;p2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20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202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57" name="Google Shape;1957;p20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958" name="Google Shape;1958;p202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59" name="Google Shape;1959;p202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960" name="Google Shape;1960;p202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1" name="Google Shape;1961;p202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2" name="Google Shape;1962;p202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63" name="Google Shape;1963;p2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4" name="Google Shape;1964;p20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65" name="Google Shape;1965;p2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9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7" name="Google Shape;1967;p20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8" name="Google Shape;1968;p20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9" name="Google Shape;1969;p20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0" name="Google Shape;1970;p2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71" name="Google Shape;1971;p2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72" name="Google Shape;1972;p2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73" name="Google Shape;1973;p2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74" name="Google Shape;1974;p20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75" name="Google Shape;1975;p2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76" name="Google Shape;1976;p2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7" name="Google Shape;1977;p2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78" name="Google Shape;1978;p20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0" name="Google Shape;1980;p20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1" name="Google Shape;1981;p20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2" name="Google Shape;1982;p20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3" name="Google Shape;1983;p2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4" name="Google Shape;1984;p2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85" name="Google Shape;1985;p2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86" name="Google Shape;1986;p2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87" name="Google Shape;1987;p20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88" name="Google Shape;1988;p2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89" name="Google Shape;1989;p2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0" name="Google Shape;1990;p2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91" name="Google Shape;1991;p20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35132298"/>
      </p:ext>
    </p:extLst>
  </p:cSld>
  <p:clrMapOvr>
    <a:masterClrMapping/>
  </p:clrMapOvr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302442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3" name="Google Shape;893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4" name="Google Shape;894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5" name="Google Shape;895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96" name="Google Shape;896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7" name="Google Shape;897;p8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8" name="Google Shape;898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9" name="Google Shape;899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0" name="Google Shape;900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6170839"/>
      </p:ext>
    </p:extLst>
  </p:cSld>
  <p:clrMapOvr>
    <a:masterClrMapping/>
  </p:clrMapOvr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2535484"/>
      </p:ext>
    </p:extLst>
  </p:cSld>
  <p:clrMapOvr>
    <a:masterClrMapping/>
  </p:clrMapOvr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93580922"/>
      </p:ext>
    </p:extLst>
  </p:cSld>
  <p:clrMapOvr>
    <a:masterClrMapping/>
  </p:clrMapOvr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002537"/>
      </p:ext>
    </p:extLst>
  </p:cSld>
  <p:clrMapOvr>
    <a:masterClrMapping/>
  </p:clrMapOvr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66770658"/>
      </p:ext>
    </p:extLst>
  </p:cSld>
  <p:clrMapOvr>
    <a:masterClrMapping/>
  </p:clrMapOvr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3022876"/>
      </p:ext>
    </p:extLst>
  </p:cSld>
  <p:clrMapOvr>
    <a:masterClrMapping/>
  </p:clrMapOvr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180516"/>
      </p:ext>
    </p:extLst>
  </p:cSld>
  <p:clrMapOvr>
    <a:masterClrMapping/>
  </p:clrMapOvr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1690240"/>
      </p:ext>
    </p:extLst>
  </p:cSld>
  <p:clrMapOvr>
    <a:masterClrMapping/>
  </p:clrMapOvr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5810701"/>
      </p:ext>
    </p:extLst>
  </p:cSld>
  <p:clrMapOvr>
    <a:masterClrMapping/>
  </p:clrMapOvr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6276320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2" name="Google Shape;902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3" name="Google Shape;903;p8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4" name="Google Shape;904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5" name="Google Shape;905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6" name="Google Shape;906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7" name="Google Shape;907;p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8" name="Google Shape;908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9" name="Google Shape;909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0" name="Google Shape;910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11944162"/>
      </p:ext>
    </p:extLst>
  </p:cSld>
  <p:clrMapOvr>
    <a:masterClrMapping/>
  </p:clrMapOvr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2919903"/>
      </p:ext>
    </p:extLst>
  </p:cSld>
  <p:clrMapOvr>
    <a:masterClrMapping/>
  </p:clrMapOvr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6140723"/>
      </p:ext>
    </p:extLst>
  </p:cSld>
  <p:clrMapOvr>
    <a:masterClrMapping/>
  </p:clrMapOvr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454738"/>
      </p:ext>
    </p:extLst>
  </p:cSld>
  <p:clrMapOvr>
    <a:masterClrMapping/>
  </p:clrMapOvr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71693232"/>
      </p:ext>
    </p:extLst>
  </p:cSld>
  <p:clrMapOvr>
    <a:masterClrMapping/>
  </p:clrMapOvr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71517026"/>
      </p:ext>
    </p:extLst>
  </p:cSld>
  <p:clrMapOvr>
    <a:masterClrMapping/>
  </p:clrMapOvr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25087540"/>
      </p:ext>
    </p:extLst>
  </p:cSld>
  <p:clrMapOvr>
    <a:masterClrMapping/>
  </p:clrMapOvr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064416"/>
      </p:ext>
    </p:extLst>
  </p:cSld>
  <p:clrMapOvr>
    <a:masterClrMapping/>
  </p:clrMapOvr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04711627"/>
      </p:ext>
    </p:extLst>
  </p:cSld>
  <p:clrMapOvr>
    <a:masterClrMapping/>
  </p:clrMapOvr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6721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2">
    <p:spTree>
      <p:nvGrpSpPr>
        <p:cNvPr id="1" name="Shape 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2" name="Google Shape;912;p88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3" name="Google Shape;913;p88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914" name="Google Shape;914;p88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915" name="Google Shape;915;p88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6" name="Google Shape;916;p88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917" name="Google Shape;917;p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786980"/>
      </p:ext>
    </p:extLst>
  </p:cSld>
  <p:clrMapOvr>
    <a:masterClrMapping/>
  </p:clrMapOvr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65765298"/>
      </p:ext>
    </p:extLst>
  </p:cSld>
  <p:clrMapOvr>
    <a:masterClrMapping/>
  </p:clrMapOvr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34140119"/>
      </p:ext>
    </p:extLst>
  </p:cSld>
  <p:clrMapOvr>
    <a:masterClrMapping/>
  </p:clrMapOvr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0835102"/>
      </p:ext>
    </p:extLst>
  </p:cSld>
  <p:clrMapOvr>
    <a:masterClrMapping/>
  </p:clrMapOvr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228193"/>
      </p:ext>
    </p:extLst>
  </p:cSld>
  <p:clrMapOvr>
    <a:masterClrMapping/>
  </p:clrMapOvr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891637"/>
      </p:ext>
    </p:extLst>
  </p:cSld>
  <p:clrMapOvr>
    <a:masterClrMapping/>
  </p:clrMapOvr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9073238"/>
      </p:ext>
    </p:extLst>
  </p:cSld>
  <p:clrMapOvr>
    <a:masterClrMapping/>
  </p:clrMapOvr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5222020"/>
      </p:ext>
    </p:extLst>
  </p:cSld>
  <p:clrMapOvr>
    <a:masterClrMapping/>
  </p:clrMapOvr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80410901"/>
      </p:ext>
    </p:extLst>
  </p:cSld>
  <p:clrMapOvr>
    <a:masterClrMapping/>
  </p:clrMapOvr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528237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0" name="Google Shape;920;p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1" name="Google Shape;921;p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2" name="Google Shape;922;p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3" name="Google Shape;923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4" name="Google Shape;924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5" name="Google Shape;925;p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6" name="Google Shape;926;p8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" name="Google Shape;927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8" name="Google Shape;928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" name="Google Shape;929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0" name="Google Shape;930;p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318615"/>
      </p:ext>
    </p:extLst>
  </p:cSld>
  <p:clrMapOvr>
    <a:masterClrMapping/>
  </p:clrMapOvr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651762"/>
      </p:ext>
    </p:extLst>
  </p:cSld>
  <p:clrMapOvr>
    <a:masterClrMapping/>
  </p:clrMapOvr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0041222"/>
      </p:ext>
    </p:extLst>
  </p:cSld>
  <p:clrMapOvr>
    <a:masterClrMapping/>
  </p:clrMapOvr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92440"/>
      </p:ext>
    </p:extLst>
  </p:cSld>
  <p:clrMapOvr>
    <a:masterClrMapping/>
  </p:clrMapOvr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49234911"/>
      </p:ext>
    </p:extLst>
  </p:cSld>
  <p:clrMapOvr>
    <a:masterClrMapping/>
  </p:clrMapOvr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3231479"/>
      </p:ext>
    </p:extLst>
  </p:cSld>
  <p:clrMapOvr>
    <a:masterClrMapping/>
  </p:clrMapOvr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610166"/>
      </p:ext>
    </p:extLst>
  </p:cSld>
  <p:clrMapOvr>
    <a:masterClrMapping/>
  </p:clrMapOvr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5957539"/>
      </p:ext>
    </p:extLst>
  </p:cSld>
  <p:clrMapOvr>
    <a:masterClrMapping/>
  </p:clrMapOvr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39994771"/>
      </p:ext>
    </p:extLst>
  </p:cSld>
  <p:clrMapOvr>
    <a:masterClrMapping/>
  </p:clrMapOvr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2341624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2" name="Google Shape;932;p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3" name="Google Shape;933;p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4" name="Google Shape;934;p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" name="Google Shape;935;p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6" name="Google Shape;936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7" name="Google Shape;937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8" name="Google Shape;938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9" name="Google Shape;939;p9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0" name="Google Shape;940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1" name="Google Shape;941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2" name="Google Shape;942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3" name="Google Shape;943;p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1064285"/>
      </p:ext>
    </p:extLst>
  </p:cSld>
  <p:clrMapOvr>
    <a:masterClrMapping/>
  </p:clrMapOvr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361871"/>
      </p:ext>
    </p:extLst>
  </p:cSld>
  <p:clrMapOvr>
    <a:masterClrMapping/>
  </p:clrMapOvr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36382107"/>
      </p:ext>
    </p:extLst>
  </p:cSld>
  <p:clrMapOvr>
    <a:masterClrMapping/>
  </p:clrMapOvr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6180184"/>
      </p:ext>
    </p:extLst>
  </p:cSld>
  <p:clrMapOvr>
    <a:masterClrMapping/>
  </p:clrMapOvr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187281"/>
      </p:ext>
    </p:extLst>
  </p:cSld>
  <p:clrMapOvr>
    <a:masterClrMapping/>
  </p:clrMapOvr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3208341"/>
      </p:ext>
    </p:extLst>
  </p:cSld>
  <p:clrMapOvr>
    <a:masterClrMapping/>
  </p:clrMapOvr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39807360"/>
      </p:ext>
    </p:extLst>
  </p:cSld>
  <p:clrMapOvr>
    <a:masterClrMapping/>
  </p:clrMapOvr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8454049"/>
      </p:ext>
    </p:extLst>
  </p:cSld>
  <p:clrMapOvr>
    <a:masterClrMapping/>
  </p:clrMapOvr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4955612"/>
      </p:ext>
    </p:extLst>
  </p:cSld>
  <p:clrMapOvr>
    <a:masterClrMapping/>
  </p:clrMapOvr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87268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" name="Google Shape;945;p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6" name="Google Shape;946;p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" name="Google Shape;947;p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" name="Google Shape;948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9" name="Google Shape;949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0" name="Google Shape;950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1" name="Google Shape;951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2" name="Google Shape;952;p9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3" name="Google Shape;953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4" name="Google Shape;954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5" name="Google Shape;955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6" name="Google Shape;956;p9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14544428"/>
      </p:ext>
    </p:extLst>
  </p:cSld>
  <p:clrMapOvr>
    <a:masterClrMapping/>
  </p:clrMapOvr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89743820"/>
      </p:ext>
    </p:extLst>
  </p:cSld>
  <p:clrMapOvr>
    <a:masterClrMapping/>
  </p:clrMapOvr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2830074"/>
      </p:ext>
    </p:extLst>
  </p:cSld>
  <p:clrMapOvr>
    <a:masterClrMapping/>
  </p:clrMapOvr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12811187"/>
      </p:ext>
    </p:extLst>
  </p:cSld>
  <p:clrMapOvr>
    <a:masterClrMapping/>
  </p:clrMapOvr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4475664"/>
      </p:ext>
    </p:extLst>
  </p:cSld>
  <p:clrMapOvr>
    <a:masterClrMapping/>
  </p:clrMapOvr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14163843"/>
      </p:ext>
    </p:extLst>
  </p:cSld>
  <p:clrMapOvr>
    <a:masterClrMapping/>
  </p:clrMapOvr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390896"/>
      </p:ext>
    </p:extLst>
  </p:cSld>
  <p:clrMapOvr>
    <a:masterClrMapping/>
  </p:clrMapOvr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6979044"/>
      </p:ext>
    </p:extLst>
  </p:cSld>
  <p:clrMapOvr>
    <a:masterClrMapping/>
  </p:clrMapOvr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543441"/>
      </p:ext>
    </p:extLst>
  </p:cSld>
  <p:clrMapOvr>
    <a:masterClrMapping/>
  </p:clrMapOvr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117028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0" name="Google Shape;920;p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1" name="Google Shape;921;p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2" name="Google Shape;922;p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3" name="Google Shape;923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4" name="Google Shape;924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5" name="Google Shape;925;p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6" name="Google Shape;926;p8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" name="Google Shape;927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8" name="Google Shape;928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" name="Google Shape;929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0" name="Google Shape;930;p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01376062"/>
      </p:ext>
    </p:extLst>
  </p:cSld>
  <p:clrMapOvr>
    <a:masterClrMapping/>
  </p:clrMapOvr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952637"/>
      </p:ext>
    </p:extLst>
  </p:cSld>
  <p:clrMapOvr>
    <a:masterClrMapping/>
  </p:clrMapOvr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914336"/>
      </p:ext>
    </p:extLst>
  </p:cSld>
  <p:clrMapOvr>
    <a:masterClrMapping/>
  </p:clrMapOvr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0561"/>
      </p:ext>
    </p:extLst>
  </p:cSld>
  <p:clrMapOvr>
    <a:masterClrMapping/>
  </p:clrMapOvr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37236475"/>
      </p:ext>
    </p:extLst>
  </p:cSld>
  <p:clrMapOvr>
    <a:masterClrMapping/>
  </p:clrMapOvr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7940408"/>
      </p:ext>
    </p:extLst>
  </p:cSld>
  <p:clrMapOvr>
    <a:masterClrMapping/>
  </p:clrMapOvr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843102"/>
      </p:ext>
    </p:extLst>
  </p:cSld>
  <p:clrMapOvr>
    <a:masterClrMapping/>
  </p:clrMapOvr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908470"/>
      </p:ext>
    </p:extLst>
  </p:cSld>
  <p:clrMapOvr>
    <a:masterClrMapping/>
  </p:clrMapOvr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7344152"/>
      </p:ext>
    </p:extLst>
  </p:cSld>
  <p:clrMapOvr>
    <a:masterClrMapping/>
  </p:clrMapOvr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8509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2" name="Google Shape;932;p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3" name="Google Shape;933;p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4" name="Google Shape;934;p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" name="Google Shape;935;p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6" name="Google Shape;936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7" name="Google Shape;937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8" name="Google Shape;938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9" name="Google Shape;939;p9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0" name="Google Shape;940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1" name="Google Shape;941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2" name="Google Shape;942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3" name="Google Shape;943;p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8891644"/>
      </p:ext>
    </p:extLst>
  </p:cSld>
  <p:clrMapOvr>
    <a:masterClrMapping/>
  </p:clrMapOvr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857045119"/>
      </p:ext>
    </p:extLst>
  </p:cSld>
  <p:clrMapOvr>
    <a:masterClrMapping/>
  </p:clrMapOvr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3510420"/>
      </p:ext>
    </p:extLst>
  </p:cSld>
  <p:clrMapOvr>
    <a:masterClrMapping/>
  </p:clrMapOvr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70507638"/>
      </p:ext>
    </p:extLst>
  </p:cSld>
  <p:clrMapOvr>
    <a:masterClrMapping/>
  </p:clrMapOvr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2996581"/>
      </p:ext>
    </p:extLst>
  </p:cSld>
  <p:clrMapOvr>
    <a:masterClrMapping/>
  </p:clrMapOvr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466915"/>
      </p:ext>
    </p:extLst>
  </p:cSld>
  <p:clrMapOvr>
    <a:masterClrMapping/>
  </p:clrMapOvr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799064"/>
      </p:ext>
    </p:extLst>
  </p:cSld>
  <p:clrMapOvr>
    <a:masterClrMapping/>
  </p:clrMapOvr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27439676"/>
      </p:ext>
    </p:extLst>
  </p:cSld>
  <p:clrMapOvr>
    <a:masterClrMapping/>
  </p:clrMapOvr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57477755"/>
      </p:ext>
    </p:extLst>
  </p:cSld>
  <p:clrMapOvr>
    <a:masterClrMapping/>
  </p:clrMapOvr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7404323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" name="Google Shape;945;p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6" name="Google Shape;946;p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" name="Google Shape;947;p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" name="Google Shape;948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9" name="Google Shape;949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0" name="Google Shape;950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1" name="Google Shape;951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2" name="Google Shape;952;p9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3" name="Google Shape;953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4" name="Google Shape;954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5" name="Google Shape;955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6" name="Google Shape;956;p9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29801688"/>
      </p:ext>
    </p:extLst>
  </p:cSld>
  <p:clrMapOvr>
    <a:masterClrMapping/>
  </p:clrMapOvr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8635922"/>
      </p:ext>
    </p:extLst>
  </p:cSld>
  <p:clrMapOvr>
    <a:masterClrMapping/>
  </p:clrMapOvr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04597488"/>
      </p:ext>
    </p:extLst>
  </p:cSld>
  <p:clrMapOvr>
    <a:masterClrMapping/>
  </p:clrMapOvr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15158"/>
      </p:ext>
    </p:extLst>
  </p:cSld>
  <p:clrMapOvr>
    <a:masterClrMapping/>
  </p:clrMapOvr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7954034"/>
      </p:ext>
    </p:extLst>
  </p:cSld>
  <p:clrMapOvr>
    <a:masterClrMapping/>
  </p:clrMapOvr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222600"/>
      </p:ext>
    </p:extLst>
  </p:cSld>
  <p:clrMapOvr>
    <a:masterClrMapping/>
  </p:clrMapOvr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1096561"/>
      </p:ext>
    </p:extLst>
  </p:cSld>
  <p:clrMapOvr>
    <a:masterClrMapping/>
  </p:clrMapOvr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0759458"/>
      </p:ext>
    </p:extLst>
  </p:cSld>
  <p:clrMapOvr>
    <a:masterClrMapping/>
  </p:clrMapOvr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62020599"/>
      </p:ext>
    </p:extLst>
  </p:cSld>
  <p:clrMapOvr>
    <a:masterClrMapping/>
  </p:clrMapOvr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7919137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" name="Google Shape;958;p9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9" name="Google Shape;959;p92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60" name="Google Shape;960;p9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61" name="Google Shape;961;p92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62" name="Google Shape;962;p92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63" name="Google Shape;963;p92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4" name="Google Shape;964;p92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5" name="Google Shape;965;p92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6" name="Google Shape;966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7" name="Google Shape;967;p9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68" name="Google Shape;968;p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58059617"/>
      </p:ext>
    </p:extLst>
  </p:cSld>
  <p:clrMapOvr>
    <a:masterClrMapping/>
  </p:clrMapOvr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5787133"/>
      </p:ext>
    </p:extLst>
  </p:cSld>
  <p:clrMapOvr>
    <a:masterClrMapping/>
  </p:clrMapOvr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86285869"/>
      </p:ext>
    </p:extLst>
  </p:cSld>
  <p:clrMapOvr>
    <a:masterClrMapping/>
  </p:clrMapOvr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6237387"/>
      </p:ext>
    </p:extLst>
  </p:cSld>
  <p:clrMapOvr>
    <a:masterClrMapping/>
  </p:clrMapOvr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5715366"/>
      </p:ext>
    </p:extLst>
  </p:cSld>
  <p:clrMapOvr>
    <a:masterClrMapping/>
  </p:clrMapOvr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870"/>
      </p:ext>
    </p:extLst>
  </p:cSld>
  <p:clrMapOvr>
    <a:masterClrMapping/>
  </p:clrMapOvr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7297279"/>
      </p:ext>
    </p:extLst>
  </p:cSld>
  <p:clrMapOvr>
    <a:masterClrMapping/>
  </p:clrMapOvr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90892070"/>
      </p:ext>
    </p:extLst>
  </p:cSld>
  <p:clrMapOvr>
    <a:masterClrMapping/>
  </p:clrMapOvr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09378296"/>
      </p:ext>
    </p:extLst>
  </p:cSld>
  <p:clrMapOvr>
    <a:masterClrMapping/>
  </p:clrMapOvr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17912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9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" name="Google Shape;970;p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1" name="Google Shape;971;p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2" name="Google Shape;972;p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" name="Google Shape;973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" name="Google Shape;974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" name="Google Shape;975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" name="Google Shape;976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7" name="Google Shape;977;p9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8" name="Google Shape;978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9" name="Google Shape;979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0" name="Google Shape;980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1" name="Google Shape;981;p9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805180"/>
      </p:ext>
    </p:extLst>
  </p:cSld>
  <p:clrMapOvr>
    <a:masterClrMapping/>
  </p:clrMapOvr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5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2" y="1561333"/>
            <a:ext cx="5194433" cy="1826339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2" y="3766864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A3686E6-74E2-FE49-AAC4-953D01F3F562}"/>
              </a:ext>
            </a:extLst>
          </p:cNvPr>
          <p:cNvCxnSpPr/>
          <p:nvPr userDrawn="1"/>
        </p:nvCxnSpPr>
        <p:spPr>
          <a:xfrm>
            <a:off x="1520055" y="350798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50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06822339"/>
      </p:ext>
    </p:extLst>
  </p:cSld>
  <p:clrMapOvr>
    <a:masterClrMapping/>
  </p:clrMapOvr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1" y="701750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081641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9CB564A-C69C-944C-96FC-5B26C4A43C4A}"/>
              </a:ext>
            </a:extLst>
          </p:cNvPr>
          <p:cNvCxnSpPr/>
          <p:nvPr userDrawn="1"/>
        </p:nvCxnSpPr>
        <p:spPr>
          <a:xfrm>
            <a:off x="1520055" y="281181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4080108"/>
      </p:ext>
    </p:extLst>
  </p:cSld>
  <p:clrMapOvr>
    <a:masterClrMapping/>
  </p:clrMapOvr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1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8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657170"/>
      </p:ext>
    </p:extLst>
  </p:cSld>
  <p:clrMapOvr>
    <a:masterClrMapping/>
  </p:clrMapOvr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7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3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750331"/>
      </p:ext>
    </p:extLst>
  </p:cSld>
  <p:clrMapOvr>
    <a:masterClrMapping/>
  </p:clrMapOvr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77E4BD-558F-4F49-BCCC-8097ACDB3950}"/>
              </a:ext>
            </a:extLst>
          </p:cNvPr>
          <p:cNvCxnSpPr/>
          <p:nvPr userDrawn="1"/>
        </p:nvCxnSpPr>
        <p:spPr>
          <a:xfrm>
            <a:off x="704315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26224079"/>
      </p:ext>
    </p:extLst>
  </p:cSld>
  <p:clrMapOvr>
    <a:masterClrMapping/>
  </p:clrMapOvr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9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54FD4E-2BB6-AE40-B89B-76CA55068800}"/>
              </a:ext>
            </a:extLst>
          </p:cNvPr>
          <p:cNvCxnSpPr/>
          <p:nvPr userDrawn="1"/>
        </p:nvCxnSpPr>
        <p:spPr>
          <a:xfrm>
            <a:off x="704315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7581525"/>
      </p:ext>
    </p:extLst>
  </p:cSld>
  <p:clrMapOvr>
    <a:masterClrMapping/>
  </p:clrMapOvr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7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2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9461672"/>
      </p:ext>
    </p:extLst>
  </p:cSld>
  <p:clrMapOvr>
    <a:masterClrMapping/>
  </p:clrMapOvr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BD2A368-37B4-AE41-8927-00C94D6431A1}"/>
              </a:ext>
            </a:extLst>
          </p:cNvPr>
          <p:cNvCxnSpPr/>
          <p:nvPr userDrawn="1"/>
        </p:nvCxnSpPr>
        <p:spPr>
          <a:xfrm>
            <a:off x="707293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88197497"/>
      </p:ext>
    </p:extLst>
  </p:cSld>
  <p:clrMapOvr>
    <a:masterClrMapping/>
  </p:clrMapOvr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9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3A1B7DC-DAD7-F944-AC53-2FDB50DEA0A1}"/>
              </a:ext>
            </a:extLst>
          </p:cNvPr>
          <p:cNvCxnSpPr>
            <a:cxnSpLocks/>
          </p:cNvCxnSpPr>
          <p:nvPr userDrawn="1"/>
        </p:nvCxnSpPr>
        <p:spPr>
          <a:xfrm>
            <a:off x="1325947" y="3080084"/>
            <a:ext cx="685399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2" y="3429002"/>
            <a:ext cx="5582652" cy="1413563"/>
          </a:xfrm>
        </p:spPr>
        <p:txBody>
          <a:bodyPr numCol="2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219201" y="1887490"/>
            <a:ext cx="5582652" cy="1078262"/>
          </a:xfrm>
        </p:spPr>
        <p:txBody>
          <a:bodyPr>
            <a:norm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5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6684371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9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" name="Google Shape;970;p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1" name="Google Shape;971;p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2" name="Google Shape;972;p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" name="Google Shape;973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" name="Google Shape;974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" name="Google Shape;975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" name="Google Shape;976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7" name="Google Shape;977;p9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8" name="Google Shape;978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9" name="Google Shape;979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0" name="Google Shape;980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1" name="Google Shape;981;p9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2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76736425"/>
      </p:ext>
    </p:extLst>
  </p:cSld>
  <p:clrMapOvr>
    <a:masterClrMapping/>
  </p:clrMapOvr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7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9A3468E-DF1F-A142-9123-E9C41E669E14}"/>
              </a:ext>
            </a:extLst>
          </p:cNvPr>
          <p:cNvCxnSpPr/>
          <p:nvPr userDrawn="1"/>
        </p:nvCxnSpPr>
        <p:spPr>
          <a:xfrm>
            <a:off x="620093" y="5141451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9" y="136525"/>
            <a:ext cx="1945207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814633"/>
      </p:ext>
    </p:extLst>
  </p:cSld>
  <p:clrMapOvr>
    <a:masterClrMapping/>
  </p:clrMapOvr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C53AD7-A772-4F83-850B-482C70935EA4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DD8331-DEC2-4D1E-95D5-94283CB87E4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55825016"/>
      </p:ext>
    </p:extLst>
  </p:cSld>
  <p:clrMapOvr>
    <a:masterClrMapping/>
  </p:clrMapOvr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2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A51ED6-1809-467D-BA74-8EA1DF4B6FEF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AF8077-2CE4-4A8C-806A-F9B27078C00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42795347"/>
      </p:ext>
    </p:extLst>
  </p:cSld>
  <p:clrMapOvr>
    <a:masterClrMapping/>
  </p:clrMapOvr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5323156"/>
      </p:ext>
    </p:extLst>
  </p:cSld>
  <p:clrMapOvr>
    <a:masterClrMapping/>
  </p:clrMapOvr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A3686E6-74E2-FE49-AAC4-953D01F3F562}"/>
              </a:ext>
            </a:extLst>
          </p:cNvPr>
          <p:cNvCxnSpPr/>
          <p:nvPr userDrawn="1"/>
        </p:nvCxnSpPr>
        <p:spPr>
          <a:xfrm>
            <a:off x="1520055" y="350798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72337886"/>
      </p:ext>
    </p:extLst>
  </p:cSld>
  <p:clrMapOvr>
    <a:masterClrMapping/>
  </p:clrMapOvr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9CB564A-C69C-944C-96FC-5B26C4A43C4A}"/>
              </a:ext>
            </a:extLst>
          </p:cNvPr>
          <p:cNvCxnSpPr/>
          <p:nvPr userDrawn="1"/>
        </p:nvCxnSpPr>
        <p:spPr>
          <a:xfrm>
            <a:off x="1520055" y="281181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6706748"/>
      </p:ext>
    </p:extLst>
  </p:cSld>
  <p:clrMapOvr>
    <a:masterClrMapping/>
  </p:clrMapOvr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371486"/>
      </p:ext>
    </p:extLst>
  </p:cSld>
  <p:clrMapOvr>
    <a:masterClrMapping/>
  </p:clrMapOvr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974559"/>
      </p:ext>
    </p:extLst>
  </p:cSld>
  <p:clrMapOvr>
    <a:masterClrMapping/>
  </p:clrMapOvr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5468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oogle Shape;117;p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" name="Google Shape;118;p1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" name="Google Shape;119;p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" name="Google Shape;120;p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2" name="Google Shape;122;p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" name="Google Shape;125;p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6" name="Google Shape;126;p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Google Shape;983;p9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" name="Google Shape;984;p9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" name="Google Shape;985;p9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86" name="Google Shape;986;p9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87" name="Google Shape;987;p9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88" name="Google Shape;988;p9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9" name="Google Shape;989;p9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90" name="Google Shape;990;p9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77E4BD-558F-4F49-BCCC-8097ACDB3950}"/>
              </a:ext>
            </a:extLst>
          </p:cNvPr>
          <p:cNvCxnSpPr/>
          <p:nvPr userDrawn="1"/>
        </p:nvCxnSpPr>
        <p:spPr>
          <a:xfrm>
            <a:off x="704314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45928052"/>
      </p:ext>
    </p:extLst>
  </p:cSld>
  <p:clrMapOvr>
    <a:masterClrMapping/>
  </p:clrMapOvr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54FD4E-2BB6-AE40-B89B-76CA55068800}"/>
              </a:ext>
            </a:extLst>
          </p:cNvPr>
          <p:cNvCxnSpPr/>
          <p:nvPr userDrawn="1"/>
        </p:nvCxnSpPr>
        <p:spPr>
          <a:xfrm>
            <a:off x="704314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17524011"/>
      </p:ext>
    </p:extLst>
  </p:cSld>
  <p:clrMapOvr>
    <a:masterClrMapping/>
  </p:clrMapOvr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28308829"/>
      </p:ext>
    </p:extLst>
  </p:cSld>
  <p:clrMapOvr>
    <a:masterClrMapping/>
  </p:clrMapOvr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BD2A368-37B4-AE41-8927-00C94D6431A1}"/>
              </a:ext>
            </a:extLst>
          </p:cNvPr>
          <p:cNvCxnSpPr/>
          <p:nvPr userDrawn="1"/>
        </p:nvCxnSpPr>
        <p:spPr>
          <a:xfrm>
            <a:off x="707293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61748654"/>
      </p:ext>
    </p:extLst>
  </p:cSld>
  <p:clrMapOvr>
    <a:masterClrMapping/>
  </p:clrMapOvr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3A1B7DC-DAD7-F944-AC53-2FDB50DEA0A1}"/>
              </a:ext>
            </a:extLst>
          </p:cNvPr>
          <p:cNvCxnSpPr>
            <a:cxnSpLocks/>
          </p:cNvCxnSpPr>
          <p:nvPr userDrawn="1"/>
        </p:nvCxnSpPr>
        <p:spPr>
          <a:xfrm>
            <a:off x="1325946" y="3080084"/>
            <a:ext cx="685399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219200" y="1887490"/>
            <a:ext cx="5582652" cy="1078262"/>
          </a:xfrm>
        </p:spPr>
        <p:txBody>
          <a:bodyPr>
            <a:normAutofit/>
          </a:bodyPr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20444629"/>
      </p:ext>
    </p:extLst>
  </p:cSld>
  <p:clrMapOvr>
    <a:masterClrMapping/>
  </p:clrMapOvr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1950220"/>
      </p:ext>
    </p:extLst>
  </p:cSld>
  <p:clrMapOvr>
    <a:masterClrMapping/>
  </p:clrMapOvr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9A3468E-DF1F-A142-9123-E9C41E669E14}"/>
              </a:ext>
            </a:extLst>
          </p:cNvPr>
          <p:cNvCxnSpPr/>
          <p:nvPr userDrawn="1"/>
        </p:nvCxnSpPr>
        <p:spPr>
          <a:xfrm>
            <a:off x="620093" y="5141451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7524703"/>
      </p:ext>
    </p:extLst>
  </p:cSld>
  <p:clrMapOvr>
    <a:masterClrMapping/>
  </p:clrMapOvr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336E9A-8E96-CD8C-7598-F87632CD81C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301923" y="1122363"/>
            <a:ext cx="7588155" cy="2621154"/>
          </a:xfr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BDC76B8-60F6-62D3-9F73-E816622030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301923" y="3843708"/>
            <a:ext cx="7588155" cy="1414091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AE2DAFA-435E-AAF9-8B67-495E5AFDCD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CA0979-F579-4E9B-A675-1F5ABBFF00DB}" type="datetimeFigureOut">
              <a:rPr lang="en-US" dirty="0"/>
              <a:t>5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407A58-3351-E479-1A0C-2FF49FA427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789E10-2433-2ECB-9C92-571B583A4C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485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5" orient="horz" pos="2160">
          <p15:clr>
            <a:srgbClr val="FBAE40"/>
          </p15:clr>
        </p15:guide>
        <p15:guide id="6" pos="3840">
          <p15:clr>
            <a:srgbClr val="FBAE40"/>
          </p15:clr>
        </p15:guide>
      </p15:sldGuideLst>
    </p:ext>
  </p:extLst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7433D9-FD02-59E2-0F81-A0B7201D2D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2DD052-3E45-E789-01F8-33250024ECB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9485D1-E172-8F0A-A425-3097B3ABCF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7156E-175E-4DBA-9D21-B772C320F342}" type="datetimeFigureOut">
              <a:rPr lang="en-US" dirty="0"/>
              <a:t>5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7E6B5E-6174-FD5C-41E8-FFC44C650D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F72154-F85B-E301-DA57-E314D73159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1365484"/>
      </p:ext>
    </p:extLst>
  </p:cSld>
  <p:clrMapOvr>
    <a:masterClrMapping/>
  </p:clrMapOvr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1D06AF-EF87-8489-2C82-DEB90B7EFE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3381" y="553616"/>
            <a:ext cx="8273140" cy="4008859"/>
          </a:xfrm>
        </p:spPr>
        <p:txBody>
          <a:bodyPr anchor="t">
            <a:norm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8E5678-CA38-1318-9EA2-5E0A4F9A59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3380" y="4589463"/>
            <a:ext cx="8273140" cy="1384617"/>
          </a:xfrm>
        </p:spPr>
        <p:txBody>
          <a:bodyPr anchor="b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E99186-7E5A-60AF-DE69-5C7DA71611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895F6E-3D02-4292-95D1-C62B3126321B}" type="datetimeFigureOut">
              <a:rPr lang="en-US" dirty="0"/>
              <a:t>5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2FA13D1-1FBA-E820-323B-77B41F1A66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B39BE85-85F6-4636-C651-D87CC969A4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53619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2" name="Google Shape;992;p9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93" name="Google Shape;993;p9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4" name="Google Shape;994;p9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5" name="Google Shape;995;p9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96" name="Google Shape;996;p9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97" name="Google Shape;997;p9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" name="Google Shape;998;p9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F3BB49-A328-F121-7F27-DEB7C3CC2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48" y="548640"/>
            <a:ext cx="10741152" cy="113225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2E861E-DFBA-B4AA-9356-CDE3D3F57C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2648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1D7538-EC5A-3EE7-176F-A58920C507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97D0B7E-1A60-DA52-6965-92412B1C2F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CB5ACB-D10C-44A8-9570-124370F4CB38}" type="datetimeFigureOut">
              <a:rPr lang="en-US" dirty="0"/>
              <a:t>5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BDD5A2-CE3E-3215-6DAA-F75C0D122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B822F1-284A-1786-FAF2-72129E2FE6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914963"/>
      </p:ext>
    </p:extLst>
  </p:cSld>
  <p:clrMapOvr>
    <a:masterClrMapping/>
  </p:clrMapOvr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FEE969-634D-6E32-D227-18E9282C6F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547396"/>
            <a:ext cx="10745788" cy="114329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CD26D4-290A-F0ED-7D62-41EDA6FEC2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5735"/>
            <a:ext cx="5157787" cy="559834"/>
          </a:xfr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DA52B0-7419-A946-4523-6D34BCAD26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386894"/>
            <a:ext cx="5157787" cy="37650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536620-C4F3-EEC3-DBF1-05196B1CBB5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5735"/>
            <a:ext cx="5183188" cy="559834"/>
          </a:xfr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buNone/>
              <a:defRPr sz="2000" b="1" cap="all" baseline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3BAE980-E611-98B5-04E9-DE4584B0E33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386894"/>
            <a:ext cx="5183189" cy="376508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3B3581-658A-8487-F9CB-E79F2BFF27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8D84F4-0E7A-4BDE-98C6-AE68FB974645}" type="datetimeFigureOut">
              <a:rPr lang="en-US" dirty="0"/>
              <a:t>5/2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49D76D8-9033-26CF-BF4C-AECCC685C1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2A06B8-CC1D-542F-D8EB-7625046B91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6773765"/>
      </p:ext>
    </p:extLst>
  </p:cSld>
  <p:clrMapOvr>
    <a:masterClrMapping/>
  </p:clrMapOvr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6A9F42-7FF7-F803-C075-BC4968D35E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89E8268-7232-2944-F1BD-399F9419B5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EFF1D8-9801-4C4B-92F3-66C9A863BD74}" type="datetimeFigureOut">
              <a:rPr lang="en-US" dirty="0"/>
              <a:t>5/2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968DDD-323F-89A1-84E3-DDBA626D93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FBDC76-671D-1671-DCE2-D5658BD40E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4984706"/>
      </p:ext>
    </p:extLst>
  </p:cSld>
  <p:clrMapOvr>
    <a:masterClrMapping/>
  </p:clrMapOvr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9BC4D82-0182-501C-9231-4676768047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1FE8FD-B23E-4E1A-83EF-0847EBEA0105}" type="datetimeFigureOut">
              <a:rPr lang="en-US" dirty="0"/>
              <a:t>5/2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0EAA6C9-A7F3-19F1-D17C-A1D83FAF55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4EBB816-1B94-116F-92D4-6043AE9E0C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070584"/>
      </p:ext>
    </p:extLst>
  </p:cSld>
  <p:clrMapOvr>
    <a:masterClrMapping/>
  </p:clrMapOvr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50C37F-77BE-E128-4248-D001C39E7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7160" y="553616"/>
            <a:ext cx="3595634" cy="1757505"/>
          </a:xfrm>
        </p:spPr>
        <p:txBody>
          <a:bodyPr anchor="t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F3B20A8-A604-C977-02C0-083BA86634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34708" y="553616"/>
            <a:ext cx="6279741" cy="5486400"/>
          </a:xfrm>
        </p:spPr>
        <p:txBody>
          <a:bodyPr>
            <a:normAutofit/>
          </a:bodyPr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C0EEBFB-2026-6A35-33ED-F008376B67A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97160" y="2311121"/>
            <a:ext cx="3595634" cy="3728895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F05638-7A56-469A-825A-1DFA600254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F891E-A7C2-465C-AD39-8EDCB0F58E3C}" type="datetimeFigureOut">
              <a:rPr lang="en-US" dirty="0"/>
              <a:t>5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85A215-184B-2105-0279-ED02F64458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2C7CA46-892B-253A-3A28-7414E17B83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448221"/>
      </p:ext>
    </p:extLst>
  </p:cSld>
  <p:clrMapOvr>
    <a:masterClrMapping/>
  </p:clrMapOvr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B06A09-98CF-FAC2-3708-AECC4360C6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557784"/>
            <a:ext cx="3595634" cy="2212313"/>
          </a:xfrm>
        </p:spPr>
        <p:txBody>
          <a:bodyPr anchor="t"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571C769-CEC8-962A-01E6-15B0E056791E}"/>
              </a:ext>
            </a:extLst>
          </p:cNvPr>
          <p:cNvSpPr>
            <a:spLocks noGrp="1" noChangeAspect="1"/>
          </p:cNvSpPr>
          <p:nvPr>
            <p:ph type="pic" idx="1"/>
          </p:nvPr>
        </p:nvSpPr>
        <p:spPr>
          <a:xfrm>
            <a:off x="5063319" y="657103"/>
            <a:ext cx="6483687" cy="5555904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2C4A61-EF2A-C5A5-B150-4448600B39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09601" y="2826137"/>
            <a:ext cx="3585586" cy="3434638"/>
          </a:xfrm>
        </p:spPr>
        <p:txBody>
          <a:bodyPr anchor="b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0B235E-39C7-4C78-20EF-DB48ECD9CB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9F93E5-AFB6-485C-8E3C-32F92A07875F}" type="datetimeFigureOut">
              <a:rPr lang="en-US" dirty="0"/>
              <a:t>5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FDC75DA-9A78-9AB9-7171-95A08CC51C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FE1A03-DCCB-53C7-DBFE-2AD55C9059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48118"/>
      </p:ext>
    </p:extLst>
  </p:cSld>
  <p:clrMapOvr>
    <a:masterClrMapping/>
  </p:clrMapOvr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4E956D-CB73-C986-F100-46487310D1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48" y="548640"/>
            <a:ext cx="10515600" cy="113225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E423E6A-A07C-BF0D-EA30-9A8A854E48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12648" y="1680898"/>
            <a:ext cx="10515600" cy="44960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EDC9908-8F95-8DFC-72CC-158552B567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E76D0F-5A12-4D0A-80B0-1A6122B61E7B}" type="datetimeFigureOut">
              <a:rPr lang="en-US" dirty="0"/>
              <a:t>5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26C9BE-9060-50CB-2BB7-07307FF89A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4A835B-97D3-BC22-F0B8-4986D46362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080989"/>
      </p:ext>
    </p:extLst>
  </p:cSld>
  <p:clrMapOvr>
    <a:masterClrMapping/>
  </p:clrMapOvr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85B0252-346C-F6F4-3642-19F571550D4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9634888" y="578497"/>
            <a:ext cx="2047037" cy="559846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98DA36-7351-9D6A-518B-678AB8A507D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578497"/>
            <a:ext cx="8796688" cy="559846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846BDFF-D746-836C-04B8-CA89AD5D14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9E8C84-89CA-44AB-B0BE-5C91BAF75478}" type="datetimeFigureOut">
              <a:rPr lang="en-US" dirty="0"/>
              <a:t>5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19AA929-A9E6-FF9C-0C59-177F892D6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16D893-7E81-90DC-4139-7687B39C3A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057153-B650-4DEB-B370-79DDCFDCE934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015267"/>
      </p:ext>
    </p:extLst>
  </p:cSld>
  <p:clrMapOvr>
    <a:masterClrMapping/>
  </p:clrMapOvr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" name="Google Shape;60;p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" name="Google Shape;62;p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" name="Google Shape;63;p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" name="Google Shape;64;p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5" name="Google Shape;65;p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" name="Google Shape;66;p1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" name="Google Shape;67;p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" name="Google Shape;68;p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" name="Google Shape;70;p1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02418016"/>
      </p:ext>
    </p:extLst>
  </p:cSld>
  <p:clrMapOvr>
    <a:masterClrMapping/>
  </p:clrMapOvr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Google Shape;72;p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" name="Google Shape;73;p1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" name="Google Shape;74;p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5" name="Google Shape;75;p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" name="Google Shape;77;p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" name="Google Shape;79;p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" name="Google Shape;80;p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" name="Google Shape;81;p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1880091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" name="Google Shape;1000;p9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01" name="Google Shape;1001;p9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02" name="Google Shape;1002;p9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03" name="Google Shape;1003;p9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4" name="Google Shape;1004;p9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05" name="Google Shape;1005;p9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06" name="Google Shape;1006;p9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5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9" name="Google Shape;549;p10"/>
          <p:cNvSpPr>
            <a:spLocks noGrp="1"/>
          </p:cNvSpPr>
          <p:nvPr>
            <p:ph type="pic" idx="2"/>
          </p:nvPr>
        </p:nvSpPr>
        <p:spPr>
          <a:xfrm>
            <a:off x="-33" y="-18300"/>
            <a:ext cx="12192000" cy="6876400"/>
          </a:xfrm>
          <a:prstGeom prst="rect">
            <a:avLst/>
          </a:prstGeom>
          <a:noFill/>
          <a:ln>
            <a:noFill/>
          </a:ln>
        </p:spPr>
      </p:sp>
      <p:sp>
        <p:nvSpPr>
          <p:cNvPr id="550" name="Google Shape;550;p10"/>
          <p:cNvSpPr txBox="1">
            <a:spLocks noGrp="1"/>
          </p:cNvSpPr>
          <p:nvPr>
            <p:ph type="title"/>
          </p:nvPr>
        </p:nvSpPr>
        <p:spPr>
          <a:xfrm>
            <a:off x="960000" y="5352600"/>
            <a:ext cx="10272000" cy="763600"/>
          </a:xfrm>
          <a:prstGeom prst="rect">
            <a:avLst/>
          </a:prstGeom>
          <a:solidFill>
            <a:schemeClr val="lt1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 sz="2667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37433496"/>
      </p:ext>
    </p:extLst>
  </p:cSld>
  <p:clrMapOvr>
    <a:masterClrMapping/>
  </p:clrMapOvr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0" name="Google Shape;60;p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" name="Google Shape;61;p2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" name="Google Shape;62;p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" name="Google Shape;63;p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" name="Google Shape;64;p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" name="Google Shape;65;p2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2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" name="Google Shape;67;p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" name="Google Shape;68;p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22756230"/>
      </p:ext>
    </p:extLst>
  </p:cSld>
  <p:clrMapOvr>
    <a:masterClrMapping/>
  </p:clrMapOvr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517227"/>
      </p:ext>
    </p:extLst>
  </p:cSld>
  <p:clrMapOvr>
    <a:masterClrMapping/>
  </p:clrMapOvr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9173361"/>
      </p:ext>
    </p:extLst>
  </p:cSld>
  <p:clrMapOvr>
    <a:masterClrMapping/>
  </p:clrMapOvr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6547587"/>
      </p:ext>
    </p:extLst>
  </p:cSld>
  <p:clrMapOvr>
    <a:masterClrMapping/>
  </p:clrMapOvr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2257661"/>
      </p:ext>
    </p:extLst>
  </p:cSld>
  <p:clrMapOvr>
    <a:masterClrMapping/>
  </p:clrMapOvr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0657948"/>
      </p:ext>
    </p:extLst>
  </p:cSld>
  <p:clrMapOvr>
    <a:masterClrMapping/>
  </p:clrMapOvr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6421379"/>
      </p:ext>
    </p:extLst>
  </p:cSld>
  <p:clrMapOvr>
    <a:masterClrMapping/>
  </p:clrMapOvr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596936"/>
      </p:ext>
    </p:extLst>
  </p:cSld>
  <p:clrMapOvr>
    <a:masterClrMapping/>
  </p:clrMapOvr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7149401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9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9" name="Google Shape;1009;p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0" name="Google Shape;1010;p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1" name="Google Shape;1011;p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2" name="Google Shape;1012;p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3" name="Google Shape;1013;p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4" name="Google Shape;1014;p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5" name="Google Shape;1015;p9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6" name="Google Shape;1016;p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7" name="Google Shape;1017;p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8" name="Google Shape;1018;p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19" name="Google Shape;1019;p9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0714204"/>
      </p:ext>
    </p:extLst>
  </p:cSld>
  <p:clrMapOvr>
    <a:masterClrMapping/>
  </p:clrMapOvr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0474986"/>
      </p:ext>
    </p:extLst>
  </p:cSld>
  <p:clrMapOvr>
    <a:masterClrMapping/>
  </p:clrMapOvr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3143946"/>
      </p:ext>
    </p:extLst>
  </p:cSld>
  <p:clrMapOvr>
    <a:masterClrMapping/>
  </p:clrMapOvr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938462"/>
      </p:ext>
    </p:extLst>
  </p:cSld>
  <p:clrMapOvr>
    <a:masterClrMapping/>
  </p:clrMapOvr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177348"/>
      </p:ext>
    </p:extLst>
  </p:cSld>
  <p:clrMapOvr>
    <a:masterClrMapping/>
  </p:clrMapOvr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139255"/>
      </p:ext>
    </p:extLst>
  </p:cSld>
  <p:clrMapOvr>
    <a:masterClrMapping/>
  </p:clrMapOvr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339082"/>
      </p:ext>
    </p:extLst>
  </p:cSld>
  <p:clrMapOvr>
    <a:masterClrMapping/>
  </p:clrMapOvr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6589362"/>
      </p:ext>
    </p:extLst>
  </p:cSld>
  <p:clrMapOvr>
    <a:masterClrMapping/>
  </p:clrMapOvr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762961"/>
      </p:ext>
    </p:extLst>
  </p:cSld>
  <p:clrMapOvr>
    <a:masterClrMapping/>
  </p:clrMapOvr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11643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9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9" name="Google Shape;1009;p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0" name="Google Shape;1010;p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1" name="Google Shape;1011;p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2" name="Google Shape;1012;p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3" name="Google Shape;1013;p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4" name="Google Shape;1014;p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5" name="Google Shape;1015;p9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6" name="Google Shape;1016;p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7" name="Google Shape;1017;p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8" name="Google Shape;1018;p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19" name="Google Shape;1019;p9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336164"/>
      </p:ext>
    </p:extLst>
  </p:cSld>
  <p:clrMapOvr>
    <a:masterClrMapping/>
  </p:clrMapOvr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0078968"/>
      </p:ext>
    </p:extLst>
  </p:cSld>
  <p:clrMapOvr>
    <a:masterClrMapping/>
  </p:clrMapOvr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318352"/>
      </p:ext>
    </p:extLst>
  </p:cSld>
  <p:clrMapOvr>
    <a:masterClrMapping/>
  </p:clrMapOvr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7295580"/>
      </p:ext>
    </p:extLst>
  </p:cSld>
  <p:clrMapOvr>
    <a:masterClrMapping/>
  </p:clrMapOvr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2800" y="798910"/>
            <a:ext cx="9211733" cy="55125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625600" y="1457325"/>
            <a:ext cx="7586133" cy="65722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171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5143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8572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200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8185440"/>
      </p:ext>
    </p:extLst>
  </p:cSld>
  <p:clrMapOvr>
    <a:masterClrMapping/>
  </p:clrMapOvr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950147"/>
      </p:ext>
    </p:extLst>
  </p:cSld>
  <p:clrMapOvr>
    <a:masterClrMapping/>
  </p:clrMapOvr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6075" y="1652588"/>
            <a:ext cx="9211733" cy="510778"/>
          </a:xfrm>
        </p:spPr>
        <p:txBody>
          <a:bodyPr anchor="t"/>
          <a:lstStyle>
            <a:lvl1pPr algn="l">
              <a:defRPr sz="15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6075" y="1090018"/>
            <a:ext cx="9211733" cy="562570"/>
          </a:xfrm>
        </p:spPr>
        <p:txBody>
          <a:bodyPr anchor="b"/>
          <a:lstStyle>
            <a:lvl1pPr marL="0" indent="0">
              <a:buNone/>
              <a:defRPr sz="750">
                <a:solidFill>
                  <a:schemeClr val="tx1">
                    <a:tint val="75000"/>
                  </a:schemeClr>
                </a:solidFill>
              </a:defRPr>
            </a:lvl1pPr>
            <a:lvl2pPr marL="171450" indent="0">
              <a:buNone/>
              <a:defRPr sz="675">
                <a:solidFill>
                  <a:schemeClr val="tx1">
                    <a:tint val="75000"/>
                  </a:schemeClr>
                </a:solidFill>
              </a:defRPr>
            </a:lvl2pPr>
            <a:lvl3pPr marL="342900" indent="0">
              <a:buNone/>
              <a:defRPr sz="600">
                <a:solidFill>
                  <a:schemeClr val="tx1">
                    <a:tint val="75000"/>
                  </a:schemeClr>
                </a:solidFill>
              </a:defRPr>
            </a:lvl3pPr>
            <a:lvl4pPr marL="514350" indent="0">
              <a:buNone/>
              <a:defRPr sz="525">
                <a:solidFill>
                  <a:schemeClr val="tx1">
                    <a:tint val="75000"/>
                  </a:schemeClr>
                </a:solidFill>
              </a:defRPr>
            </a:lvl4pPr>
            <a:lvl5pPr marL="685800" indent="0">
              <a:buNone/>
              <a:defRPr sz="525">
                <a:solidFill>
                  <a:schemeClr val="tx1">
                    <a:tint val="75000"/>
                  </a:schemeClr>
                </a:solidFill>
              </a:defRPr>
            </a:lvl5pPr>
            <a:lvl6pPr marL="857250" indent="0">
              <a:buNone/>
              <a:defRPr sz="525">
                <a:solidFill>
                  <a:schemeClr val="tx1">
                    <a:tint val="75000"/>
                  </a:schemeClr>
                </a:solidFill>
              </a:defRPr>
            </a:lvl6pPr>
            <a:lvl7pPr marL="1028700" indent="0">
              <a:buNone/>
              <a:defRPr sz="525">
                <a:solidFill>
                  <a:schemeClr val="tx1">
                    <a:tint val="75000"/>
                  </a:schemeClr>
                </a:solidFill>
              </a:defRPr>
            </a:lvl7pPr>
            <a:lvl8pPr marL="1200150" indent="0">
              <a:buNone/>
              <a:defRPr sz="525">
                <a:solidFill>
                  <a:schemeClr val="tx1">
                    <a:tint val="75000"/>
                  </a:schemeClr>
                </a:solidFill>
              </a:defRPr>
            </a:lvl8pPr>
            <a:lvl9pPr marL="1371600" indent="0">
              <a:buNone/>
              <a:defRPr sz="52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797344"/>
      </p:ext>
    </p:extLst>
  </p:cSld>
  <p:clrMapOvr>
    <a:masterClrMapping/>
  </p:clrMapOvr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41867" y="600075"/>
            <a:ext cx="4786489" cy="1697236"/>
          </a:xfrm>
        </p:spPr>
        <p:txBody>
          <a:bodyPr/>
          <a:lstStyle>
            <a:lvl1pPr>
              <a:defRPr sz="1050"/>
            </a:lvl1pPr>
            <a:lvl2pPr>
              <a:defRPr sz="900"/>
            </a:lvl2pPr>
            <a:lvl3pPr>
              <a:defRPr sz="750"/>
            </a:lvl3pPr>
            <a:lvl4pPr>
              <a:defRPr sz="675"/>
            </a:lvl4pPr>
            <a:lvl5pPr>
              <a:defRPr sz="675"/>
            </a:lvl5pPr>
            <a:lvl6pPr>
              <a:defRPr sz="675"/>
            </a:lvl6pPr>
            <a:lvl7pPr>
              <a:defRPr sz="675"/>
            </a:lvl7pPr>
            <a:lvl8pPr>
              <a:defRPr sz="675"/>
            </a:lvl8pPr>
            <a:lvl9pPr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08978" y="600075"/>
            <a:ext cx="4786489" cy="1697236"/>
          </a:xfrm>
        </p:spPr>
        <p:txBody>
          <a:bodyPr/>
          <a:lstStyle>
            <a:lvl1pPr>
              <a:defRPr sz="1050"/>
            </a:lvl1pPr>
            <a:lvl2pPr>
              <a:defRPr sz="900"/>
            </a:lvl2pPr>
            <a:lvl3pPr>
              <a:defRPr sz="750"/>
            </a:lvl3pPr>
            <a:lvl4pPr>
              <a:defRPr sz="675"/>
            </a:lvl4pPr>
            <a:lvl5pPr>
              <a:defRPr sz="675"/>
            </a:lvl5pPr>
            <a:lvl6pPr>
              <a:defRPr sz="675"/>
            </a:lvl6pPr>
            <a:lvl7pPr>
              <a:defRPr sz="675"/>
            </a:lvl7pPr>
            <a:lvl8pPr>
              <a:defRPr sz="675"/>
            </a:lvl8pPr>
            <a:lvl9pPr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4111842"/>
      </p:ext>
    </p:extLst>
  </p:cSld>
  <p:clrMapOvr>
    <a:masterClrMapping/>
  </p:clrMapOvr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867" y="575667"/>
            <a:ext cx="4788371" cy="239911"/>
          </a:xfrm>
        </p:spPr>
        <p:txBody>
          <a:bodyPr anchor="b"/>
          <a:lstStyle>
            <a:lvl1pPr marL="0" indent="0">
              <a:buNone/>
              <a:defRPr sz="900" b="1"/>
            </a:lvl1pPr>
            <a:lvl2pPr marL="171450" indent="0">
              <a:buNone/>
              <a:defRPr sz="750" b="1"/>
            </a:lvl2pPr>
            <a:lvl3pPr marL="342900" indent="0">
              <a:buNone/>
              <a:defRPr sz="675" b="1"/>
            </a:lvl3pPr>
            <a:lvl4pPr marL="514350" indent="0">
              <a:buNone/>
              <a:defRPr sz="600" b="1"/>
            </a:lvl4pPr>
            <a:lvl5pPr marL="685800" indent="0">
              <a:buNone/>
              <a:defRPr sz="600" b="1"/>
            </a:lvl5pPr>
            <a:lvl6pPr marL="857250" indent="0">
              <a:buNone/>
              <a:defRPr sz="600" b="1"/>
            </a:lvl6pPr>
            <a:lvl7pPr marL="1028700" indent="0">
              <a:buNone/>
              <a:defRPr sz="600" b="1"/>
            </a:lvl7pPr>
            <a:lvl8pPr marL="1200150" indent="0">
              <a:buNone/>
              <a:defRPr sz="600" b="1"/>
            </a:lvl8pPr>
            <a:lvl9pPr marL="1371600" indent="0">
              <a:buNone/>
              <a:defRPr sz="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867" y="815578"/>
            <a:ext cx="4788371" cy="1481733"/>
          </a:xfrm>
        </p:spPr>
        <p:txBody>
          <a:bodyPr/>
          <a:lstStyle>
            <a:lvl1pPr>
              <a:defRPr sz="900"/>
            </a:lvl1pPr>
            <a:lvl2pPr>
              <a:defRPr sz="750"/>
            </a:lvl2pPr>
            <a:lvl3pPr>
              <a:defRPr sz="675"/>
            </a:lvl3pPr>
            <a:lvl4pPr>
              <a:defRPr sz="600"/>
            </a:lvl4pPr>
            <a:lvl5pPr>
              <a:defRPr sz="600"/>
            </a:lvl5pPr>
            <a:lvl6pPr>
              <a:defRPr sz="600"/>
            </a:lvl6pPr>
            <a:lvl7pPr>
              <a:defRPr sz="600"/>
            </a:lvl7pPr>
            <a:lvl8pPr>
              <a:defRPr sz="600"/>
            </a:lvl8pPr>
            <a:lvl9pPr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505215" y="575667"/>
            <a:ext cx="4790252" cy="239911"/>
          </a:xfrm>
        </p:spPr>
        <p:txBody>
          <a:bodyPr anchor="b"/>
          <a:lstStyle>
            <a:lvl1pPr marL="0" indent="0">
              <a:buNone/>
              <a:defRPr sz="900" b="1"/>
            </a:lvl1pPr>
            <a:lvl2pPr marL="171450" indent="0">
              <a:buNone/>
              <a:defRPr sz="750" b="1"/>
            </a:lvl2pPr>
            <a:lvl3pPr marL="342900" indent="0">
              <a:buNone/>
              <a:defRPr sz="675" b="1"/>
            </a:lvl3pPr>
            <a:lvl4pPr marL="514350" indent="0">
              <a:buNone/>
              <a:defRPr sz="600" b="1"/>
            </a:lvl4pPr>
            <a:lvl5pPr marL="685800" indent="0">
              <a:buNone/>
              <a:defRPr sz="600" b="1"/>
            </a:lvl5pPr>
            <a:lvl6pPr marL="857250" indent="0">
              <a:buNone/>
              <a:defRPr sz="600" b="1"/>
            </a:lvl6pPr>
            <a:lvl7pPr marL="1028700" indent="0">
              <a:buNone/>
              <a:defRPr sz="600" b="1"/>
            </a:lvl7pPr>
            <a:lvl8pPr marL="1200150" indent="0">
              <a:buNone/>
              <a:defRPr sz="600" b="1"/>
            </a:lvl8pPr>
            <a:lvl9pPr marL="1371600" indent="0">
              <a:buNone/>
              <a:defRPr sz="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505215" y="815578"/>
            <a:ext cx="4790252" cy="1481733"/>
          </a:xfrm>
        </p:spPr>
        <p:txBody>
          <a:bodyPr/>
          <a:lstStyle>
            <a:lvl1pPr>
              <a:defRPr sz="900"/>
            </a:lvl1pPr>
            <a:lvl2pPr>
              <a:defRPr sz="750"/>
            </a:lvl2pPr>
            <a:lvl3pPr>
              <a:defRPr sz="675"/>
            </a:lvl3pPr>
            <a:lvl4pPr>
              <a:defRPr sz="600"/>
            </a:lvl4pPr>
            <a:lvl5pPr>
              <a:defRPr sz="600"/>
            </a:lvl5pPr>
            <a:lvl6pPr>
              <a:defRPr sz="600"/>
            </a:lvl6pPr>
            <a:lvl7pPr>
              <a:defRPr sz="600"/>
            </a:lvl7pPr>
            <a:lvl8pPr>
              <a:defRPr sz="600"/>
            </a:lvl8pPr>
            <a:lvl9pPr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832447"/>
      </p:ext>
    </p:extLst>
  </p:cSld>
  <p:clrMapOvr>
    <a:masterClrMapping/>
  </p:clrMapOvr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06415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0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1" name="Google Shape;1021;p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2" name="Google Shape;1022;p9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3" name="Google Shape;1023;p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4" name="Google Shape;1024;p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5" name="Google Shape;1025;p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6" name="Google Shape;1026;p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7" name="Google Shape;1027;p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" name="Google Shape;1028;p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9" name="Google Shape;1029;p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" name="Google Shape;1030;p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198501"/>
      </p:ext>
    </p:extLst>
  </p:cSld>
  <p:clrMapOvr>
    <a:masterClrMapping/>
  </p:clrMapOvr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41867" y="102394"/>
            <a:ext cx="3565408" cy="435769"/>
          </a:xfrm>
        </p:spPr>
        <p:txBody>
          <a:bodyPr anchor="b"/>
          <a:lstStyle>
            <a:lvl1pPr algn="l">
              <a:defRPr sz="75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37096" y="102394"/>
            <a:ext cx="6058370" cy="2194917"/>
          </a:xfrm>
        </p:spPr>
        <p:txBody>
          <a:bodyPr/>
          <a:lstStyle>
            <a:lvl1pPr>
              <a:defRPr sz="1200"/>
            </a:lvl1pPr>
            <a:lvl2pPr>
              <a:defRPr sz="1050"/>
            </a:lvl2pPr>
            <a:lvl3pPr>
              <a:defRPr sz="900"/>
            </a:lvl3pPr>
            <a:lvl4pPr>
              <a:defRPr sz="750"/>
            </a:lvl4pPr>
            <a:lvl5pPr>
              <a:defRPr sz="750"/>
            </a:lvl5pPr>
            <a:lvl6pPr>
              <a:defRPr sz="750"/>
            </a:lvl6pPr>
            <a:lvl7pPr>
              <a:defRPr sz="750"/>
            </a:lvl7pPr>
            <a:lvl8pPr>
              <a:defRPr sz="750"/>
            </a:lvl8pPr>
            <a:lvl9pPr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41867" y="538163"/>
            <a:ext cx="3565408" cy="1759149"/>
          </a:xfrm>
        </p:spPr>
        <p:txBody>
          <a:bodyPr/>
          <a:lstStyle>
            <a:lvl1pPr marL="0" indent="0">
              <a:buNone/>
              <a:defRPr sz="525"/>
            </a:lvl1pPr>
            <a:lvl2pPr marL="171450" indent="0">
              <a:buNone/>
              <a:defRPr sz="450"/>
            </a:lvl2pPr>
            <a:lvl3pPr marL="342900" indent="0">
              <a:buNone/>
              <a:defRPr sz="375"/>
            </a:lvl3pPr>
            <a:lvl4pPr marL="514350" indent="0">
              <a:buNone/>
              <a:defRPr sz="338"/>
            </a:lvl4pPr>
            <a:lvl5pPr marL="685800" indent="0">
              <a:buNone/>
              <a:defRPr sz="338"/>
            </a:lvl5pPr>
            <a:lvl6pPr marL="857250" indent="0">
              <a:buNone/>
              <a:defRPr sz="338"/>
            </a:lvl6pPr>
            <a:lvl7pPr marL="1028700" indent="0">
              <a:buNone/>
              <a:defRPr sz="338"/>
            </a:lvl7pPr>
            <a:lvl8pPr marL="1200150" indent="0">
              <a:buNone/>
              <a:defRPr sz="338"/>
            </a:lvl8pPr>
            <a:lvl9pPr marL="1371600" indent="0">
              <a:buNone/>
              <a:defRPr sz="33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2845536"/>
      </p:ext>
    </p:extLst>
  </p:cSld>
  <p:clrMapOvr>
    <a:masterClrMapping/>
  </p:clrMapOvr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24193" y="1800225"/>
            <a:ext cx="6502400" cy="212527"/>
          </a:xfrm>
        </p:spPr>
        <p:txBody>
          <a:bodyPr anchor="b"/>
          <a:lstStyle>
            <a:lvl1pPr algn="l">
              <a:defRPr sz="75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124193" y="229791"/>
            <a:ext cx="6502400" cy="1543050"/>
          </a:xfrm>
        </p:spPr>
        <p:txBody>
          <a:bodyPr/>
          <a:lstStyle>
            <a:lvl1pPr marL="0" indent="0">
              <a:buNone/>
              <a:defRPr sz="1200"/>
            </a:lvl1pPr>
            <a:lvl2pPr marL="171450" indent="0">
              <a:buNone/>
              <a:defRPr sz="1050"/>
            </a:lvl2pPr>
            <a:lvl3pPr marL="342900" indent="0">
              <a:buNone/>
              <a:defRPr sz="900"/>
            </a:lvl3pPr>
            <a:lvl4pPr marL="514350" indent="0">
              <a:buNone/>
              <a:defRPr sz="750"/>
            </a:lvl4pPr>
            <a:lvl5pPr marL="685800" indent="0">
              <a:buNone/>
              <a:defRPr sz="750"/>
            </a:lvl5pPr>
            <a:lvl6pPr marL="857250" indent="0">
              <a:buNone/>
              <a:defRPr sz="750"/>
            </a:lvl6pPr>
            <a:lvl7pPr marL="1028700" indent="0">
              <a:buNone/>
              <a:defRPr sz="750"/>
            </a:lvl7pPr>
            <a:lvl8pPr marL="1200150" indent="0">
              <a:buNone/>
              <a:defRPr sz="750"/>
            </a:lvl8pPr>
            <a:lvl9pPr marL="1371600" indent="0">
              <a:buNone/>
              <a:defRPr sz="75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124193" y="2012752"/>
            <a:ext cx="6502400" cy="301823"/>
          </a:xfrm>
        </p:spPr>
        <p:txBody>
          <a:bodyPr/>
          <a:lstStyle>
            <a:lvl1pPr marL="0" indent="0">
              <a:buNone/>
              <a:defRPr sz="525"/>
            </a:lvl1pPr>
            <a:lvl2pPr marL="171450" indent="0">
              <a:buNone/>
              <a:defRPr sz="450"/>
            </a:lvl2pPr>
            <a:lvl3pPr marL="342900" indent="0">
              <a:buNone/>
              <a:defRPr sz="375"/>
            </a:lvl3pPr>
            <a:lvl4pPr marL="514350" indent="0">
              <a:buNone/>
              <a:defRPr sz="338"/>
            </a:lvl4pPr>
            <a:lvl5pPr marL="685800" indent="0">
              <a:buNone/>
              <a:defRPr sz="338"/>
            </a:lvl5pPr>
            <a:lvl6pPr marL="857250" indent="0">
              <a:buNone/>
              <a:defRPr sz="338"/>
            </a:lvl6pPr>
            <a:lvl7pPr marL="1028700" indent="0">
              <a:buNone/>
              <a:defRPr sz="338"/>
            </a:lvl7pPr>
            <a:lvl8pPr marL="1200150" indent="0">
              <a:buNone/>
              <a:defRPr sz="338"/>
            </a:lvl8pPr>
            <a:lvl9pPr marL="1371600" indent="0">
              <a:buNone/>
              <a:defRPr sz="338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6708221"/>
      </p:ext>
    </p:extLst>
  </p:cSld>
  <p:clrMapOvr>
    <a:masterClrMapping/>
  </p:clrMapOvr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5146302"/>
      </p:ext>
    </p:extLst>
  </p:cSld>
  <p:clrMapOvr>
    <a:masterClrMapping/>
  </p:clrMapOvr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57067" y="102989"/>
            <a:ext cx="2438400" cy="2194322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41867" y="102989"/>
            <a:ext cx="7134578" cy="2194322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587756"/>
      </p:ext>
    </p:extLst>
  </p:cSld>
  <p:clrMapOvr>
    <a:masterClrMapping/>
  </p:clrMapOvr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65975692"/>
      </p:ext>
    </p:extLst>
  </p:cSld>
  <p:clrMapOvr>
    <a:masterClrMapping/>
  </p:clrMapOvr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7477768"/>
      </p:ext>
    </p:extLst>
  </p:cSld>
  <p:clrMapOvr>
    <a:masterClrMapping/>
  </p:clrMapOvr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6346884"/>
      </p:ext>
    </p:extLst>
  </p:cSld>
  <p:clrMapOvr>
    <a:masterClrMapping/>
  </p:clrMapOvr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700550"/>
      </p:ext>
    </p:extLst>
  </p:cSld>
  <p:clrMapOvr>
    <a:masterClrMapping/>
  </p:clrMapOvr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11329187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Google Shape;1032;p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3" name="Google Shape;1033;p9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34" name="Google Shape;1034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5" name="Google Shape;1035;p9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6" name="Google Shape;1036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7" name="Google Shape;1037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8" name="Google Shape;1038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9" name="Google Shape;1039;p9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" name="Google Shape;1040;p9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1" name="Google Shape;1041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2" name="Google Shape;1042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32213487"/>
      </p:ext>
    </p:extLst>
  </p:cSld>
  <p:clrMapOvr>
    <a:masterClrMapping/>
  </p:clrMapOvr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134210"/>
      </p:ext>
    </p:extLst>
  </p:cSld>
  <p:clrMapOvr>
    <a:masterClrMapping/>
  </p:clrMapOvr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39510699"/>
      </p:ext>
    </p:extLst>
  </p:cSld>
  <p:clrMapOvr>
    <a:masterClrMapping/>
  </p:clrMapOvr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2225962"/>
      </p:ext>
    </p:extLst>
  </p:cSld>
  <p:clrMapOvr>
    <a:masterClrMapping/>
  </p:clrMapOvr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75133903"/>
      </p:ext>
    </p:extLst>
  </p:cSld>
  <p:clrMapOvr>
    <a:masterClrMapping/>
  </p:clrMapOvr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970866"/>
      </p:ext>
    </p:extLst>
  </p:cSld>
  <p:clrMapOvr>
    <a:masterClrMapping/>
  </p:clrMapOvr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582106"/>
      </p:ext>
    </p:extLst>
  </p:cSld>
  <p:clrMapOvr>
    <a:masterClrMapping/>
  </p:clrMapOvr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57731671"/>
      </p:ext>
    </p:extLst>
  </p:cSld>
  <p:clrMapOvr>
    <a:masterClrMapping/>
  </p:clrMapOvr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021758"/>
      </p:ext>
    </p:extLst>
  </p:cSld>
  <p:clrMapOvr>
    <a:masterClrMapping/>
  </p:clrMapOvr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721996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1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4" name="Google Shape;1044;p1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5" name="Google Shape;1045;p10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6" name="Google Shape;1046;p1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7" name="Google Shape;1047;p1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8" name="Google Shape;1048;p1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9" name="Google Shape;1049;p1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0" name="Google Shape;1050;p10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1" name="Google Shape;1051;p10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2" name="Google Shape;1052;p10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3" name="Google Shape;1053;p10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4" name="Google Shape;1054;p1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5" name="Google Shape;1055;p1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6" name="Google Shape;1056;p1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56160078"/>
      </p:ext>
    </p:extLst>
  </p:cSld>
  <p:clrMapOvr>
    <a:masterClrMapping/>
  </p:clrMapOvr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59424671"/>
      </p:ext>
    </p:extLst>
  </p:cSld>
  <p:clrMapOvr>
    <a:masterClrMapping/>
  </p:clrMapOvr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185318"/>
      </p:ext>
    </p:extLst>
  </p:cSld>
  <p:clrMapOvr>
    <a:masterClrMapping/>
  </p:clrMapOvr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0909139"/>
      </p:ext>
    </p:extLst>
  </p:cSld>
  <p:clrMapOvr>
    <a:masterClrMapping/>
  </p:clrMapOvr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8928546"/>
      </p:ext>
    </p:extLst>
  </p:cSld>
  <p:clrMapOvr>
    <a:masterClrMapping/>
  </p:clrMapOvr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04361594"/>
      </p:ext>
    </p:extLst>
  </p:cSld>
  <p:clrMapOvr>
    <a:masterClrMapping/>
  </p:clrMapOvr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49908920"/>
      </p:ext>
    </p:extLst>
  </p:cSld>
  <p:clrMapOvr>
    <a:masterClrMapping/>
  </p:clrMapOvr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41205346"/>
      </p:ext>
    </p:extLst>
  </p:cSld>
  <p:clrMapOvr>
    <a:masterClrMapping/>
  </p:clrMapOvr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29305448"/>
      </p:ext>
    </p:extLst>
  </p:cSld>
  <p:clrMapOvr>
    <a:masterClrMapping/>
  </p:clrMapOvr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30770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1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8" name="Google Shape;1058;p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9" name="Google Shape;1059;p10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0" name="Google Shape;1060;p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1" name="Google Shape;1061;p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2" name="Google Shape;1062;p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3" name="Google Shape;1063;p1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4" name="Google Shape;1064;p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5" name="Google Shape;1065;p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6" name="Google Shape;1066;p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35051551"/>
      </p:ext>
    </p:extLst>
  </p:cSld>
  <p:clrMapOvr>
    <a:masterClrMapping/>
  </p:clrMapOvr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20580663"/>
      </p:ext>
    </p:extLst>
  </p:cSld>
  <p:clrMapOvr>
    <a:masterClrMapping/>
  </p:clrMapOvr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8138650"/>
      </p:ext>
    </p:extLst>
  </p:cSld>
  <p:clrMapOvr>
    <a:masterClrMapping/>
  </p:clrMapOvr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09342283"/>
      </p:ext>
    </p:extLst>
  </p:cSld>
  <p:clrMapOvr>
    <a:masterClrMapping/>
  </p:clrMapOvr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711863"/>
      </p:ext>
    </p:extLst>
  </p:cSld>
  <p:clrMapOvr>
    <a:masterClrMapping/>
  </p:clrMapOvr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580741"/>
      </p:ext>
    </p:extLst>
  </p:cSld>
  <p:clrMapOvr>
    <a:masterClrMapping/>
  </p:clrMapOvr>
</p:sldLayout>
</file>

<file path=ppt/slideLayouts/slideLayout13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7105702"/>
      </p:ext>
    </p:extLst>
  </p:cSld>
  <p:clrMapOvr>
    <a:masterClrMapping/>
  </p:clrMapOvr>
</p:sldLayout>
</file>

<file path=ppt/slideLayouts/slideLayout13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88399931"/>
      </p:ext>
    </p:extLst>
  </p:cSld>
  <p:clrMapOvr>
    <a:masterClrMapping/>
  </p:clrMapOvr>
</p:sldLayout>
</file>

<file path=ppt/slideLayouts/slideLayout13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04821859"/>
      </p:ext>
    </p:extLst>
  </p:cSld>
  <p:clrMapOvr>
    <a:masterClrMapping/>
  </p:clrMapOvr>
</p:sldLayout>
</file>

<file path=ppt/slideLayouts/slideLayout13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214011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10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69" name="Google Shape;1069;p10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0" name="Google Shape;1070;p10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71" name="Google Shape;1071;p10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2" name="Google Shape;1072;p10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" name="Google Shape;1073;p10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74" name="Google Shape;1074;p10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75" name="Google Shape;1075;p10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596090"/>
      </p:ext>
    </p:extLst>
  </p:cSld>
  <p:clrMapOvr>
    <a:masterClrMapping/>
  </p:clrMapOvr>
</p:sldLayout>
</file>

<file path=ppt/slideLayouts/slideLayout13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41593976"/>
      </p:ext>
    </p:extLst>
  </p:cSld>
  <p:clrMapOvr>
    <a:masterClrMapping/>
  </p:clrMapOvr>
</p:sldLayout>
</file>

<file path=ppt/slideLayouts/slideLayout13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5245216"/>
      </p:ext>
    </p:extLst>
  </p:cSld>
  <p:clrMapOvr>
    <a:masterClrMapping/>
  </p:clrMapOvr>
</p:sldLayout>
</file>

<file path=ppt/slideLayouts/slideLayout13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5642239"/>
      </p:ext>
    </p:extLst>
  </p:cSld>
  <p:clrMapOvr>
    <a:masterClrMapping/>
  </p:clrMapOvr>
</p:sldLayout>
</file>

<file path=ppt/slideLayouts/slideLayout13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6337185"/>
      </p:ext>
    </p:extLst>
  </p:cSld>
  <p:clrMapOvr>
    <a:masterClrMapping/>
  </p:clrMapOvr>
</p:sldLayout>
</file>

<file path=ppt/slideLayouts/slideLayout13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70272354"/>
      </p:ext>
    </p:extLst>
  </p:cSld>
  <p:clrMapOvr>
    <a:masterClrMapping/>
  </p:clrMapOvr>
</p:sldLayout>
</file>

<file path=ppt/slideLayouts/slideLayout13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84183356"/>
      </p:ext>
    </p:extLst>
  </p:cSld>
  <p:clrMapOvr>
    <a:masterClrMapping/>
  </p:clrMapOvr>
</p:sldLayout>
</file>

<file path=ppt/slideLayouts/slideLayout13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74113655"/>
      </p:ext>
    </p:extLst>
  </p:cSld>
  <p:clrMapOvr>
    <a:masterClrMapping/>
  </p:clrMapOvr>
</p:sldLayout>
</file>

<file path=ppt/slideLayouts/slideLayout1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789931"/>
      </p:ext>
    </p:extLst>
  </p:cSld>
  <p:clrMapOvr>
    <a:masterClrMapping/>
  </p:clrMapOvr>
</p:sldLayout>
</file>

<file path=ppt/slideLayouts/slideLayout13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68651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" name="Google Shape;128;p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" name="Google Shape;129;p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" name="Google Shape;130;p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" name="Google Shape;131;p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3" name="Google Shape;133;p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" name="Google Shape;136;p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" name="Google Shape;137;p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1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7" name="Google Shape;1077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8" name="Google Shape;1078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9" name="Google Shape;1079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0" name="Google Shape;1080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1" name="Google Shape;1081;p10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" name="Google Shape;1082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" name="Google Shape;1083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4" name="Google Shape;1084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49349818"/>
      </p:ext>
    </p:extLst>
  </p:cSld>
  <p:clrMapOvr>
    <a:masterClrMapping/>
  </p:clrMapOvr>
</p:sldLayout>
</file>

<file path=ppt/slideLayouts/slideLayout1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97133047"/>
      </p:ext>
    </p:extLst>
  </p:cSld>
  <p:clrMapOvr>
    <a:masterClrMapping/>
  </p:clrMapOvr>
</p:sldLayout>
</file>

<file path=ppt/slideLayouts/slideLayout1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6684062"/>
      </p:ext>
    </p:extLst>
  </p:cSld>
  <p:clrMapOvr>
    <a:masterClrMapping/>
  </p:clrMapOvr>
</p:sldLayout>
</file>

<file path=ppt/slideLayouts/slideLayout14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52253676"/>
      </p:ext>
    </p:extLst>
  </p:cSld>
  <p:clrMapOvr>
    <a:masterClrMapping/>
  </p:clrMapOvr>
</p:sldLayout>
</file>

<file path=ppt/slideLayouts/slideLayout1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8554574"/>
      </p:ext>
    </p:extLst>
  </p:cSld>
  <p:clrMapOvr>
    <a:masterClrMapping/>
  </p:clrMapOvr>
</p:sldLayout>
</file>

<file path=ppt/slideLayouts/slideLayout1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54432080"/>
      </p:ext>
    </p:extLst>
  </p:cSld>
  <p:clrMapOvr>
    <a:masterClrMapping/>
  </p:clrMapOvr>
</p:sldLayout>
</file>

<file path=ppt/slideLayouts/slideLayout1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1458442"/>
      </p:ext>
    </p:extLst>
  </p:cSld>
  <p:clrMapOvr>
    <a:masterClrMapping/>
  </p:clrMapOvr>
</p:sldLayout>
</file>

<file path=ppt/slideLayouts/slideLayout14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766263"/>
      </p:ext>
    </p:extLst>
  </p:cSld>
  <p:clrMapOvr>
    <a:masterClrMapping/>
  </p:clrMapOvr>
</p:sldLayout>
</file>

<file path=ppt/slideLayouts/slideLayout14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754956"/>
      </p:ext>
    </p:extLst>
  </p:cSld>
  <p:clrMapOvr>
    <a:masterClrMapping/>
  </p:clrMapOvr>
</p:sldLayout>
</file>

<file path=ppt/slideLayouts/slideLayout14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25710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1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" name="Google Shape;1086;p10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7" name="Google Shape;1087;p10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" name="Google Shape;1088;p10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89" name="Google Shape;1089;p1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0" name="Google Shape;1090;p10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1" name="Google Shape;1091;p1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2" name="Google Shape;1092;p10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3" name="Google Shape;1093;p10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4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8216532"/>
      </p:ext>
    </p:extLst>
  </p:cSld>
  <p:clrMapOvr>
    <a:masterClrMapping/>
  </p:clrMapOvr>
</p:sldLayout>
</file>

<file path=ppt/slideLayouts/slideLayout14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16324971"/>
      </p:ext>
    </p:extLst>
  </p:cSld>
  <p:clrMapOvr>
    <a:masterClrMapping/>
  </p:clrMapOvr>
</p:sldLayout>
</file>

<file path=ppt/slideLayouts/slideLayout14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1302606"/>
      </p:ext>
    </p:extLst>
  </p:cSld>
  <p:clrMapOvr>
    <a:masterClrMapping/>
  </p:clrMapOvr>
</p:sldLayout>
</file>

<file path=ppt/slideLayouts/slideLayout1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0523162"/>
      </p:ext>
    </p:extLst>
  </p:cSld>
  <p:clrMapOvr>
    <a:masterClrMapping/>
  </p:clrMapOvr>
</p:sldLayout>
</file>

<file path=ppt/slideLayouts/slideLayout14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33462888"/>
      </p:ext>
    </p:extLst>
  </p:cSld>
  <p:clrMapOvr>
    <a:masterClrMapping/>
  </p:clrMapOvr>
</p:sldLayout>
</file>

<file path=ppt/slideLayouts/slideLayout1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1753041"/>
      </p:ext>
    </p:extLst>
  </p:cSld>
  <p:clrMapOvr>
    <a:masterClrMapping/>
  </p:clrMapOvr>
</p:sldLayout>
</file>

<file path=ppt/slideLayouts/slideLayout1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31160665"/>
      </p:ext>
    </p:extLst>
  </p:cSld>
  <p:clrMapOvr>
    <a:masterClrMapping/>
  </p:clrMapOvr>
</p:sldLayout>
</file>

<file path=ppt/slideLayouts/slideLayout14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569408"/>
      </p:ext>
    </p:extLst>
  </p:cSld>
  <p:clrMapOvr>
    <a:masterClrMapping/>
  </p:clrMapOvr>
</p:sldLayout>
</file>

<file path=ppt/slideLayouts/slideLayout14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12922542"/>
      </p:ext>
    </p:extLst>
  </p:cSld>
  <p:clrMapOvr>
    <a:masterClrMapping/>
  </p:clrMapOvr>
</p:sldLayout>
</file>

<file path=ppt/slideLayouts/slideLayout14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4511123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1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5" name="Google Shape;1095;p10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96" name="Google Shape;1096;p10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7" name="Google Shape;1097;p10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8" name="Google Shape;1098;p10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9" name="Google Shape;1099;p10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0" name="Google Shape;1100;p10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1" name="Google Shape;1101;p10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01116259"/>
      </p:ext>
    </p:extLst>
  </p:cSld>
  <p:clrMapOvr>
    <a:masterClrMapping/>
  </p:clrMapOvr>
</p:sldLayout>
</file>

<file path=ppt/slideLayouts/slideLayout1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333461"/>
      </p:ext>
    </p:extLst>
  </p:cSld>
  <p:clrMapOvr>
    <a:masterClrMapping/>
  </p:clrMapOvr>
</p:sldLayout>
</file>

<file path=ppt/slideLayouts/slideLayout1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763066"/>
      </p:ext>
    </p:extLst>
  </p:cSld>
  <p:clrMapOvr>
    <a:masterClrMapping/>
  </p:clrMapOvr>
</p:sldLayout>
</file>

<file path=ppt/slideLayouts/slideLayout14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72799919"/>
      </p:ext>
    </p:extLst>
  </p:cSld>
  <p:clrMapOvr>
    <a:masterClrMapping/>
  </p:clrMapOvr>
</p:sldLayout>
</file>

<file path=ppt/slideLayouts/slideLayout14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25278284"/>
      </p:ext>
    </p:extLst>
  </p:cSld>
  <p:clrMapOvr>
    <a:masterClrMapping/>
  </p:clrMapOvr>
</p:sldLayout>
</file>

<file path=ppt/slideLayouts/slideLayout1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3782706"/>
      </p:ext>
    </p:extLst>
  </p:cSld>
  <p:clrMapOvr>
    <a:masterClrMapping/>
  </p:clrMapOvr>
</p:sldLayout>
</file>

<file path=ppt/slideLayouts/slideLayout1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61750086"/>
      </p:ext>
    </p:extLst>
  </p:cSld>
  <p:clrMapOvr>
    <a:masterClrMapping/>
  </p:clrMapOvr>
</p:sldLayout>
</file>

<file path=ppt/slideLayouts/slideLayout14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54813"/>
      </p:ext>
    </p:extLst>
  </p:cSld>
  <p:clrMapOvr>
    <a:masterClrMapping/>
  </p:clrMapOvr>
</p:sldLayout>
</file>

<file path=ppt/slideLayouts/slideLayout14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47654637"/>
      </p:ext>
    </p:extLst>
  </p:cSld>
  <p:clrMapOvr>
    <a:masterClrMapping/>
  </p:clrMapOvr>
</p:sldLayout>
</file>

<file path=ppt/slideLayouts/slideLayout14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473628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" name="Google Shape;1103;p10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4" name="Google Shape;1104;p10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5" name="Google Shape;1105;p10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6" name="Google Shape;1106;p10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0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8" name="Google Shape;1108;p10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09" name="Google Shape;1109;p10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8698423"/>
      </p:ext>
    </p:extLst>
  </p:cSld>
  <p:clrMapOvr>
    <a:masterClrMapping/>
  </p:clrMapOvr>
</p:sldLayout>
</file>

<file path=ppt/slideLayouts/slideLayout1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7255077"/>
      </p:ext>
    </p:extLst>
  </p:cSld>
  <p:clrMapOvr>
    <a:masterClrMapping/>
  </p:clrMapOvr>
</p:sldLayout>
</file>

<file path=ppt/slideLayouts/slideLayout14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844113"/>
      </p:ext>
    </p:extLst>
  </p:cSld>
  <p:clrMapOvr>
    <a:masterClrMapping/>
  </p:clrMapOvr>
</p:sldLayout>
</file>

<file path=ppt/slideLayouts/slideLayout1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3125845"/>
      </p:ext>
    </p:extLst>
  </p:cSld>
  <p:clrMapOvr>
    <a:masterClrMapping/>
  </p:clrMapOvr>
</p:sldLayout>
</file>

<file path=ppt/slideLayouts/slideLayout14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29949523"/>
      </p:ext>
    </p:extLst>
  </p:cSld>
  <p:clrMapOvr>
    <a:masterClrMapping/>
  </p:clrMapOvr>
</p:sldLayout>
</file>

<file path=ppt/slideLayouts/slideLayout14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28413730"/>
      </p:ext>
    </p:extLst>
  </p:cSld>
  <p:clrMapOvr>
    <a:masterClrMapping/>
  </p:clrMapOvr>
</p:sldLayout>
</file>

<file path=ppt/slideLayouts/slideLayout1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353164"/>
      </p:ext>
    </p:extLst>
  </p:cSld>
  <p:clrMapOvr>
    <a:masterClrMapping/>
  </p:clrMapOvr>
</p:sldLayout>
</file>

<file path=ppt/slideLayouts/slideLayout14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064463"/>
      </p:ext>
    </p:extLst>
  </p:cSld>
  <p:clrMapOvr>
    <a:masterClrMapping/>
  </p:clrMapOvr>
</p:sldLayout>
</file>

<file path=ppt/slideLayouts/slideLayout14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41563551"/>
      </p:ext>
    </p:extLst>
  </p:cSld>
  <p:clrMapOvr>
    <a:masterClrMapping/>
  </p:clrMapOvr>
</p:sldLayout>
</file>

<file path=ppt/slideLayouts/slideLayout14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1779852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1" name="Google Shape;1111;p1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2" name="Google Shape;1112;p1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3" name="Google Shape;1113;p1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4" name="Google Shape;1114;p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5" name="Google Shape;1115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6" name="Google Shape;1116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7" name="Google Shape;1117;p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8" name="Google Shape;1118;p10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9" name="Google Shape;1119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0" name="Google Shape;1120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1" name="Google Shape;1121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22" name="Google Shape;1122;p10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54637581"/>
      </p:ext>
    </p:extLst>
  </p:cSld>
  <p:clrMapOvr>
    <a:masterClrMapping/>
  </p:clrMapOvr>
</p:sldLayout>
</file>

<file path=ppt/slideLayouts/slideLayout14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62751009"/>
      </p:ext>
    </p:extLst>
  </p:cSld>
  <p:clrMapOvr>
    <a:masterClrMapping/>
  </p:clrMapOvr>
</p:sldLayout>
</file>

<file path=ppt/slideLayouts/slideLayout1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5019620"/>
      </p:ext>
    </p:extLst>
  </p:cSld>
  <p:clrMapOvr>
    <a:masterClrMapping/>
  </p:clrMapOvr>
</p:sldLayout>
</file>

<file path=ppt/slideLayouts/slideLayout14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31500671"/>
      </p:ext>
    </p:extLst>
  </p:cSld>
  <p:clrMapOvr>
    <a:masterClrMapping/>
  </p:clrMapOvr>
</p:sldLayout>
</file>

<file path=ppt/slideLayouts/slideLayout14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0376706"/>
      </p:ext>
    </p:extLst>
  </p:cSld>
  <p:clrMapOvr>
    <a:masterClrMapping/>
  </p:clrMapOvr>
</p:sldLayout>
</file>

<file path=ppt/slideLayouts/slideLayout1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16258294"/>
      </p:ext>
    </p:extLst>
  </p:cSld>
  <p:clrMapOvr>
    <a:masterClrMapping/>
  </p:clrMapOvr>
</p:sldLayout>
</file>

<file path=ppt/slideLayouts/slideLayout1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0308662"/>
      </p:ext>
    </p:extLst>
  </p:cSld>
  <p:clrMapOvr>
    <a:masterClrMapping/>
  </p:clrMapOvr>
</p:sldLayout>
</file>

<file path=ppt/slideLayouts/slideLayout1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814046"/>
      </p:ext>
    </p:extLst>
  </p:cSld>
  <p:clrMapOvr>
    <a:masterClrMapping/>
  </p:clrMapOvr>
</p:sldLayout>
</file>

<file path=ppt/slideLayouts/slideLayout14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38238705"/>
      </p:ext>
    </p:extLst>
  </p:cSld>
  <p:clrMapOvr>
    <a:masterClrMapping/>
  </p:clrMapOvr>
</p:sldLayout>
</file>

<file path=ppt/slideLayouts/slideLayout14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69592350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4" name="Google Shape;1124;p1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5" name="Google Shape;1125;p10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6" name="Google Shape;1126;p1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7" name="Google Shape;1127;p1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8" name="Google Shape;1128;p1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9" name="Google Shape;1129;p1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" name="Google Shape;1130;p1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1" name="Google Shape;1131;p1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2" name="Google Shape;1132;p1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3" name="Google Shape;1133;p1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4258426"/>
      </p:ext>
    </p:extLst>
  </p:cSld>
  <p:clrMapOvr>
    <a:masterClrMapping/>
  </p:clrMapOvr>
</p:sldLayout>
</file>

<file path=ppt/slideLayouts/slideLayout14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58103032"/>
      </p:ext>
    </p:extLst>
  </p:cSld>
  <p:clrMapOvr>
    <a:masterClrMapping/>
  </p:clrMapOvr>
</p:sldLayout>
</file>

<file path=ppt/slideLayouts/slideLayout14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9393313"/>
      </p:ext>
    </p:extLst>
  </p:cSld>
  <p:clrMapOvr>
    <a:masterClrMapping/>
  </p:clrMapOvr>
</p:sldLayout>
</file>

<file path=ppt/slideLayouts/slideLayout14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67733969"/>
      </p:ext>
    </p:extLst>
  </p:cSld>
  <p:clrMapOvr>
    <a:masterClrMapping/>
  </p:clrMapOvr>
</p:sldLayout>
</file>

<file path=ppt/slideLayouts/slideLayout1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85190421"/>
      </p:ext>
    </p:extLst>
  </p:cSld>
  <p:clrMapOvr>
    <a:masterClrMapping/>
  </p:clrMapOvr>
</p:sldLayout>
</file>

<file path=ppt/slideLayouts/slideLayout1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20202296"/>
      </p:ext>
    </p:extLst>
  </p:cSld>
  <p:clrMapOvr>
    <a:masterClrMapping/>
  </p:clrMapOvr>
</p:sldLayout>
</file>

<file path=ppt/slideLayouts/slideLayout14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78049"/>
      </p:ext>
    </p:extLst>
  </p:cSld>
  <p:clrMapOvr>
    <a:masterClrMapping/>
  </p:clrMapOvr>
</p:sldLayout>
</file>

<file path=ppt/slideLayouts/slideLayout1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2775441"/>
      </p:ext>
    </p:extLst>
  </p:cSld>
  <p:clrMapOvr>
    <a:masterClrMapping/>
  </p:clrMapOvr>
</p:sldLayout>
</file>

<file path=ppt/slideLayouts/slideLayout14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83222"/>
      </p:ext>
    </p:extLst>
  </p:cSld>
  <p:clrMapOvr>
    <a:masterClrMapping/>
  </p:clrMapOvr>
</p:sldLayout>
</file>

<file path=ppt/slideLayouts/slideLayout14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5242156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" name="Google Shape;1135;p1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1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37" name="Google Shape;1137;p1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8" name="Google Shape;1138;p10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9" name="Google Shape;1139;p1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0" name="Google Shape;1140;p1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1" name="Google Shape;1141;p1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2" name="Google Shape;1142;p1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3" name="Google Shape;1143;p1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4" name="Google Shape;1144;p1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5" name="Google Shape;1145;p1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1663018"/>
      </p:ext>
    </p:extLst>
  </p:cSld>
  <p:clrMapOvr>
    <a:masterClrMapping/>
  </p:clrMapOvr>
</p:sldLayout>
</file>

<file path=ppt/slideLayouts/slideLayout14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47476036"/>
      </p:ext>
    </p:extLst>
  </p:cSld>
  <p:clrMapOvr>
    <a:masterClrMapping/>
  </p:clrMapOvr>
</p:sldLayout>
</file>

<file path=ppt/slideLayouts/slideLayout14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23739373"/>
      </p:ext>
    </p:extLst>
  </p:cSld>
  <p:clrMapOvr>
    <a:masterClrMapping/>
  </p:clrMapOvr>
</p:sldLayout>
</file>

<file path=ppt/slideLayouts/slideLayout1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863385"/>
      </p:ext>
    </p:extLst>
  </p:cSld>
  <p:clrMapOvr>
    <a:masterClrMapping/>
  </p:clrMapOvr>
</p:sldLayout>
</file>

<file path=ppt/slideLayouts/slideLayout14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1471955"/>
      </p:ext>
    </p:extLst>
  </p:cSld>
  <p:clrMapOvr>
    <a:masterClrMapping/>
  </p:clrMapOvr>
</p:sldLayout>
</file>

<file path=ppt/slideLayouts/slideLayout14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39223948"/>
      </p:ext>
    </p:extLst>
  </p:cSld>
  <p:clrMapOvr>
    <a:masterClrMapping/>
  </p:clrMapOvr>
</p:sldLayout>
</file>

<file path=ppt/slideLayouts/slideLayout14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319908"/>
      </p:ext>
    </p:extLst>
  </p:cSld>
  <p:clrMapOvr>
    <a:masterClrMapping/>
  </p:clrMapOvr>
</p:sldLayout>
</file>

<file path=ppt/slideLayouts/slideLayout14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747586"/>
      </p:ext>
    </p:extLst>
  </p:cSld>
  <p:clrMapOvr>
    <a:masterClrMapping/>
  </p:clrMapOvr>
</p:sldLayout>
</file>

<file path=ppt/slideLayouts/slideLayout1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11585183"/>
      </p:ext>
    </p:extLst>
  </p:cSld>
  <p:clrMapOvr>
    <a:masterClrMapping/>
  </p:clrMapOvr>
</p:sldLayout>
</file>

<file path=ppt/slideLayouts/slideLayout1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7070285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" name="Google Shape;1147;p1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" name="Google Shape;1148;p11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" name="Google Shape;1149;p1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" name="Google Shape;1150;p1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" name="Google Shape;1151;p1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" name="Google Shape;1152;p1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" name="Google Shape;1153;p1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4" name="Google Shape;1154;p1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5" name="Google Shape;1155;p1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6" name="Google Shape;1156;p1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" name="Google Shape;1157;p1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" name="Google Shape;1158;p1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9" name="Google Shape;1159;p1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55421"/>
      </p:ext>
    </p:extLst>
  </p:cSld>
  <p:clrMapOvr>
    <a:masterClrMapping/>
  </p:clrMapOvr>
</p:sldLayout>
</file>

<file path=ppt/slideLayouts/slideLayout14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480158"/>
      </p:ext>
    </p:extLst>
  </p:cSld>
  <p:clrMapOvr>
    <a:masterClrMapping/>
  </p:clrMapOvr>
</p:sldLayout>
</file>

<file path=ppt/slideLayouts/slideLayout14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1875082"/>
      </p:ext>
    </p:extLst>
  </p:cSld>
  <p:clrMapOvr>
    <a:masterClrMapping/>
  </p:clrMapOvr>
</p:sldLayout>
</file>

<file path=ppt/slideLayouts/slideLayout14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6007823"/>
      </p:ext>
    </p:extLst>
  </p:cSld>
  <p:clrMapOvr>
    <a:masterClrMapping/>
  </p:clrMapOvr>
</p:sldLayout>
</file>

<file path=ppt/slideLayouts/slideLayout14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09310688"/>
      </p:ext>
    </p:extLst>
  </p:cSld>
  <p:clrMapOvr>
    <a:masterClrMapping/>
  </p:clrMapOvr>
</p:sldLayout>
</file>

<file path=ppt/slideLayouts/slideLayout14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13162722"/>
      </p:ext>
    </p:extLst>
  </p:cSld>
  <p:clrMapOvr>
    <a:masterClrMapping/>
  </p:clrMapOvr>
</p:sldLayout>
</file>

<file path=ppt/slideLayouts/slideLayout14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51842433"/>
      </p:ext>
    </p:extLst>
  </p:cSld>
  <p:clrMapOvr>
    <a:masterClrMapping/>
  </p:clrMapOvr>
</p:sldLayout>
</file>

<file path=ppt/slideLayouts/slideLayout1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045899"/>
      </p:ext>
    </p:extLst>
  </p:cSld>
  <p:clrMapOvr>
    <a:masterClrMapping/>
  </p:clrMapOvr>
</p:sldLayout>
</file>

<file path=ppt/slideLayouts/slideLayout14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7713729"/>
      </p:ext>
    </p:extLst>
  </p:cSld>
  <p:clrMapOvr>
    <a:masterClrMapping/>
  </p:clrMapOvr>
</p:sldLayout>
</file>

<file path=ppt/slideLayouts/slideLayout14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65633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1" name="Google Shape;1161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2" name="Google Shape;1162;p11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3" name="Google Shape;1163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4" name="Google Shape;1164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5" name="Google Shape;1165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6" name="Google Shape;1166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" name="Google Shape;1167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8" name="Google Shape;1168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9" name="Google Shape;1169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6179715"/>
      </p:ext>
    </p:extLst>
  </p:cSld>
  <p:clrMapOvr>
    <a:masterClrMapping/>
  </p:clrMapOvr>
</p:sldLayout>
</file>

<file path=ppt/slideLayouts/slideLayout14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3334849"/>
      </p:ext>
    </p:extLst>
  </p:cSld>
  <p:clrMapOvr>
    <a:masterClrMapping/>
  </p:clrMapOvr>
</p:sldLayout>
</file>

<file path=ppt/slideLayouts/slideLayout14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966449"/>
      </p:ext>
    </p:extLst>
  </p:cSld>
  <p:clrMapOvr>
    <a:masterClrMapping/>
  </p:clrMapOvr>
</p:sldLayout>
</file>

<file path=ppt/slideLayouts/slideLayout1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22758775"/>
      </p:ext>
    </p:extLst>
  </p:cSld>
  <p:clrMapOvr>
    <a:masterClrMapping/>
  </p:clrMapOvr>
</p:sldLayout>
</file>

<file path=ppt/slideLayouts/slideLayout1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55264333"/>
      </p:ext>
    </p:extLst>
  </p:cSld>
  <p:clrMapOvr>
    <a:masterClrMapping/>
  </p:clrMapOvr>
</p:sldLayout>
</file>

<file path=ppt/slideLayouts/slideLayout1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261097"/>
      </p:ext>
    </p:extLst>
  </p:cSld>
  <p:clrMapOvr>
    <a:masterClrMapping/>
  </p:clrMapOvr>
</p:sldLayout>
</file>

<file path=ppt/slideLayouts/slideLayout14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9701316"/>
      </p:ext>
    </p:extLst>
  </p:cSld>
  <p:clrMapOvr>
    <a:masterClrMapping/>
  </p:clrMapOvr>
</p:sldLayout>
</file>

<file path=ppt/slideLayouts/slideLayout14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47083204"/>
      </p:ext>
    </p:extLst>
  </p:cSld>
  <p:clrMapOvr>
    <a:masterClrMapping/>
  </p:clrMapOvr>
</p:sldLayout>
</file>

<file path=ppt/slideLayouts/slideLayout14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03108398"/>
      </p:ext>
    </p:extLst>
  </p:cSld>
  <p:clrMapOvr>
    <a:masterClrMapping/>
  </p:clrMapOvr>
</p:sldLayout>
</file>

<file path=ppt/slideLayouts/slideLayout14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0238227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1" name="Google Shape;1171;p1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72" name="Google Shape;1172;p1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3" name="Google Shape;1173;p1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4" name="Google Shape;1174;p1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5" name="Google Shape;1175;p1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6" name="Google Shape;1176;p1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7" name="Google Shape;1177;p1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78" name="Google Shape;1178;p1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4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74032094"/>
      </p:ext>
    </p:extLst>
  </p:cSld>
  <p:clrMapOvr>
    <a:masterClrMapping/>
  </p:clrMapOvr>
</p:sldLayout>
</file>

<file path=ppt/slideLayouts/slideLayout1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6005900"/>
      </p:ext>
    </p:extLst>
  </p:cSld>
  <p:clrMapOvr>
    <a:masterClrMapping/>
  </p:clrMapOvr>
</p:sldLayout>
</file>

<file path=ppt/slideLayouts/slideLayout14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33525998"/>
      </p:ext>
    </p:extLst>
  </p:cSld>
  <p:clrMapOvr>
    <a:masterClrMapping/>
  </p:clrMapOvr>
</p:sldLayout>
</file>

<file path=ppt/slideLayouts/slideLayout1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46781637"/>
      </p:ext>
    </p:extLst>
  </p:cSld>
  <p:clrMapOvr>
    <a:masterClrMapping/>
  </p:clrMapOvr>
</p:sldLayout>
</file>

<file path=ppt/slideLayouts/slideLayout1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19232099"/>
      </p:ext>
    </p:extLst>
  </p:cSld>
  <p:clrMapOvr>
    <a:masterClrMapping/>
  </p:clrMapOvr>
</p:sldLayout>
</file>

<file path=ppt/slideLayouts/slideLayout1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007012"/>
      </p:ext>
    </p:extLst>
  </p:cSld>
  <p:clrMapOvr>
    <a:masterClrMapping/>
  </p:clrMapOvr>
</p:sldLayout>
</file>

<file path=ppt/slideLayouts/slideLayout14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77901"/>
      </p:ext>
    </p:extLst>
  </p:cSld>
  <p:clrMapOvr>
    <a:masterClrMapping/>
  </p:clrMapOvr>
</p:sldLayout>
</file>

<file path=ppt/slideLayouts/slideLayout14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51502158"/>
      </p:ext>
    </p:extLst>
  </p:cSld>
  <p:clrMapOvr>
    <a:masterClrMapping/>
  </p:clrMapOvr>
</p:sldLayout>
</file>

<file path=ppt/slideLayouts/slideLayout14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5450"/>
      </p:ext>
    </p:extLst>
  </p:cSld>
  <p:clrMapOvr>
    <a:masterClrMapping/>
  </p:clrMapOvr>
</p:sldLayout>
</file>

<file path=ppt/slideLayouts/slideLayout14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7810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" name="Google Shape;128;p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" name="Google Shape;129;p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" name="Google Shape;130;p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" name="Google Shape;131;p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3" name="Google Shape;133;p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" name="Google Shape;136;p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" name="Google Shape;137;p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1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" name="Google Shape;1180;p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" name="Google Shape;1181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" name="Google Shape;1182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3" name="Google Shape;1183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4" name="Google Shape;1184;p1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5" name="Google Shape;1185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6" name="Google Shape;1186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7" name="Google Shape;1187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5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4817232"/>
      </p:ext>
    </p:extLst>
  </p:cSld>
  <p:clrMapOvr>
    <a:masterClrMapping/>
  </p:clrMapOvr>
</p:sldLayout>
</file>

<file path=ppt/slideLayouts/slideLayout1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7259256"/>
      </p:ext>
    </p:extLst>
  </p:cSld>
  <p:clrMapOvr>
    <a:masterClrMapping/>
  </p:clrMapOvr>
</p:sldLayout>
</file>

<file path=ppt/slideLayouts/slideLayout15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18018723"/>
      </p:ext>
    </p:extLst>
  </p:cSld>
  <p:clrMapOvr>
    <a:masterClrMapping/>
  </p:clrMapOvr>
</p:sldLayout>
</file>

<file path=ppt/slideLayouts/slideLayout15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406308"/>
      </p:ext>
    </p:extLst>
  </p:cSld>
  <p:clrMapOvr>
    <a:masterClrMapping/>
  </p:clrMapOvr>
</p:sldLayout>
</file>

<file path=ppt/slideLayouts/slideLayout15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8384076"/>
      </p:ext>
    </p:extLst>
  </p:cSld>
  <p:clrMapOvr>
    <a:masterClrMapping/>
  </p:clrMapOvr>
</p:sldLayout>
</file>

<file path=ppt/slideLayouts/slideLayout15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5479992"/>
      </p:ext>
    </p:extLst>
  </p:cSld>
  <p:clrMapOvr>
    <a:masterClrMapping/>
  </p:clrMapOvr>
</p:sldLayout>
</file>

<file path=ppt/slideLayouts/slideLayout1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1941633"/>
      </p:ext>
    </p:extLst>
  </p:cSld>
  <p:clrMapOvr>
    <a:masterClrMapping/>
  </p:clrMapOvr>
</p:sldLayout>
</file>

<file path=ppt/slideLayouts/slideLayout15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341558"/>
      </p:ext>
    </p:extLst>
  </p:cSld>
  <p:clrMapOvr>
    <a:masterClrMapping/>
  </p:clrMapOvr>
</p:sldLayout>
</file>

<file path=ppt/slideLayouts/slideLayout15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325909909"/>
      </p:ext>
    </p:extLst>
  </p:cSld>
  <p:clrMapOvr>
    <a:masterClrMapping/>
  </p:clrMapOvr>
</p:sldLayout>
</file>

<file path=ppt/slideLayouts/slideLayout15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59818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" name="Google Shape;1189;p1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0" name="Google Shape;1190;p1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1" name="Google Shape;1191;p1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2" name="Google Shape;1192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3" name="Google Shape;1193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4" name="Google Shape;1194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5" name="Google Shape;1195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6" name="Google Shape;1196;p11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7" name="Google Shape;1197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98" name="Google Shape;1198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9" name="Google Shape;1199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00" name="Google Shape;1200;p11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619358"/>
      </p:ext>
    </p:extLst>
  </p:cSld>
  <p:clrMapOvr>
    <a:masterClrMapping/>
  </p:clrMapOvr>
</p:sldLayout>
</file>

<file path=ppt/slideLayouts/slideLayout15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679541"/>
      </p:ext>
    </p:extLst>
  </p:cSld>
  <p:clrMapOvr>
    <a:masterClrMapping/>
  </p:clrMapOvr>
</p:sldLayout>
</file>

<file path=ppt/slideLayouts/slideLayout15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183711972"/>
      </p:ext>
    </p:extLst>
  </p:cSld>
  <p:clrMapOvr>
    <a:masterClrMapping/>
  </p:clrMapOvr>
</p:sldLayout>
</file>

<file path=ppt/slideLayouts/slideLayout15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965869"/>
      </p:ext>
    </p:extLst>
  </p:cSld>
  <p:clrMapOvr>
    <a:masterClrMapping/>
  </p:clrMapOvr>
</p:sldLayout>
</file>

<file path=ppt/slideLayouts/slideLayout15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48008"/>
      </p:ext>
    </p:extLst>
  </p:cSld>
  <p:clrMapOvr>
    <a:masterClrMapping/>
  </p:clrMapOvr>
</p:sldLayout>
</file>

<file path=ppt/slideLayouts/slideLayout15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7180754"/>
      </p:ext>
    </p:extLst>
  </p:cSld>
  <p:clrMapOvr>
    <a:masterClrMapping/>
  </p:clrMapOvr>
</p:sldLayout>
</file>

<file path=ppt/slideLayouts/slideLayout15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0307169"/>
      </p:ext>
    </p:extLst>
  </p:cSld>
  <p:clrMapOvr>
    <a:masterClrMapping/>
  </p:clrMapOvr>
</p:sldLayout>
</file>

<file path=ppt/slideLayouts/slideLayout15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047199"/>
      </p:ext>
    </p:extLst>
  </p:cSld>
  <p:clrMapOvr>
    <a:masterClrMapping/>
  </p:clrMapOvr>
</p:sldLayout>
</file>

<file path=ppt/slideLayouts/slideLayout15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250196937"/>
      </p:ext>
    </p:extLst>
  </p:cSld>
  <p:clrMapOvr>
    <a:masterClrMapping/>
  </p:clrMapOvr>
</p:sldLayout>
</file>

<file path=ppt/slideLayouts/slideLayout15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01284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1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" name="Google Shape;1086;p10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7" name="Google Shape;1087;p10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" name="Google Shape;1088;p10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89" name="Google Shape;1089;p1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0" name="Google Shape;1090;p10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1" name="Google Shape;1091;p1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2" name="Google Shape;1092;p10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3" name="Google Shape;1093;p10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5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3412601"/>
      </p:ext>
    </p:extLst>
  </p:cSld>
  <p:clrMapOvr>
    <a:masterClrMapping/>
  </p:clrMapOvr>
</p:sldLayout>
</file>

<file path=ppt/slideLayouts/slideLayout15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700339"/>
      </p:ext>
    </p:extLst>
  </p:cSld>
  <p:clrMapOvr>
    <a:masterClrMapping/>
  </p:clrMapOvr>
</p:sldLayout>
</file>

<file path=ppt/slideLayouts/slideLayout15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608621005"/>
      </p:ext>
    </p:extLst>
  </p:cSld>
  <p:clrMapOvr>
    <a:masterClrMapping/>
  </p:clrMapOvr>
</p:sldLayout>
</file>

<file path=ppt/slideLayouts/slideLayout15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683316"/>
      </p:ext>
    </p:extLst>
  </p:cSld>
  <p:clrMapOvr>
    <a:masterClrMapping/>
  </p:clrMapOvr>
</p:sldLayout>
</file>

<file path=ppt/slideLayouts/slideLayout15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9390014"/>
      </p:ext>
    </p:extLst>
  </p:cSld>
  <p:clrMapOvr>
    <a:masterClrMapping/>
  </p:clrMapOvr>
</p:sldLayout>
</file>

<file path=ppt/slideLayouts/slideLayout15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04584641"/>
      </p:ext>
    </p:extLst>
  </p:cSld>
  <p:clrMapOvr>
    <a:masterClrMapping/>
  </p:clrMapOvr>
</p:sldLayout>
</file>

<file path=ppt/slideLayouts/slideLayout15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7607170"/>
      </p:ext>
    </p:extLst>
  </p:cSld>
  <p:clrMapOvr>
    <a:masterClrMapping/>
  </p:clrMapOvr>
</p:sldLayout>
</file>

<file path=ppt/slideLayouts/slideLayout15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592107"/>
      </p:ext>
    </p:extLst>
  </p:cSld>
  <p:clrMapOvr>
    <a:masterClrMapping/>
  </p:clrMapOvr>
</p:sldLayout>
</file>

<file path=ppt/slideLayouts/slideLayout15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71115"/>
      </p:ext>
    </p:extLst>
  </p:cSld>
  <p:clrMapOvr>
    <a:masterClrMapping/>
  </p:clrMapOvr>
</p:sldLayout>
</file>

<file path=ppt/slideLayouts/slideLayout15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5874048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1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5" name="Google Shape;1095;p10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96" name="Google Shape;1096;p10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7" name="Google Shape;1097;p10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8" name="Google Shape;1098;p10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9" name="Google Shape;1099;p10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0" name="Google Shape;1100;p10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1" name="Google Shape;1101;p10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200216"/>
      </p:ext>
    </p:extLst>
  </p:cSld>
  <p:clrMapOvr>
    <a:masterClrMapping/>
  </p:clrMapOvr>
</p:sldLayout>
</file>

<file path=ppt/slideLayouts/slideLayout15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666517"/>
      </p:ext>
    </p:extLst>
  </p:cSld>
  <p:clrMapOvr>
    <a:masterClrMapping/>
  </p:clrMapOvr>
</p:sldLayout>
</file>

<file path=ppt/slideLayouts/slideLayout15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42352723"/>
      </p:ext>
    </p:extLst>
  </p:cSld>
  <p:clrMapOvr>
    <a:masterClrMapping/>
  </p:clrMapOvr>
</p:sldLayout>
</file>

<file path=ppt/slideLayouts/slideLayout15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7599685"/>
      </p:ext>
    </p:extLst>
  </p:cSld>
  <p:clrMapOvr>
    <a:masterClrMapping/>
  </p:clrMapOvr>
</p:sldLayout>
</file>

<file path=ppt/slideLayouts/slideLayout15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217941"/>
      </p:ext>
    </p:extLst>
  </p:cSld>
  <p:clrMapOvr>
    <a:masterClrMapping/>
  </p:clrMapOvr>
</p:sldLayout>
</file>

<file path=ppt/slideLayouts/slideLayout15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089918422"/>
      </p:ext>
    </p:extLst>
  </p:cSld>
  <p:clrMapOvr>
    <a:masterClrMapping/>
  </p:clrMapOvr>
</p:sldLayout>
</file>

<file path=ppt/slideLayouts/slideLayout1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00446155"/>
      </p:ext>
    </p:extLst>
  </p:cSld>
  <p:clrMapOvr>
    <a:masterClrMapping/>
  </p:clrMapOvr>
</p:sldLayout>
</file>

<file path=ppt/slideLayouts/slideLayout15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031982"/>
      </p:ext>
    </p:extLst>
  </p:cSld>
  <p:clrMapOvr>
    <a:masterClrMapping/>
  </p:clrMapOvr>
</p:sldLayout>
</file>

<file path=ppt/slideLayouts/slideLayout1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49888549"/>
      </p:ext>
    </p:extLst>
  </p:cSld>
  <p:clrMapOvr>
    <a:masterClrMapping/>
  </p:clrMapOvr>
</p:sldLayout>
</file>

<file path=ppt/slideLayouts/slideLayout15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84697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" name="Google Shape;1103;p10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4" name="Google Shape;1104;p10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5" name="Google Shape;1105;p10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6" name="Google Shape;1106;p10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0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8" name="Google Shape;1108;p10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09" name="Google Shape;1109;p10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07801971"/>
      </p:ext>
    </p:extLst>
  </p:cSld>
  <p:clrMapOvr>
    <a:masterClrMapping/>
  </p:clrMapOvr>
</p:sldLayout>
</file>

<file path=ppt/slideLayouts/slideLayout15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24456934"/>
      </p:ext>
    </p:extLst>
  </p:cSld>
  <p:clrMapOvr>
    <a:masterClrMapping/>
  </p:clrMapOvr>
</p:sldLayout>
</file>

<file path=ppt/slideLayouts/slideLayout15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002273"/>
      </p:ext>
    </p:extLst>
  </p:cSld>
  <p:clrMapOvr>
    <a:masterClrMapping/>
  </p:clrMapOvr>
</p:sldLayout>
</file>

<file path=ppt/slideLayouts/slideLayout15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5548046"/>
      </p:ext>
    </p:extLst>
  </p:cSld>
  <p:clrMapOvr>
    <a:masterClrMapping/>
  </p:clrMapOvr>
</p:sldLayout>
</file>

<file path=ppt/slideLayouts/slideLayout15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31007373"/>
      </p:ext>
    </p:extLst>
  </p:cSld>
  <p:clrMapOvr>
    <a:masterClrMapping/>
  </p:clrMapOvr>
</p:sldLayout>
</file>

<file path=ppt/slideLayouts/slideLayout1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313854869"/>
      </p:ext>
    </p:extLst>
  </p:cSld>
  <p:clrMapOvr>
    <a:masterClrMapping/>
  </p:clrMapOvr>
</p:sldLayout>
</file>

<file path=ppt/slideLayouts/slideLayout1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011706"/>
      </p:ext>
    </p:extLst>
  </p:cSld>
  <p:clrMapOvr>
    <a:masterClrMapping/>
  </p:clrMapOvr>
</p:sldLayout>
</file>

<file path=ppt/slideLayouts/slideLayout15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374562"/>
      </p:ext>
    </p:extLst>
  </p:cSld>
  <p:clrMapOvr>
    <a:masterClrMapping/>
  </p:clrMapOvr>
</p:sldLayout>
</file>

<file path=ppt/slideLayouts/slideLayout15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95321184"/>
      </p:ext>
    </p:extLst>
  </p:cSld>
  <p:clrMapOvr>
    <a:masterClrMapping/>
  </p:clrMapOvr>
</p:sldLayout>
</file>

<file path=ppt/slideLayouts/slideLayout15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80030008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1" name="Google Shape;1111;p1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2" name="Google Shape;1112;p1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3" name="Google Shape;1113;p1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4" name="Google Shape;1114;p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5" name="Google Shape;1115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6" name="Google Shape;1116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7" name="Google Shape;1117;p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8" name="Google Shape;1118;p10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9" name="Google Shape;1119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0" name="Google Shape;1120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1" name="Google Shape;1121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22" name="Google Shape;1122;p10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5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07184968"/>
      </p:ext>
    </p:extLst>
  </p:cSld>
  <p:clrMapOvr>
    <a:masterClrMapping/>
  </p:clrMapOvr>
</p:sldLayout>
</file>

<file path=ppt/slideLayouts/slideLayout15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70944976"/>
      </p:ext>
    </p:extLst>
  </p:cSld>
  <p:clrMapOvr>
    <a:masterClrMapping/>
  </p:clrMapOvr>
</p:sldLayout>
</file>

<file path=ppt/slideLayouts/slideLayout15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276555"/>
      </p:ext>
    </p:extLst>
  </p:cSld>
  <p:clrMapOvr>
    <a:masterClrMapping/>
  </p:clrMapOvr>
</p:sldLayout>
</file>

<file path=ppt/slideLayouts/slideLayout15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5413211"/>
      </p:ext>
    </p:extLst>
  </p:cSld>
  <p:clrMapOvr>
    <a:masterClrMapping/>
  </p:clrMapOvr>
</p:sldLayout>
</file>

<file path=ppt/slideLayouts/slideLayout1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9725331"/>
      </p:ext>
    </p:extLst>
  </p:cSld>
  <p:clrMapOvr>
    <a:masterClrMapping/>
  </p:clrMapOvr>
</p:sldLayout>
</file>

<file path=ppt/slideLayouts/slideLayout1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0314992"/>
      </p:ext>
    </p:extLst>
  </p:cSld>
  <p:clrMapOvr>
    <a:masterClrMapping/>
  </p:clrMapOvr>
</p:sldLayout>
</file>

<file path=ppt/slideLayouts/slideLayout15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3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76468420"/>
      </p:ext>
    </p:extLst>
  </p:cSld>
  <p:clrMapOvr>
    <a:masterClrMapping/>
  </p:clrMapOvr>
</p:sldLayout>
</file>

<file path=ppt/slideLayouts/slideLayout15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7157237"/>
      </p:ext>
    </p:extLst>
  </p:cSld>
  <p:clrMapOvr>
    <a:masterClrMapping/>
  </p:clrMapOvr>
</p:sldLayout>
</file>

<file path=ppt/slideLayouts/slideLayout1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05049982"/>
      </p:ext>
    </p:extLst>
  </p:cSld>
  <p:clrMapOvr>
    <a:masterClrMapping/>
  </p:clrMapOvr>
</p:sldLayout>
</file>

<file path=ppt/slideLayouts/slideLayout1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39925061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4" name="Google Shape;1124;p1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5" name="Google Shape;1125;p10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6" name="Google Shape;1126;p1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7" name="Google Shape;1127;p1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8" name="Google Shape;1128;p1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9" name="Google Shape;1129;p1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" name="Google Shape;1130;p1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1" name="Google Shape;1131;p1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2" name="Google Shape;1132;p1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3" name="Google Shape;1133;p1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725546"/>
      </p:ext>
    </p:extLst>
  </p:cSld>
  <p:clrMapOvr>
    <a:masterClrMapping/>
  </p:clrMapOvr>
</p:sldLayout>
</file>

<file path=ppt/slideLayouts/slideLayout15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095189"/>
      </p:ext>
    </p:extLst>
  </p:cSld>
  <p:clrMapOvr>
    <a:masterClrMapping/>
  </p:clrMapOvr>
</p:sldLayout>
</file>

<file path=ppt/slideLayouts/slideLayout15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65485349"/>
      </p:ext>
    </p:extLst>
  </p:cSld>
  <p:clrMapOvr>
    <a:masterClrMapping/>
  </p:clrMapOvr>
</p:sldLayout>
</file>

<file path=ppt/slideLayouts/slideLayout15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891298"/>
      </p:ext>
    </p:extLst>
  </p:cSld>
  <p:clrMapOvr>
    <a:masterClrMapping/>
  </p:clrMapOvr>
</p:sldLayout>
</file>

<file path=ppt/slideLayouts/slideLayout1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725039"/>
      </p:ext>
    </p:extLst>
  </p:cSld>
  <p:clrMapOvr>
    <a:masterClrMapping/>
  </p:clrMapOvr>
</p:sldLayout>
</file>

<file path=ppt/slideLayouts/slideLayout15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02487306"/>
      </p:ext>
    </p:extLst>
  </p:cSld>
  <p:clrMapOvr>
    <a:masterClrMapping/>
  </p:clrMapOvr>
</p:sldLayout>
</file>

<file path=ppt/slideLayouts/slideLayout15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2995510"/>
      </p:ext>
    </p:extLst>
  </p:cSld>
  <p:clrMapOvr>
    <a:masterClrMapping/>
  </p:clrMapOvr>
</p:sldLayout>
</file>

<file path=ppt/slideLayouts/slideLayout1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453827"/>
      </p:ext>
    </p:extLst>
  </p:cSld>
  <p:clrMapOvr>
    <a:masterClrMapping/>
  </p:clrMapOvr>
</p:sldLayout>
</file>

<file path=ppt/slideLayouts/slideLayout1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91430490"/>
      </p:ext>
    </p:extLst>
  </p:cSld>
  <p:clrMapOvr>
    <a:masterClrMapping/>
  </p:clrMapOvr>
</p:sldLayout>
</file>

<file path=ppt/slideLayouts/slideLayout15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290090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" name="Google Shape;1135;p1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1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37" name="Google Shape;1137;p1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8" name="Google Shape;1138;p10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9" name="Google Shape;1139;p1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0" name="Google Shape;1140;p1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1" name="Google Shape;1141;p1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2" name="Google Shape;1142;p1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3" name="Google Shape;1143;p1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4" name="Google Shape;1144;p1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5" name="Google Shape;1145;p1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516381"/>
      </p:ext>
    </p:extLst>
  </p:cSld>
  <p:clrMapOvr>
    <a:masterClrMapping/>
  </p:clrMapOvr>
</p:sldLayout>
</file>

<file path=ppt/slideLayouts/slideLayout1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3309453"/>
      </p:ext>
    </p:extLst>
  </p:cSld>
  <p:clrMapOvr>
    <a:masterClrMapping/>
  </p:clrMapOvr>
</p:sldLayout>
</file>

<file path=ppt/slideLayouts/slideLayout1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19755960"/>
      </p:ext>
    </p:extLst>
  </p:cSld>
  <p:clrMapOvr>
    <a:masterClrMapping/>
  </p:clrMapOvr>
</p:sldLayout>
</file>

<file path=ppt/slideLayouts/slideLayout1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08585"/>
      </p:ext>
    </p:extLst>
  </p:cSld>
  <p:clrMapOvr>
    <a:masterClrMapping/>
  </p:clrMapOvr>
</p:sldLayout>
</file>

<file path=ppt/slideLayouts/slideLayout15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1529865"/>
      </p:ext>
    </p:extLst>
  </p:cSld>
  <p:clrMapOvr>
    <a:masterClrMapping/>
  </p:clrMapOvr>
</p:sldLayout>
</file>

<file path=ppt/slideLayouts/slideLayout15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1720553"/>
      </p:ext>
    </p:extLst>
  </p:cSld>
  <p:clrMapOvr>
    <a:masterClrMapping/>
  </p:clrMapOvr>
</p:sldLayout>
</file>

<file path=ppt/slideLayouts/slideLayout15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17197039"/>
      </p:ext>
    </p:extLst>
  </p:cSld>
  <p:clrMapOvr>
    <a:masterClrMapping/>
  </p:clrMapOvr>
</p:sldLayout>
</file>

<file path=ppt/slideLayouts/slideLayout15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79129249"/>
      </p:ext>
    </p:extLst>
  </p:cSld>
  <p:clrMapOvr>
    <a:masterClrMapping/>
  </p:clrMapOvr>
</p:sldLayout>
</file>

<file path=ppt/slideLayouts/slideLayout15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6986283"/>
      </p:ext>
    </p:extLst>
  </p:cSld>
  <p:clrMapOvr>
    <a:masterClrMapping/>
  </p:clrMapOvr>
</p:sldLayout>
</file>

<file path=ppt/slideLayouts/slideLayout15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8757262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" name="Google Shape;1147;p1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" name="Google Shape;1148;p11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" name="Google Shape;1149;p1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" name="Google Shape;1150;p1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" name="Google Shape;1151;p1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" name="Google Shape;1152;p1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" name="Google Shape;1153;p1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4" name="Google Shape;1154;p1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5" name="Google Shape;1155;p1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6" name="Google Shape;1156;p1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" name="Google Shape;1157;p1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" name="Google Shape;1158;p1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9" name="Google Shape;1159;p1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892400"/>
      </p:ext>
    </p:extLst>
  </p:cSld>
  <p:clrMapOvr>
    <a:masterClrMapping/>
  </p:clrMapOvr>
</p:sldLayout>
</file>

<file path=ppt/slideLayouts/slideLayout15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84274746"/>
      </p:ext>
    </p:extLst>
  </p:cSld>
  <p:clrMapOvr>
    <a:masterClrMapping/>
  </p:clrMapOvr>
</p:sldLayout>
</file>

<file path=ppt/slideLayouts/slideLayout1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13596521"/>
      </p:ext>
    </p:extLst>
  </p:cSld>
  <p:clrMapOvr>
    <a:masterClrMapping/>
  </p:clrMapOvr>
</p:sldLayout>
</file>

<file path=ppt/slideLayouts/slideLayout1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8917032"/>
      </p:ext>
    </p:extLst>
  </p:cSld>
  <p:clrMapOvr>
    <a:masterClrMapping/>
  </p:clrMapOvr>
</p:sldLayout>
</file>

<file path=ppt/slideLayouts/slideLayout1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646605"/>
      </p:ext>
    </p:extLst>
  </p:cSld>
  <p:clrMapOvr>
    <a:masterClrMapping/>
  </p:clrMapOvr>
</p:sldLayout>
</file>

<file path=ppt/slideLayouts/slideLayout15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9871412"/>
      </p:ext>
    </p:extLst>
  </p:cSld>
  <p:clrMapOvr>
    <a:masterClrMapping/>
  </p:clrMapOvr>
</p:sldLayout>
</file>

<file path=ppt/slideLayouts/slideLayout15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205741"/>
      </p:ext>
    </p:extLst>
  </p:cSld>
  <p:clrMapOvr>
    <a:masterClrMapping/>
  </p:clrMapOvr>
</p:sldLayout>
</file>

<file path=ppt/slideLayouts/slideLayout15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2523866"/>
      </p:ext>
    </p:extLst>
  </p:cSld>
  <p:clrMapOvr>
    <a:masterClrMapping/>
  </p:clrMapOvr>
</p:sldLayout>
</file>

<file path=ppt/slideLayouts/slideLayout15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1478332"/>
      </p:ext>
    </p:extLst>
  </p:cSld>
  <p:clrMapOvr>
    <a:masterClrMapping/>
  </p:clrMapOvr>
</p:sldLayout>
</file>

<file path=ppt/slideLayouts/slideLayout15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387782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1" name="Google Shape;1161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2" name="Google Shape;1162;p11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3" name="Google Shape;1163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4" name="Google Shape;1164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5" name="Google Shape;1165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6" name="Google Shape;1166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" name="Google Shape;1167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8" name="Google Shape;1168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9" name="Google Shape;1169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6433573"/>
      </p:ext>
    </p:extLst>
  </p:cSld>
  <p:clrMapOvr>
    <a:masterClrMapping/>
  </p:clrMapOvr>
</p:sldLayout>
</file>

<file path=ppt/slideLayouts/slideLayout15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55991956"/>
      </p:ext>
    </p:extLst>
  </p:cSld>
  <p:clrMapOvr>
    <a:masterClrMapping/>
  </p:clrMapOvr>
</p:sldLayout>
</file>

<file path=ppt/slideLayouts/slideLayout15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0005116"/>
      </p:ext>
    </p:extLst>
  </p:cSld>
  <p:clrMapOvr>
    <a:masterClrMapping/>
  </p:clrMapOvr>
</p:sldLayout>
</file>

<file path=ppt/slideLayouts/slideLayout15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94551"/>
      </p:ext>
    </p:extLst>
  </p:cSld>
  <p:clrMapOvr>
    <a:masterClrMapping/>
  </p:clrMapOvr>
</p:sldLayout>
</file>

<file path=ppt/slideLayouts/slideLayout15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305415"/>
      </p:ext>
    </p:extLst>
  </p:cSld>
  <p:clrMapOvr>
    <a:masterClrMapping/>
  </p:clrMapOvr>
</p:sldLayout>
</file>

<file path=ppt/slideLayouts/slideLayout15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11142912"/>
      </p:ext>
    </p:extLst>
  </p:cSld>
  <p:clrMapOvr>
    <a:masterClrMapping/>
  </p:clrMapOvr>
</p:sldLayout>
</file>

<file path=ppt/slideLayouts/slideLayout15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01012151"/>
      </p:ext>
    </p:extLst>
  </p:cSld>
  <p:clrMapOvr>
    <a:masterClrMapping/>
  </p:clrMapOvr>
</p:sldLayout>
</file>

<file path=ppt/slideLayouts/slideLayout15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5372301"/>
      </p:ext>
    </p:extLst>
  </p:cSld>
  <p:clrMapOvr>
    <a:masterClrMapping/>
  </p:clrMapOvr>
</p:sldLayout>
</file>

<file path=ppt/slideLayouts/slideLayout1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143929"/>
      </p:ext>
    </p:extLst>
  </p:cSld>
  <p:clrMapOvr>
    <a:masterClrMapping/>
  </p:clrMapOvr>
</p:sldLayout>
</file>

<file path=ppt/slideLayouts/slideLayout15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0970219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" name="Google Shape;128;p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" name="Google Shape;129;p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" name="Google Shape;130;p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" name="Google Shape;131;p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3" name="Google Shape;133;p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" name="Google Shape;136;p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" name="Google Shape;137;p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1" name="Google Shape;1171;p1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72" name="Google Shape;1172;p1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3" name="Google Shape;1173;p1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4" name="Google Shape;1174;p1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5" name="Google Shape;1175;p1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6" name="Google Shape;1176;p1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7" name="Google Shape;1177;p1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78" name="Google Shape;1178;p1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1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54357092"/>
      </p:ext>
    </p:extLst>
  </p:cSld>
  <p:clrMapOvr>
    <a:masterClrMapping/>
  </p:clrMapOvr>
</p:sldLayout>
</file>

<file path=ppt/slideLayouts/slideLayout1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11392025"/>
      </p:ext>
    </p:extLst>
  </p:cSld>
  <p:clrMapOvr>
    <a:masterClrMapping/>
  </p:clrMapOvr>
</p:sldLayout>
</file>

<file path=ppt/slideLayouts/slideLayout1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25389781"/>
      </p:ext>
    </p:extLst>
  </p:cSld>
  <p:clrMapOvr>
    <a:masterClrMapping/>
  </p:clrMapOvr>
</p:sldLayout>
</file>

<file path=ppt/slideLayouts/slideLayout1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53128032"/>
      </p:ext>
    </p:extLst>
  </p:cSld>
  <p:clrMapOvr>
    <a:masterClrMapping/>
  </p:clrMapOvr>
</p:sldLayout>
</file>

<file path=ppt/slideLayouts/slideLayout1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791311"/>
      </p:ext>
    </p:extLst>
  </p:cSld>
  <p:clrMapOvr>
    <a:masterClrMapping/>
  </p:clrMapOvr>
</p:sldLayout>
</file>

<file path=ppt/slideLayouts/slideLayout16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883754"/>
      </p:ext>
    </p:extLst>
  </p:cSld>
  <p:clrMapOvr>
    <a:masterClrMapping/>
  </p:clrMapOvr>
</p:sldLayout>
</file>

<file path=ppt/slideLayouts/slideLayout16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2023079"/>
      </p:ext>
    </p:extLst>
  </p:cSld>
  <p:clrMapOvr>
    <a:masterClrMapping/>
  </p:clrMapOvr>
</p:sldLayout>
</file>

<file path=ppt/slideLayouts/slideLayout16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63173285"/>
      </p:ext>
    </p:extLst>
  </p:cSld>
  <p:clrMapOvr>
    <a:masterClrMapping/>
  </p:clrMapOvr>
</p:sldLayout>
</file>

<file path=ppt/slideLayouts/slideLayout16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8271653"/>
      </p:ext>
    </p:extLst>
  </p:cSld>
  <p:clrMapOvr>
    <a:masterClrMapping/>
  </p:clrMapOvr>
</p:sldLayout>
</file>

<file path=ppt/slideLayouts/slideLayout16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7707749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1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" name="Google Shape;1180;p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" name="Google Shape;1181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" name="Google Shape;1182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3" name="Google Shape;1183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4" name="Google Shape;1184;p1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5" name="Google Shape;1185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6" name="Google Shape;1186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7" name="Google Shape;1187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16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37634698"/>
      </p:ext>
    </p:extLst>
  </p:cSld>
  <p:clrMapOvr>
    <a:masterClrMapping/>
  </p:clrMapOvr>
</p:sldLayout>
</file>

<file path=ppt/slideLayouts/slideLayout1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0140640"/>
      </p:ext>
    </p:extLst>
  </p:cSld>
  <p:clrMapOvr>
    <a:masterClrMapping/>
  </p:clrMapOvr>
</p:sldLayout>
</file>

<file path=ppt/slideLayouts/slideLayout16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273927"/>
      </p:ext>
    </p:extLst>
  </p:cSld>
  <p:clrMapOvr>
    <a:masterClrMapping/>
  </p:clrMapOvr>
</p:sldLayout>
</file>

<file path=ppt/slideLayouts/slideLayout1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53418373"/>
      </p:ext>
    </p:extLst>
  </p:cSld>
  <p:clrMapOvr>
    <a:masterClrMapping/>
  </p:clrMapOvr>
</p:sldLayout>
</file>

<file path=ppt/slideLayouts/slideLayout1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50128498"/>
      </p:ext>
    </p:extLst>
  </p:cSld>
  <p:clrMapOvr>
    <a:masterClrMapping/>
  </p:clrMapOvr>
</p:sldLayout>
</file>

<file path=ppt/slideLayouts/slideLayout16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926375"/>
      </p:ext>
    </p:extLst>
  </p:cSld>
  <p:clrMapOvr>
    <a:masterClrMapping/>
  </p:clrMapOvr>
</p:sldLayout>
</file>

<file path=ppt/slideLayouts/slideLayout16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76944358"/>
      </p:ext>
    </p:extLst>
  </p:cSld>
  <p:clrMapOvr>
    <a:masterClrMapping/>
  </p:clrMapOvr>
</p:sldLayout>
</file>

<file path=ppt/slideLayouts/slideLayout16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74009941"/>
      </p:ext>
    </p:extLst>
  </p:cSld>
  <p:clrMapOvr>
    <a:masterClrMapping/>
  </p:clrMapOvr>
</p:sldLayout>
</file>

<file path=ppt/slideLayouts/slideLayout16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9821419"/>
      </p:ext>
    </p:extLst>
  </p:cSld>
  <p:clrMapOvr>
    <a:masterClrMapping/>
  </p:clrMapOvr>
</p:sldLayout>
</file>

<file path=ppt/slideLayouts/slideLayout1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1754868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" name="Google Shape;1189;p1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0" name="Google Shape;1190;p1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1" name="Google Shape;1191;p1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2" name="Google Shape;1192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3" name="Google Shape;1193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4" name="Google Shape;1194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5" name="Google Shape;1195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6" name="Google Shape;1196;p11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7" name="Google Shape;1197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98" name="Google Shape;1198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9" name="Google Shape;1199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00" name="Google Shape;1200;p11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527296"/>
      </p:ext>
    </p:extLst>
  </p:cSld>
  <p:clrMapOvr>
    <a:masterClrMapping/>
  </p:clrMapOvr>
</p:sldLayout>
</file>

<file path=ppt/slideLayouts/slideLayout16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17892398"/>
      </p:ext>
    </p:extLst>
  </p:cSld>
  <p:clrMapOvr>
    <a:masterClrMapping/>
  </p:clrMapOvr>
</p:sldLayout>
</file>

<file path=ppt/slideLayouts/slideLayout16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7609001"/>
      </p:ext>
    </p:extLst>
  </p:cSld>
  <p:clrMapOvr>
    <a:masterClrMapping/>
  </p:clrMapOvr>
</p:sldLayout>
</file>

<file path=ppt/slideLayouts/slideLayout1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7886727"/>
      </p:ext>
    </p:extLst>
  </p:cSld>
  <p:clrMapOvr>
    <a:masterClrMapping/>
  </p:clrMapOvr>
</p:sldLayout>
</file>

<file path=ppt/slideLayouts/slideLayout1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86308408"/>
      </p:ext>
    </p:extLst>
  </p:cSld>
  <p:clrMapOvr>
    <a:masterClrMapping/>
  </p:clrMapOvr>
</p:sldLayout>
</file>

<file path=ppt/slideLayouts/slideLayout16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287398"/>
      </p:ext>
    </p:extLst>
  </p:cSld>
  <p:clrMapOvr>
    <a:masterClrMapping/>
  </p:clrMapOvr>
</p:sldLayout>
</file>

<file path=ppt/slideLayouts/slideLayout16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37831009"/>
      </p:ext>
    </p:extLst>
  </p:cSld>
  <p:clrMapOvr>
    <a:masterClrMapping/>
  </p:clrMapOvr>
</p:sldLayout>
</file>

<file path=ppt/slideLayouts/slideLayout16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163453"/>
      </p:ext>
    </p:extLst>
  </p:cSld>
  <p:clrMapOvr>
    <a:masterClrMapping/>
  </p:clrMapOvr>
</p:sldLayout>
</file>

<file path=ppt/slideLayouts/slideLayout16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41973089"/>
      </p:ext>
    </p:extLst>
  </p:cSld>
  <p:clrMapOvr>
    <a:masterClrMapping/>
  </p:clrMapOvr>
</p:sldLayout>
</file>

<file path=ppt/slideLayouts/slideLayout1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12606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2" name="Google Shape;1202;p115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3" name="Google Shape;1203;p115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04" name="Google Shape;1204;p11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05" name="Google Shape;1205;p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6" name="Google Shape;1206;p1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361874"/>
      </p:ext>
    </p:extLst>
  </p:cSld>
  <p:clrMapOvr>
    <a:masterClrMapping/>
  </p:clrMapOvr>
</p:sldLayout>
</file>

<file path=ppt/slideLayouts/slideLayout16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7989127"/>
      </p:ext>
    </p:extLst>
  </p:cSld>
  <p:clrMapOvr>
    <a:masterClrMapping/>
  </p:clrMapOvr>
</p:sldLayout>
</file>

<file path=ppt/slideLayouts/slideLayout16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671009"/>
      </p:ext>
    </p:extLst>
  </p:cSld>
  <p:clrMapOvr>
    <a:masterClrMapping/>
  </p:clrMapOvr>
</p:sldLayout>
</file>

<file path=ppt/slideLayouts/slideLayout16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06649204"/>
      </p:ext>
    </p:extLst>
  </p:cSld>
  <p:clrMapOvr>
    <a:masterClrMapping/>
  </p:clrMapOvr>
</p:sldLayout>
</file>

<file path=ppt/slideLayouts/slideLayout1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041706"/>
      </p:ext>
    </p:extLst>
  </p:cSld>
  <p:clrMapOvr>
    <a:masterClrMapping/>
  </p:clrMapOvr>
</p:sldLayout>
</file>

<file path=ppt/slideLayouts/slideLayout16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2778645"/>
      </p:ext>
    </p:extLst>
  </p:cSld>
  <p:clrMapOvr>
    <a:masterClrMapping/>
  </p:clrMapOvr>
</p:sldLayout>
</file>

<file path=ppt/slideLayouts/slideLayout16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09780836"/>
      </p:ext>
    </p:extLst>
  </p:cSld>
  <p:clrMapOvr>
    <a:masterClrMapping/>
  </p:clrMapOvr>
</p:sldLayout>
</file>

<file path=ppt/slideLayouts/slideLayout16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34740487"/>
      </p:ext>
    </p:extLst>
  </p:cSld>
  <p:clrMapOvr>
    <a:masterClrMapping/>
  </p:clrMapOvr>
</p:sldLayout>
</file>

<file path=ppt/slideLayouts/slideLayout16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18358390"/>
      </p:ext>
    </p:extLst>
  </p:cSld>
  <p:clrMapOvr>
    <a:masterClrMapping/>
  </p:clrMapOvr>
</p:sldLayout>
</file>

<file path=ppt/slideLayouts/slideLayout16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447412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" name="Google Shape;1208;p11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9" name="Google Shape;1209;p11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0" name="Google Shape;1210;p11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11" name="Google Shape;1211;p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2" name="Google Shape;1212;p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3" name="Google Shape;1213;p11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4" name="Google Shape;1214;p11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5" name="Google Shape;1215;p11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16" name="Google Shape;1216;p11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156837"/>
      </p:ext>
    </p:extLst>
  </p:cSld>
  <p:clrMapOvr>
    <a:masterClrMapping/>
  </p:clrMapOvr>
</p:sldLayout>
</file>

<file path=ppt/slideLayouts/slideLayout16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94207731"/>
      </p:ext>
    </p:extLst>
  </p:cSld>
  <p:clrMapOvr>
    <a:masterClrMapping/>
  </p:clrMapOvr>
</p:sldLayout>
</file>

<file path=ppt/slideLayouts/slideLayout16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828990"/>
      </p:ext>
    </p:extLst>
  </p:cSld>
  <p:clrMapOvr>
    <a:masterClrMapping/>
  </p:clrMapOvr>
</p:sldLayout>
</file>

<file path=ppt/slideLayouts/slideLayout1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77252871"/>
      </p:ext>
    </p:extLst>
  </p:cSld>
  <p:clrMapOvr>
    <a:masterClrMapping/>
  </p:clrMapOvr>
</p:sldLayout>
</file>

<file path=ppt/slideLayouts/slideLayout1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18595003"/>
      </p:ext>
    </p:extLst>
  </p:cSld>
  <p:clrMapOvr>
    <a:masterClrMapping/>
  </p:clrMapOvr>
</p:sldLayout>
</file>

<file path=ppt/slideLayouts/slideLayout1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055720"/>
      </p:ext>
    </p:extLst>
  </p:cSld>
  <p:clrMapOvr>
    <a:masterClrMapping/>
  </p:clrMapOvr>
</p:sldLayout>
</file>

<file path=ppt/slideLayouts/slideLayout16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76920142"/>
      </p:ext>
    </p:extLst>
  </p:cSld>
  <p:clrMapOvr>
    <a:masterClrMapping/>
  </p:clrMapOvr>
</p:sldLayout>
</file>

<file path=ppt/slideLayouts/slideLayout16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9739581"/>
      </p:ext>
    </p:extLst>
  </p:cSld>
  <p:clrMapOvr>
    <a:masterClrMapping/>
  </p:clrMapOvr>
</p:sldLayout>
</file>

<file path=ppt/slideLayouts/slideLayout16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7481105"/>
      </p:ext>
    </p:extLst>
  </p:cSld>
  <p:clrMapOvr>
    <a:masterClrMapping/>
  </p:clrMapOvr>
</p:sldLayout>
</file>

<file path=ppt/slideLayouts/slideLayout16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5362609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" name="Google Shape;1218;p11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9" name="Google Shape;1219;p11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0" name="Google Shape;1220;p11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21" name="Google Shape;1221;p1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2" name="Google Shape;1222;p1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23" name="Google Shape;1223;p11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4" name="Google Shape;1224;p11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5" name="Google Shape;1225;p11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26" name="Google Shape;1226;p11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8962273"/>
      </p:ext>
    </p:extLst>
  </p:cSld>
  <p:clrMapOvr>
    <a:masterClrMapping/>
  </p:clrMapOvr>
</p:sldLayout>
</file>

<file path=ppt/slideLayouts/slideLayout16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8184436"/>
      </p:ext>
    </p:extLst>
  </p:cSld>
  <p:clrMapOvr>
    <a:masterClrMapping/>
  </p:clrMapOvr>
</p:sldLayout>
</file>

<file path=ppt/slideLayouts/slideLayout1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97903165"/>
      </p:ext>
    </p:extLst>
  </p:cSld>
  <p:clrMapOvr>
    <a:masterClrMapping/>
  </p:clrMapOvr>
</p:sldLayout>
</file>

<file path=ppt/slideLayouts/slideLayout1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69988263"/>
      </p:ext>
    </p:extLst>
  </p:cSld>
  <p:clrMapOvr>
    <a:masterClrMapping/>
  </p:clrMapOvr>
</p:sldLayout>
</file>

<file path=ppt/slideLayouts/slideLayout16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9780389"/>
      </p:ext>
    </p:extLst>
  </p:cSld>
  <p:clrMapOvr>
    <a:masterClrMapping/>
  </p:clrMapOvr>
</p:sldLayout>
</file>

<file path=ppt/slideLayouts/slideLayout1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844727"/>
      </p:ext>
    </p:extLst>
  </p:cSld>
  <p:clrMapOvr>
    <a:masterClrMapping/>
  </p:clrMapOvr>
</p:sldLayout>
</file>

<file path=ppt/slideLayouts/slideLayout16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544858"/>
      </p:ext>
    </p:extLst>
  </p:cSld>
  <p:clrMapOvr>
    <a:masterClrMapping/>
  </p:clrMapOvr>
</p:sldLayout>
</file>

<file path=ppt/slideLayouts/slideLayout16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59174624"/>
      </p:ext>
    </p:extLst>
  </p:cSld>
  <p:clrMapOvr>
    <a:masterClrMapping/>
  </p:clrMapOvr>
</p:sldLayout>
</file>

<file path=ppt/slideLayouts/slideLayout16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50965533"/>
      </p:ext>
    </p:extLst>
  </p:cSld>
  <p:clrMapOvr>
    <a:masterClrMapping/>
  </p:clrMapOvr>
</p:sldLayout>
</file>

<file path=ppt/slideLayouts/slideLayout16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4461288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" name="Google Shape;1228;p11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9" name="Google Shape;1229;p11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0" name="Google Shape;1230;p11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1" name="Google Shape;1231;p11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32" name="Google Shape;1232;p11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01352652"/>
      </p:ext>
    </p:extLst>
  </p:cSld>
  <p:clrMapOvr>
    <a:masterClrMapping/>
  </p:clrMapOvr>
</p:sldLayout>
</file>

<file path=ppt/slideLayouts/slideLayout1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889195"/>
      </p:ext>
    </p:extLst>
  </p:cSld>
  <p:clrMapOvr>
    <a:masterClrMapping/>
  </p:clrMapOvr>
</p:sldLayout>
</file>

<file path=ppt/slideLayouts/slideLayout16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89257435"/>
      </p:ext>
    </p:extLst>
  </p:cSld>
  <p:clrMapOvr>
    <a:masterClrMapping/>
  </p:clrMapOvr>
</p:sldLayout>
</file>

<file path=ppt/slideLayouts/slideLayout1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0902219"/>
      </p:ext>
    </p:extLst>
  </p:cSld>
  <p:clrMapOvr>
    <a:masterClrMapping/>
  </p:clrMapOvr>
</p:sldLayout>
</file>

<file path=ppt/slideLayouts/slideLayout1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23979757"/>
      </p:ext>
    </p:extLst>
  </p:cSld>
  <p:clrMapOvr>
    <a:masterClrMapping/>
  </p:clrMapOvr>
</p:sldLayout>
</file>

<file path=ppt/slideLayouts/slideLayout1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379765"/>
      </p:ext>
    </p:extLst>
  </p:cSld>
  <p:clrMapOvr>
    <a:masterClrMapping/>
  </p:clrMapOvr>
</p:sldLayout>
</file>

<file path=ppt/slideLayouts/slideLayout16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288521"/>
      </p:ext>
    </p:extLst>
  </p:cSld>
  <p:clrMapOvr>
    <a:masterClrMapping/>
  </p:clrMapOvr>
</p:sldLayout>
</file>

<file path=ppt/slideLayouts/slideLayout16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064931"/>
      </p:ext>
    </p:extLst>
  </p:cSld>
  <p:clrMapOvr>
    <a:masterClrMapping/>
  </p:clrMapOvr>
</p:sldLayout>
</file>

<file path=ppt/slideLayouts/slideLayout16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02465615"/>
      </p:ext>
    </p:extLst>
  </p:cSld>
  <p:clrMapOvr>
    <a:masterClrMapping/>
  </p:clrMapOvr>
</p:sldLayout>
</file>

<file path=ppt/slideLayouts/slideLayout16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9031720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" name="Google Shape;1234;p11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35" name="Google Shape;1235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36" name="Google Shape;1236;p11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7" name="Google Shape;1237;p11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8" name="Google Shape;1238;p11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6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45669412"/>
      </p:ext>
    </p:extLst>
  </p:cSld>
  <p:clrMapOvr>
    <a:masterClrMapping/>
  </p:clrMapOvr>
</p:sldLayout>
</file>

<file path=ppt/slideLayouts/slideLayout16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28560748"/>
      </p:ext>
    </p:extLst>
  </p:cSld>
  <p:clrMapOvr>
    <a:masterClrMapping/>
  </p:clrMapOvr>
</p:sldLayout>
</file>

<file path=ppt/slideLayouts/slideLayout1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5062777"/>
      </p:ext>
    </p:extLst>
  </p:cSld>
  <p:clrMapOvr>
    <a:masterClrMapping/>
  </p:clrMapOvr>
</p:sldLayout>
</file>

<file path=ppt/slideLayouts/slideLayout16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43208306"/>
      </p:ext>
    </p:extLst>
  </p:cSld>
  <p:clrMapOvr>
    <a:masterClrMapping/>
  </p:clrMapOvr>
</p:sldLayout>
</file>

<file path=ppt/slideLayouts/slideLayout16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354488"/>
      </p:ext>
    </p:extLst>
  </p:cSld>
  <p:clrMapOvr>
    <a:masterClrMapping/>
  </p:clrMapOvr>
</p:sldLayout>
</file>

<file path=ppt/slideLayouts/slideLayout16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983108"/>
      </p:ext>
    </p:extLst>
  </p:cSld>
  <p:clrMapOvr>
    <a:masterClrMapping/>
  </p:clrMapOvr>
</p:sldLayout>
</file>

<file path=ppt/slideLayouts/slideLayout16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248744"/>
      </p:ext>
    </p:extLst>
  </p:cSld>
  <p:clrMapOvr>
    <a:masterClrMapping/>
  </p:clrMapOvr>
</p:sldLayout>
</file>

<file path=ppt/slideLayouts/slideLayout16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620367"/>
      </p:ext>
    </p:extLst>
  </p:cSld>
  <p:clrMapOvr>
    <a:masterClrMapping/>
  </p:clrMapOvr>
</p:sldLayout>
</file>

<file path=ppt/slideLayouts/slideLayout1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77352387"/>
      </p:ext>
    </p:extLst>
  </p:cSld>
  <p:clrMapOvr>
    <a:masterClrMapping/>
  </p:clrMapOvr>
</p:sldLayout>
</file>

<file path=ppt/slideLayouts/slideLayout1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6640519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12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1" name="Google Shape;1241;p12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2" name="Google Shape;1242;p12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3" name="Google Shape;1243;p12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4" name="Google Shape;1244;p12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45" name="Google Shape;1245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415479"/>
      </p:ext>
    </p:extLst>
  </p:cSld>
  <p:clrMapOvr>
    <a:masterClrMapping/>
  </p:clrMapOvr>
</p:sldLayout>
</file>

<file path=ppt/slideLayouts/slideLayout16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269210"/>
      </p:ext>
    </p:extLst>
  </p:cSld>
  <p:clrMapOvr>
    <a:masterClrMapping/>
  </p:clrMapOvr>
</p:sldLayout>
</file>

<file path=ppt/slideLayouts/slideLayout16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01755966"/>
      </p:ext>
    </p:extLst>
  </p:cSld>
  <p:clrMapOvr>
    <a:masterClrMapping/>
  </p:clrMapOvr>
</p:sldLayout>
</file>

<file path=ppt/slideLayouts/slideLayout16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48550879"/>
      </p:ext>
    </p:extLst>
  </p:cSld>
  <p:clrMapOvr>
    <a:masterClrMapping/>
  </p:clrMapOvr>
</p:sldLayout>
</file>

<file path=ppt/slideLayouts/slideLayout16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4526086"/>
      </p:ext>
    </p:extLst>
  </p:cSld>
  <p:clrMapOvr>
    <a:masterClrMapping/>
  </p:clrMapOvr>
</p:sldLayout>
</file>

<file path=ppt/slideLayouts/slideLayout16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39387519"/>
      </p:ext>
    </p:extLst>
  </p:cSld>
  <p:clrMapOvr>
    <a:masterClrMapping/>
  </p:clrMapOvr>
</p:sldLayout>
</file>

<file path=ppt/slideLayouts/slideLayout1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93113"/>
      </p:ext>
    </p:extLst>
  </p:cSld>
  <p:clrMapOvr>
    <a:masterClrMapping/>
  </p:clrMapOvr>
</p:sldLayout>
</file>

<file path=ppt/slideLayouts/slideLayout16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21377941"/>
      </p:ext>
    </p:extLst>
  </p:cSld>
  <p:clrMapOvr>
    <a:masterClrMapping/>
  </p:clrMapOvr>
</p:sldLayout>
</file>

<file path=ppt/slideLayouts/slideLayout1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84805211"/>
      </p:ext>
    </p:extLst>
  </p:cSld>
  <p:clrMapOvr>
    <a:masterClrMapping/>
  </p:clrMapOvr>
</p:sldLayout>
</file>

<file path=ppt/slideLayouts/slideLayout1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2210169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" name="Google Shape;1247;p12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8" name="Google Shape;1248;p12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9" name="Google Shape;1249;p12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50" name="Google Shape;1250;p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1" name="Google Shape;1251;p1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52" name="Google Shape;1252;p12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3" name="Google Shape;1253;p12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4" name="Google Shape;1254;p12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55" name="Google Shape;1255;p12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737061"/>
      </p:ext>
    </p:extLst>
  </p:cSld>
  <p:clrMapOvr>
    <a:masterClrMapping/>
  </p:clrMapOvr>
</p:sldLayout>
</file>

<file path=ppt/slideLayouts/slideLayout16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897165"/>
      </p:ext>
    </p:extLst>
  </p:cSld>
  <p:clrMapOvr>
    <a:masterClrMapping/>
  </p:clrMapOvr>
</p:sldLayout>
</file>

<file path=ppt/slideLayouts/slideLayout16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5090048"/>
      </p:ext>
    </p:extLst>
  </p:cSld>
  <p:clrMapOvr>
    <a:masterClrMapping/>
  </p:clrMapOvr>
</p:sldLayout>
</file>

<file path=ppt/slideLayouts/slideLayout16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79784359"/>
      </p:ext>
    </p:extLst>
  </p:cSld>
  <p:clrMapOvr>
    <a:masterClrMapping/>
  </p:clrMapOvr>
</p:sldLayout>
</file>

<file path=ppt/slideLayouts/slideLayout16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63405645"/>
      </p:ext>
    </p:extLst>
  </p:cSld>
  <p:clrMapOvr>
    <a:masterClrMapping/>
  </p:clrMapOvr>
</p:sldLayout>
</file>

<file path=ppt/slideLayouts/slideLayout16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08314456"/>
      </p:ext>
    </p:extLst>
  </p:cSld>
  <p:clrMapOvr>
    <a:masterClrMapping/>
  </p:clrMapOvr>
</p:sldLayout>
</file>

<file path=ppt/slideLayouts/slideLayout1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430300"/>
      </p:ext>
    </p:extLst>
  </p:cSld>
  <p:clrMapOvr>
    <a:masterClrMapping/>
  </p:clrMapOvr>
</p:sldLayout>
</file>

<file path=ppt/slideLayouts/slideLayout16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71839252"/>
      </p:ext>
    </p:extLst>
  </p:cSld>
  <p:clrMapOvr>
    <a:masterClrMapping/>
  </p:clrMapOvr>
</p:sldLayout>
</file>

<file path=ppt/slideLayouts/slideLayout16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5066851"/>
      </p:ext>
    </p:extLst>
  </p:cSld>
  <p:clrMapOvr>
    <a:masterClrMapping/>
  </p:clrMapOvr>
</p:sldLayout>
</file>

<file path=ppt/slideLayouts/slideLayout16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00310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" name="Google Shape;139;p1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0" name="Google Shape;140;p1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3" name="Google Shape;143;p1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4" name="Google Shape;144;p1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1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7" name="Google Shape;1257;p12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8" name="Google Shape;1258;p12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9" name="Google Shape;1259;p12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0" name="Google Shape;1260;p12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61" name="Google Shape;1261;p12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845773"/>
      </p:ext>
    </p:extLst>
  </p:cSld>
  <p:clrMapOvr>
    <a:masterClrMapping/>
  </p:clrMapOvr>
</p:sldLayout>
</file>

<file path=ppt/slideLayouts/slideLayout17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2688409"/>
      </p:ext>
    </p:extLst>
  </p:cSld>
  <p:clrMapOvr>
    <a:masterClrMapping/>
  </p:clrMapOvr>
</p:sldLayout>
</file>

<file path=ppt/slideLayouts/slideLayout17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607929"/>
      </p:ext>
    </p:extLst>
  </p:cSld>
  <p:clrMapOvr>
    <a:masterClrMapping/>
  </p:clrMapOvr>
</p:sldLayout>
</file>

<file path=ppt/slideLayouts/slideLayout17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36040847"/>
      </p:ext>
    </p:extLst>
  </p:cSld>
  <p:clrMapOvr>
    <a:masterClrMapping/>
  </p:clrMapOvr>
</p:sldLayout>
</file>

<file path=ppt/slideLayouts/slideLayout17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192784"/>
      </p:ext>
    </p:extLst>
  </p:cSld>
  <p:clrMapOvr>
    <a:masterClrMapping/>
  </p:clrMapOvr>
</p:sldLayout>
</file>

<file path=ppt/slideLayouts/slideLayout17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6678583"/>
      </p:ext>
    </p:extLst>
  </p:cSld>
  <p:clrMapOvr>
    <a:masterClrMapping/>
  </p:clrMapOvr>
</p:sldLayout>
</file>

<file path=ppt/slideLayouts/slideLayout17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96567"/>
      </p:ext>
    </p:extLst>
  </p:cSld>
  <p:clrMapOvr>
    <a:masterClrMapping/>
  </p:clrMapOvr>
</p:sldLayout>
</file>

<file path=ppt/slideLayouts/slideLayout17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72255477"/>
      </p:ext>
    </p:extLst>
  </p:cSld>
  <p:clrMapOvr>
    <a:masterClrMapping/>
  </p:clrMapOvr>
</p:sldLayout>
</file>

<file path=ppt/slideLayouts/slideLayout17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640188"/>
      </p:ext>
    </p:extLst>
  </p:cSld>
  <p:clrMapOvr>
    <a:masterClrMapping/>
  </p:clrMapOvr>
</p:sldLayout>
</file>

<file path=ppt/slideLayouts/slideLayout17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3400116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3" name="Google Shape;1263;p12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4" name="Google Shape;1264;p123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65" name="Google Shape;1265;p12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6" name="Google Shape;1266;p12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7" name="Google Shape;1267;p12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531895"/>
      </p:ext>
    </p:extLst>
  </p:cSld>
  <p:clrMapOvr>
    <a:masterClrMapping/>
  </p:clrMapOvr>
</p:sldLayout>
</file>

<file path=ppt/slideLayouts/slideLayout17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666309"/>
      </p:ext>
    </p:extLst>
  </p:cSld>
  <p:clrMapOvr>
    <a:masterClrMapping/>
  </p:clrMapOvr>
</p:sldLayout>
</file>

<file path=ppt/slideLayouts/slideLayout17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877661"/>
      </p:ext>
    </p:extLst>
  </p:cSld>
  <p:clrMapOvr>
    <a:masterClrMapping/>
  </p:clrMapOvr>
</p:sldLayout>
</file>

<file path=ppt/slideLayouts/slideLayout17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330047081"/>
      </p:ext>
    </p:extLst>
  </p:cSld>
  <p:clrMapOvr>
    <a:masterClrMapping/>
  </p:clrMapOvr>
</p:sldLayout>
</file>

<file path=ppt/slideLayouts/slideLayout17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449340"/>
      </p:ext>
    </p:extLst>
  </p:cSld>
  <p:clrMapOvr>
    <a:masterClrMapping/>
  </p:clrMapOvr>
</p:sldLayout>
</file>

<file path=ppt/slideLayouts/slideLayout17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824857"/>
      </p:ext>
    </p:extLst>
  </p:cSld>
  <p:clrMapOvr>
    <a:masterClrMapping/>
  </p:clrMapOvr>
</p:sldLayout>
</file>

<file path=ppt/slideLayouts/slideLayout17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877945"/>
      </p:ext>
    </p:extLst>
  </p:cSld>
  <p:clrMapOvr>
    <a:masterClrMapping/>
  </p:clrMapOvr>
</p:sldLayout>
</file>

<file path=ppt/slideLayouts/slideLayout17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716631996"/>
      </p:ext>
    </p:extLst>
  </p:cSld>
  <p:clrMapOvr>
    <a:masterClrMapping/>
  </p:clrMapOvr>
</p:sldLayout>
</file>

<file path=ppt/slideLayouts/slideLayout17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6407661"/>
      </p:ext>
    </p:extLst>
  </p:cSld>
  <p:clrMapOvr>
    <a:masterClrMapping/>
  </p:clrMapOvr>
</p:sldLayout>
</file>

<file path=ppt/slideLayouts/slideLayout17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508839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" name="Google Shape;1269;p12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0" name="Google Shape;1270;p12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1" name="Google Shape;1271;p12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2" name="Google Shape;1272;p12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3" name="Google Shape;1273;p12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74" name="Google Shape;1274;p124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055829109"/>
      </p:ext>
    </p:extLst>
  </p:cSld>
  <p:clrMapOvr>
    <a:masterClrMapping/>
  </p:clrMapOvr>
</p:sldLayout>
</file>

<file path=ppt/slideLayouts/slideLayout17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393972"/>
      </p:ext>
    </p:extLst>
  </p:cSld>
  <p:clrMapOvr>
    <a:masterClrMapping/>
  </p:clrMapOvr>
</p:sldLayout>
</file>

<file path=ppt/slideLayouts/slideLayout17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8465673"/>
      </p:ext>
    </p:extLst>
  </p:cSld>
  <p:clrMapOvr>
    <a:masterClrMapping/>
  </p:clrMapOvr>
</p:sldLayout>
</file>

<file path=ppt/slideLayouts/slideLayout17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118728"/>
      </p:ext>
    </p:extLst>
  </p:cSld>
  <p:clrMapOvr>
    <a:masterClrMapping/>
  </p:clrMapOvr>
</p:sldLayout>
</file>

<file path=ppt/slideLayouts/slideLayout17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70884542"/>
      </p:ext>
    </p:extLst>
  </p:cSld>
  <p:clrMapOvr>
    <a:masterClrMapping/>
  </p:clrMapOvr>
</p:sldLayout>
</file>

<file path=ppt/slideLayouts/slideLayout17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254961"/>
      </p:ext>
    </p:extLst>
  </p:cSld>
  <p:clrMapOvr>
    <a:masterClrMapping/>
  </p:clrMapOvr>
</p:sldLayout>
</file>

<file path=ppt/slideLayouts/slideLayout17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610400"/>
      </p:ext>
    </p:extLst>
  </p:cSld>
  <p:clrMapOvr>
    <a:masterClrMapping/>
  </p:clrMapOvr>
</p:sldLayout>
</file>

<file path=ppt/slideLayouts/slideLayout17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959922481"/>
      </p:ext>
    </p:extLst>
  </p:cSld>
  <p:clrMapOvr>
    <a:masterClrMapping/>
  </p:clrMapOvr>
</p:sldLayout>
</file>

<file path=ppt/slideLayouts/slideLayout17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231812"/>
      </p:ext>
    </p:extLst>
  </p:cSld>
  <p:clrMapOvr>
    <a:masterClrMapping/>
  </p:clrMapOvr>
</p:sldLayout>
</file>

<file path=ppt/slideLayouts/slideLayout17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254722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6" name="Google Shape;1276;p12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7" name="Google Shape;1277;p12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8" name="Google Shape;1278;p12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9" name="Google Shape;1279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0" name="Google Shape;1280;p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81" name="Google Shape;1281;p12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2" name="Google Shape;1282;p12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3" name="Google Shape;1283;p12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84" name="Google Shape;1284;p12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68971617"/>
      </p:ext>
    </p:extLst>
  </p:cSld>
  <p:clrMapOvr>
    <a:masterClrMapping/>
  </p:clrMapOvr>
</p:sldLayout>
</file>

<file path=ppt/slideLayouts/slideLayout17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4214486"/>
      </p:ext>
    </p:extLst>
  </p:cSld>
  <p:clrMapOvr>
    <a:masterClrMapping/>
  </p:clrMapOvr>
</p:sldLayout>
</file>

<file path=ppt/slideLayouts/slideLayout1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73718664"/>
      </p:ext>
    </p:extLst>
  </p:cSld>
  <p:clrMapOvr>
    <a:masterClrMapping/>
  </p:clrMapOvr>
</p:sldLayout>
</file>

<file path=ppt/slideLayouts/slideLayout1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75196215"/>
      </p:ext>
    </p:extLst>
  </p:cSld>
  <p:clrMapOvr>
    <a:masterClrMapping/>
  </p:clrMapOvr>
</p:sldLayout>
</file>

<file path=ppt/slideLayouts/slideLayout1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360764"/>
      </p:ext>
    </p:extLst>
  </p:cSld>
  <p:clrMapOvr>
    <a:masterClrMapping/>
  </p:clrMapOvr>
</p:sldLayout>
</file>

<file path=ppt/slideLayouts/slideLayout17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381041"/>
      </p:ext>
    </p:extLst>
  </p:cSld>
  <p:clrMapOvr>
    <a:masterClrMapping/>
  </p:clrMapOvr>
</p:sldLayout>
</file>

<file path=ppt/slideLayouts/slideLayout17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55112013"/>
      </p:ext>
    </p:extLst>
  </p:cSld>
  <p:clrMapOvr>
    <a:masterClrMapping/>
  </p:clrMapOvr>
</p:sldLayout>
</file>

<file path=ppt/slideLayouts/slideLayout17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50343269"/>
      </p:ext>
    </p:extLst>
  </p:cSld>
  <p:clrMapOvr>
    <a:masterClrMapping/>
  </p:clrMapOvr>
</p:sldLayout>
</file>

<file path=ppt/slideLayouts/slideLayout17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39512946"/>
      </p:ext>
    </p:extLst>
  </p:cSld>
  <p:clrMapOvr>
    <a:masterClrMapping/>
  </p:clrMapOvr>
</p:sldLayout>
</file>

<file path=ppt/slideLayouts/slideLayout17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14816814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6" name="Google Shape;1286;p12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7" name="Google Shape;1287;p12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8" name="Google Shape;1288;p12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9" name="Google Shape;1289;p12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90" name="Google Shape;1290;p12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4265919"/>
      </p:ext>
    </p:extLst>
  </p:cSld>
  <p:clrMapOvr>
    <a:masterClrMapping/>
  </p:clrMapOvr>
</p:sldLayout>
</file>

<file path=ppt/slideLayouts/slideLayout17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34237757"/>
      </p:ext>
    </p:extLst>
  </p:cSld>
  <p:clrMapOvr>
    <a:masterClrMapping/>
  </p:clrMapOvr>
</p:sldLayout>
</file>

<file path=ppt/slideLayouts/slideLayout17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3107158"/>
      </p:ext>
    </p:extLst>
  </p:cSld>
  <p:clrMapOvr>
    <a:masterClrMapping/>
  </p:clrMapOvr>
</p:sldLayout>
</file>

<file path=ppt/slideLayouts/slideLayout17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2998211"/>
      </p:ext>
    </p:extLst>
  </p:cSld>
  <p:clrMapOvr>
    <a:masterClrMapping/>
  </p:clrMapOvr>
</p:sldLayout>
</file>

<file path=ppt/slideLayouts/slideLayout1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65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09537676"/>
      </p:ext>
    </p:extLst>
  </p:cSld>
  <p:clrMapOvr>
    <a:masterClrMapping/>
  </p:clrMapOvr>
</p:sldLayout>
</file>

<file path=ppt/slideLayouts/slideLayout1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42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8531527"/>
      </p:ext>
    </p:extLst>
  </p:cSld>
  <p:clrMapOvr>
    <a:masterClrMapping/>
  </p:clrMapOvr>
</p:sldLayout>
</file>

<file path=ppt/slideLayouts/slideLayout17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213593976"/>
      </p:ext>
    </p:extLst>
  </p:cSld>
  <p:clrMapOvr>
    <a:masterClrMapping/>
  </p:clrMapOvr>
</p:sldLayout>
</file>

<file path=ppt/slideLayouts/slideLayout17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9459672"/>
      </p:ext>
    </p:extLst>
  </p:cSld>
  <p:clrMapOvr>
    <a:masterClrMapping/>
  </p:clrMapOvr>
</p:sldLayout>
</file>

<file path=ppt/slideLayouts/slideLayout17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98981356"/>
      </p:ext>
    </p:extLst>
  </p:cSld>
  <p:clrMapOvr>
    <a:masterClrMapping/>
  </p:clrMapOvr>
</p:sldLayout>
</file>

<file path=ppt/slideLayouts/slideLayout17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255564965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2" name="Google Shape;1292;p12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93" name="Google Shape;1293;p12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94" name="Google Shape;1294;p12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5" name="Google Shape;1295;p12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6" name="Google Shape;1296;p12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7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540662960"/>
      </p:ext>
    </p:extLst>
  </p:cSld>
  <p:clrMapOvr>
    <a:masterClrMapping/>
  </p:clrMapOvr>
</p:sldLayout>
</file>

<file path=ppt/slideLayouts/slideLayout17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2038266"/>
      </p:ext>
    </p:extLst>
  </p:cSld>
  <p:clrMapOvr>
    <a:masterClrMapping/>
  </p:clrMapOvr>
</p:sldLayout>
</file>

<file path=ppt/slideLayouts/slideLayout17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043041"/>
      </p:ext>
    </p:extLst>
  </p:cSld>
  <p:clrMapOvr>
    <a:masterClrMapping/>
  </p:clrMapOvr>
</p:sldLayout>
</file>

<file path=ppt/slideLayouts/slideLayout17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554852"/>
      </p:ext>
    </p:extLst>
  </p:cSld>
  <p:clrMapOvr>
    <a:masterClrMapping/>
  </p:clrMapOvr>
</p:sldLayout>
</file>

<file path=ppt/slideLayouts/slideLayout17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42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26072653"/>
      </p:ext>
    </p:extLst>
  </p:cSld>
  <p:clrMapOvr>
    <a:masterClrMapping/>
  </p:clrMapOvr>
</p:sldLayout>
</file>

<file path=ppt/slideLayouts/slideLayout17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200459739"/>
      </p:ext>
    </p:extLst>
  </p:cSld>
  <p:clrMapOvr>
    <a:masterClrMapping/>
  </p:clrMapOvr>
</p:sldLayout>
</file>

<file path=ppt/slideLayouts/slideLayout17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4935496"/>
      </p:ext>
    </p:extLst>
  </p:cSld>
  <p:clrMapOvr>
    <a:masterClrMapping/>
  </p:clrMapOvr>
</p:sldLayout>
</file>

<file path=ppt/slideLayouts/slideLayout17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741183"/>
      </p:ext>
    </p:extLst>
  </p:cSld>
  <p:clrMapOvr>
    <a:masterClrMapping/>
  </p:clrMapOvr>
</p:sldLayout>
</file>

<file path=ppt/slideLayouts/slideLayout17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75548412"/>
      </p:ext>
    </p:extLst>
  </p:cSld>
  <p:clrMapOvr>
    <a:masterClrMapping/>
  </p:clrMapOvr>
</p:sldLayout>
</file>

<file path=ppt/slideLayouts/slideLayout17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37226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8" name="Google Shape;1298;p12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9" name="Google Shape;1299;p12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0" name="Google Shape;1300;p12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1" name="Google Shape;1301;p12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2" name="Google Shape;1302;p12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03" name="Google Shape;1303;p12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5610844"/>
      </p:ext>
    </p:extLst>
  </p:cSld>
  <p:clrMapOvr>
    <a:masterClrMapping/>
  </p:clrMapOvr>
</p:sldLayout>
</file>

<file path=ppt/slideLayouts/slideLayout17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51351472"/>
      </p:ext>
    </p:extLst>
  </p:cSld>
  <p:clrMapOvr>
    <a:masterClrMapping/>
  </p:clrMapOvr>
</p:sldLayout>
</file>

<file path=ppt/slideLayouts/slideLayout17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18818103"/>
      </p:ext>
    </p:extLst>
  </p:cSld>
  <p:clrMapOvr>
    <a:masterClrMapping/>
  </p:clrMapOvr>
</p:sldLayout>
</file>

<file path=ppt/slideLayouts/slideLayout17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70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94241985"/>
      </p:ext>
    </p:extLst>
  </p:cSld>
  <p:clrMapOvr>
    <a:masterClrMapping/>
  </p:clrMapOvr>
</p:sldLayout>
</file>

<file path=ppt/slideLayouts/slideLayout1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43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46432844"/>
      </p:ext>
    </p:extLst>
  </p:cSld>
  <p:clrMapOvr>
    <a:masterClrMapping/>
  </p:clrMapOvr>
</p:sldLayout>
</file>

<file path=ppt/slideLayouts/slideLayout17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43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34383078"/>
      </p:ext>
    </p:extLst>
  </p:cSld>
  <p:clrMapOvr>
    <a:masterClrMapping/>
  </p:clrMapOvr>
</p:sldLayout>
</file>

<file path=ppt/slideLayouts/slideLayout17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42287848"/>
      </p:ext>
    </p:extLst>
  </p:cSld>
  <p:clrMapOvr>
    <a:masterClrMapping/>
  </p:clrMapOvr>
</p:sldLayout>
</file>

<file path=ppt/slideLayouts/slideLayout17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926279409"/>
      </p:ext>
    </p:extLst>
  </p:cSld>
  <p:clrMapOvr>
    <a:masterClrMapping/>
  </p:clrMapOvr>
</p:sldLayout>
</file>

<file path=ppt/slideLayouts/slideLayout17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573453"/>
      </p:ext>
    </p:extLst>
  </p:cSld>
  <p:clrMapOvr>
    <a:masterClrMapping/>
  </p:clrMapOvr>
</p:sldLayout>
</file>

<file path=ppt/slideLayouts/slideLayout17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05223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5" name="Google Shape;1305;p12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6" name="Google Shape;1306;p12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7" name="Google Shape;1307;p1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8" name="Google Shape;1308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9" name="Google Shape;1309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10" name="Google Shape;1310;p12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1" name="Google Shape;1311;p12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2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3" name="Google Shape;1313;p12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80453310"/>
      </p:ext>
    </p:extLst>
  </p:cSld>
  <p:clrMapOvr>
    <a:masterClrMapping/>
  </p:clrMapOvr>
</p:sldLayout>
</file>

<file path=ppt/slideLayouts/slideLayout1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07656652"/>
      </p:ext>
    </p:extLst>
  </p:cSld>
  <p:clrMapOvr>
    <a:masterClrMapping/>
  </p:clrMapOvr>
</p:sldLayout>
</file>

<file path=ppt/slideLayouts/slideLayout17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5546972"/>
      </p:ext>
    </p:extLst>
  </p:cSld>
  <p:clrMapOvr>
    <a:masterClrMapping/>
  </p:clrMapOvr>
</p:sldLayout>
</file>

<file path=ppt/slideLayouts/slideLayout17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675145"/>
      </p:ext>
    </p:extLst>
  </p:cSld>
  <p:clrMapOvr>
    <a:masterClrMapping/>
  </p:clrMapOvr>
</p:sldLayout>
</file>

<file path=ppt/slideLayouts/slideLayout17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591224"/>
      </p:ext>
    </p:extLst>
  </p:cSld>
  <p:clrMapOvr>
    <a:masterClrMapping/>
  </p:clrMapOvr>
</p:sldLayout>
</file>

<file path=ppt/slideLayouts/slideLayout17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56657091"/>
      </p:ext>
    </p:extLst>
  </p:cSld>
  <p:clrMapOvr>
    <a:masterClrMapping/>
  </p:clrMapOvr>
</p:sldLayout>
</file>

<file path=ppt/slideLayouts/slideLayout17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32804825"/>
      </p:ext>
    </p:extLst>
  </p:cSld>
  <p:clrMapOvr>
    <a:masterClrMapping/>
  </p:clrMapOvr>
</p:sldLayout>
</file>

<file path=ppt/slideLayouts/slideLayout17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85808849"/>
      </p:ext>
    </p:extLst>
  </p:cSld>
  <p:clrMapOvr>
    <a:masterClrMapping/>
  </p:clrMapOvr>
</p:sldLayout>
</file>

<file path=ppt/slideLayouts/slideLayout17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61749798"/>
      </p:ext>
    </p:extLst>
  </p:cSld>
  <p:clrMapOvr>
    <a:masterClrMapping/>
  </p:clrMapOvr>
</p:sldLayout>
</file>

<file path=ppt/slideLayouts/slideLayout17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81748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" name="Google Shape;1315;p1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6" name="Google Shape;1316;p1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7" name="Google Shape;1317;p1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18" name="Google Shape;1318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" name="Google Shape;1319;p1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20" name="Google Shape;1320;p1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1" name="Google Shape;1321;p1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2" name="Google Shape;1322;p1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3" name="Google Shape;1323;p13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43998873"/>
      </p:ext>
    </p:extLst>
  </p:cSld>
  <p:clrMapOvr>
    <a:masterClrMapping/>
  </p:clrMapOvr>
</p:sldLayout>
</file>

<file path=ppt/slideLayouts/slideLayout17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4213865571"/>
      </p:ext>
    </p:extLst>
  </p:cSld>
  <p:clrMapOvr>
    <a:masterClrMapping/>
  </p:clrMapOvr>
</p:sldLayout>
</file>

<file path=ppt/slideLayouts/slideLayout17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1244650"/>
      </p:ext>
    </p:extLst>
  </p:cSld>
  <p:clrMapOvr>
    <a:masterClrMapping/>
  </p:clrMapOvr>
</p:sldLayout>
</file>

<file path=ppt/slideLayouts/slideLayout17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94029787"/>
      </p:ext>
    </p:extLst>
  </p:cSld>
  <p:clrMapOvr>
    <a:masterClrMapping/>
  </p:clrMapOvr>
</p:sldLayout>
</file>

<file path=ppt/slideLayouts/slideLayout17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1013267691"/>
      </p:ext>
    </p:extLst>
  </p:cSld>
  <p:clrMapOvr>
    <a:masterClrMapping/>
  </p:clrMapOvr>
</p:sldLayout>
</file>

<file path=ppt/slideLayouts/slideLayout17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39642634"/>
      </p:ext>
    </p:extLst>
  </p:cSld>
  <p:clrMapOvr>
    <a:masterClrMapping/>
  </p:clrMapOvr>
</p:sldLayout>
</file>

<file path=ppt/slideLayouts/slideLayout17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818956"/>
      </p:ext>
    </p:extLst>
  </p:cSld>
  <p:clrMapOvr>
    <a:masterClrMapping/>
  </p:clrMapOvr>
</p:sldLayout>
</file>

<file path=ppt/slideLayouts/slideLayout17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8350554"/>
      </p:ext>
    </p:extLst>
  </p:cSld>
  <p:clrMapOvr>
    <a:masterClrMapping/>
  </p:clrMapOvr>
</p:sldLayout>
</file>

<file path=ppt/slideLayouts/slideLayout17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1348304924"/>
      </p:ext>
    </p:extLst>
  </p:cSld>
  <p:clrMapOvr>
    <a:masterClrMapping/>
  </p:clrMapOvr>
</p:sldLayout>
</file>

<file path=ppt/slideLayouts/slideLayout17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56279246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p1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" name="Google Shape;1326;p1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7" name="Google Shape;1327;p1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8" name="Google Shape;1328;p1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9" name="Google Shape;1329;p13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7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3571096"/>
      </p:ext>
    </p:extLst>
  </p:cSld>
  <p:clrMapOvr>
    <a:masterClrMapping/>
  </p:clrMapOvr>
</p:sldLayout>
</file>

<file path=ppt/slideLayouts/slideLayout17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3169596"/>
      </p:ext>
    </p:extLst>
  </p:cSld>
  <p:clrMapOvr>
    <a:masterClrMapping/>
  </p:clrMapOvr>
</p:sldLayout>
</file>

<file path=ppt/slideLayouts/slideLayout17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5642206"/>
      </p:ext>
    </p:extLst>
  </p:cSld>
  <p:clrMapOvr>
    <a:masterClrMapping/>
  </p:clrMapOvr>
</p:sldLayout>
</file>

<file path=ppt/slideLayouts/slideLayout17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891678628"/>
      </p:ext>
    </p:extLst>
  </p:cSld>
  <p:clrMapOvr>
    <a:masterClrMapping/>
  </p:clrMapOvr>
</p:sldLayout>
</file>

<file path=ppt/slideLayouts/slideLayout17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231999"/>
      </p:ext>
    </p:extLst>
  </p:cSld>
  <p:clrMapOvr>
    <a:masterClrMapping/>
  </p:clrMapOvr>
</p:sldLayout>
</file>

<file path=ppt/slideLayouts/slideLayout17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22494583"/>
      </p:ext>
    </p:extLst>
  </p:cSld>
  <p:clrMapOvr>
    <a:masterClrMapping/>
  </p:clrMapOvr>
</p:sldLayout>
</file>

<file path=ppt/slideLayouts/slideLayout17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45893717"/>
      </p:ext>
    </p:extLst>
  </p:cSld>
  <p:clrMapOvr>
    <a:masterClrMapping/>
  </p:clrMapOvr>
</p:sldLayout>
</file>

<file path=ppt/slideLayouts/slideLayout17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02045199"/>
      </p:ext>
    </p:extLst>
  </p:cSld>
  <p:clrMapOvr>
    <a:masterClrMapping/>
  </p:clrMapOvr>
</p:sldLayout>
</file>

<file path=ppt/slideLayouts/slideLayout17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77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87660932"/>
      </p:ext>
    </p:extLst>
  </p:cSld>
  <p:clrMapOvr>
    <a:masterClrMapping/>
  </p:clrMapOvr>
</p:sldLayout>
</file>

<file path=ppt/slideLayouts/slideLayout17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44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8012895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Google Shape;158;p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9" name="Google Shape;159;p1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" name="Google Shape;160;p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" name="Google Shape;161;p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" name="Google Shape;163;p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" name="Google Shape;166;p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" name="Google Shape;167;p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" name="Google Shape;1331;p1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32" name="Google Shape;1332;p13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33" name="Google Shape;1333;p1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4" name="Google Shape;1334;p1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5" name="Google Shape;1335;p1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44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47266650"/>
      </p:ext>
    </p:extLst>
  </p:cSld>
  <p:clrMapOvr>
    <a:masterClrMapping/>
  </p:clrMapOvr>
</p:sldLayout>
</file>

<file path=ppt/slideLayouts/slideLayout18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55872455"/>
      </p:ext>
    </p:extLst>
  </p:cSld>
  <p:clrMapOvr>
    <a:masterClrMapping/>
  </p:clrMapOvr>
</p:sldLayout>
</file>

<file path=ppt/slideLayouts/slideLayout18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8693578"/>
      </p:ext>
    </p:extLst>
  </p:cSld>
  <p:clrMapOvr>
    <a:masterClrMapping/>
  </p:clrMapOvr>
</p:sldLayout>
</file>

<file path=ppt/slideLayouts/slideLayout18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1733110"/>
      </p:ext>
    </p:extLst>
  </p:cSld>
  <p:clrMapOvr>
    <a:masterClrMapping/>
  </p:clrMapOvr>
</p:sldLayout>
</file>

<file path=ppt/slideLayouts/slideLayout18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431028"/>
      </p:ext>
    </p:extLst>
  </p:cSld>
  <p:clrMapOvr>
    <a:masterClrMapping/>
  </p:clrMapOvr>
</p:sldLayout>
</file>

<file path=ppt/slideLayouts/slideLayout18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54011013"/>
      </p:ext>
    </p:extLst>
  </p:cSld>
  <p:clrMapOvr>
    <a:masterClrMapping/>
  </p:clrMapOvr>
</p:sldLayout>
</file>

<file path=ppt/slideLayouts/slideLayout18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39579355"/>
      </p:ext>
    </p:extLst>
  </p:cSld>
  <p:clrMapOvr>
    <a:masterClrMapping/>
  </p:clrMapOvr>
</p:sldLayout>
</file>

<file path=ppt/slideLayouts/slideLayout18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058566"/>
      </p:ext>
    </p:extLst>
  </p:cSld>
  <p:clrMapOvr>
    <a:masterClrMapping/>
  </p:clrMapOvr>
</p:sldLayout>
</file>

<file path=ppt/slideLayouts/slideLayout18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116154"/>
      </p:ext>
    </p:extLst>
  </p:cSld>
  <p:clrMapOvr>
    <a:masterClrMapping/>
  </p:clrMapOvr>
</p:sldLayout>
</file>

<file path=ppt/slideLayouts/slideLayout18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34926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Google Shape;1337;p1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1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9" name="Google Shape;1339;p1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0" name="Google Shape;1340;p1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1" name="Google Shape;1341;p1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42" name="Google Shape;1342;p13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3524148"/>
      </p:ext>
    </p:extLst>
  </p:cSld>
  <p:clrMapOvr>
    <a:masterClrMapping/>
  </p:clrMapOvr>
</p:sldLayout>
</file>

<file path=ppt/slideLayouts/slideLayout18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5054939"/>
      </p:ext>
    </p:extLst>
  </p:cSld>
  <p:clrMapOvr>
    <a:masterClrMapping/>
  </p:clrMapOvr>
</p:sldLayout>
</file>

<file path=ppt/slideLayouts/slideLayout18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83392821"/>
      </p:ext>
    </p:extLst>
  </p:cSld>
  <p:clrMapOvr>
    <a:masterClrMapping/>
  </p:clrMapOvr>
</p:sldLayout>
</file>

<file path=ppt/slideLayouts/slideLayout18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27106712"/>
      </p:ext>
    </p:extLst>
  </p:cSld>
  <p:clrMapOvr>
    <a:masterClrMapping/>
  </p:clrMapOvr>
</p:sldLayout>
</file>

<file path=ppt/slideLayouts/slideLayout18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135103"/>
      </p:ext>
    </p:extLst>
  </p:cSld>
  <p:clrMapOvr>
    <a:masterClrMapping/>
  </p:clrMapOvr>
</p:sldLayout>
</file>

<file path=ppt/slideLayouts/slideLayout18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4253841"/>
      </p:ext>
    </p:extLst>
  </p:cSld>
  <p:clrMapOvr>
    <a:masterClrMapping/>
  </p:clrMapOvr>
</p:sldLayout>
</file>

<file path=ppt/slideLayouts/slideLayout18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oogle Shape;15;p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" name="Google Shape;16;p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" name="Google Shape;17;p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" name="Google Shape;18;p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;p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" name="Google Shape;20;p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" name="Google Shape;23;p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" name="Google Shape;24;p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07188267"/>
      </p:ext>
    </p:extLst>
  </p:cSld>
  <p:clrMapOvr>
    <a:masterClrMapping/>
  </p:clrMapOvr>
</p:sldLayout>
</file>

<file path=ppt/slideLayouts/slideLayout18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1_Title and Conten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oogle Shape;15;p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" name="Google Shape;16;p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" name="Google Shape;17;p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" name="Google Shape;18;p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;p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" name="Google Shape;20;p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" name="Google Shape;23;p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" name="Google Shape;24;p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38708907"/>
      </p:ext>
    </p:extLst>
  </p:cSld>
  <p:clrMapOvr>
    <a:masterClrMapping/>
  </p:clrMapOvr>
</p:sldLayout>
</file>

<file path=ppt/slideLayouts/slideLayout18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27;p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" name="Google Shape;29;p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0" name="Google Shape;30;p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1" name="Google Shape;31;p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2;p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3" name="Google Shape;33;p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75017254"/>
      </p:ext>
    </p:extLst>
  </p:cSld>
  <p:clrMapOvr>
    <a:masterClrMapping/>
  </p:clrMapOvr>
</p:sldLayout>
</file>

<file path=ppt/slideLayouts/slideLayout18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oogle Shape;35;p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" name="Google Shape;36;p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" name="Google Shape;37;p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" name="Google Shape;38;p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" name="Google Shape;40;p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" name="Google Shape;43;p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" name="Google Shape;44;p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0456619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4" name="Google Shape;1344;p1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5" name="Google Shape;1345;p1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6" name="Google Shape;1346;p1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7" name="Google Shape;1347;p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8" name="Google Shape;1348;p1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49" name="Google Shape;1349;p1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0" name="Google Shape;1350;p1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1" name="Google Shape;1351;p1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2" name="Google Shape;1352;p13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8" name="Google Shape;48;p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" name="Google Shape;49;p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" name="Google Shape;50;p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" name="Google Shape;51;p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" name="Google Shape;52;p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" name="Google Shape;53;p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" name="Google Shape;55;p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" name="Google Shape;56;p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74536555"/>
      </p:ext>
    </p:extLst>
  </p:cSld>
  <p:clrMapOvr>
    <a:masterClrMapping/>
  </p:clrMapOvr>
</p:sldLayout>
</file>

<file path=ppt/slideLayouts/slideLayout18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9855458"/>
      </p:ext>
    </p:extLst>
  </p:cSld>
  <p:clrMapOvr>
    <a:masterClrMapping/>
  </p:clrMapOvr>
</p:sldLayout>
</file>

<file path=ppt/slideLayouts/slideLayout18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67089230"/>
      </p:ext>
    </p:extLst>
  </p:cSld>
  <p:clrMapOvr>
    <a:masterClrMapping/>
  </p:clrMapOvr>
</p:sldLayout>
</file>

<file path=ppt/slideLayouts/slideLayout18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oogle Shape;81;p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" name="Google Shape;82;p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" name="Google Shape;83;p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4" name="Google Shape;84;p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" name="Google Shape;86;p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" name="Google Shape;89;p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" name="Google Shape;90;p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87050108"/>
      </p:ext>
    </p:extLst>
  </p:cSld>
  <p:clrMapOvr>
    <a:masterClrMapping/>
  </p:clrMapOvr>
</p:sldLayout>
</file>

<file path=ppt/slideLayouts/slideLayout18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" name="Google Shape;93;p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" name="Google Shape;94;p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" name="Google Shape;95;p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" name="Google Shape;96;p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" name="Google Shape;97;p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" name="Google Shape;98;p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56370696"/>
      </p:ext>
    </p:extLst>
  </p:cSld>
  <p:clrMapOvr>
    <a:masterClrMapping/>
  </p:clrMapOvr>
</p:sldLayout>
</file>

<file path=ppt/slideLayouts/slideLayout18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oogle Shape;101;p1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2" name="Google Shape;102;p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103;p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104;p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5" name="Google Shape;105;p1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" name="Google Shape;106;p1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1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87596903"/>
      </p:ext>
    </p:extLst>
  </p:cSld>
  <p:clrMapOvr>
    <a:masterClrMapping/>
  </p:clrMapOvr>
</p:sldLayout>
</file>

<file path=ppt/slideLayouts/slideLayout18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3904861"/>
      </p:ext>
    </p:extLst>
  </p:cSld>
  <p:clrMapOvr>
    <a:masterClrMapping/>
  </p:clrMapOvr>
</p:sldLayout>
</file>

<file path=ppt/slideLayouts/slideLayout18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oogle Shape;117;p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" name="Google Shape;118;p1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" name="Google Shape;119;p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" name="Google Shape;120;p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2" name="Google Shape;122;p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" name="Google Shape;125;p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6" name="Google Shape;126;p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1602897"/>
      </p:ext>
    </p:extLst>
  </p:cSld>
  <p:clrMapOvr>
    <a:masterClrMapping/>
  </p:clrMapOvr>
</p:sldLayout>
</file>

<file path=ppt/slideLayouts/slideLayout18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" name="Google Shape;128;p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" name="Google Shape;129;p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" name="Google Shape;130;p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" name="Google Shape;131;p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3" name="Google Shape;133;p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" name="Google Shape;136;p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" name="Google Shape;137;p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3605577"/>
      </p:ext>
    </p:extLst>
  </p:cSld>
  <p:clrMapOvr>
    <a:masterClrMapping/>
  </p:clrMapOvr>
</p:sldLayout>
</file>

<file path=ppt/slideLayouts/slideLayout18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" name="Google Shape;128;p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" name="Google Shape;129;p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" name="Google Shape;130;p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" name="Google Shape;131;p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3" name="Google Shape;133;p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" name="Google Shape;136;p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" name="Google Shape;137;p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7528015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5" name="Google Shape;1355;p1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6" name="Google Shape;1356;p1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7" name="Google Shape;1357;p1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8" name="Google Shape;1358;p13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" name="Google Shape;139;p1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0" name="Google Shape;140;p1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3" name="Google Shape;143;p1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4" name="Google Shape;144;p1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1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80805560"/>
      </p:ext>
    </p:extLst>
  </p:cSld>
  <p:clrMapOvr>
    <a:masterClrMapping/>
  </p:clrMapOvr>
</p:sldLayout>
</file>

<file path=ppt/slideLayouts/slideLayout18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" name="Google Shape;147;p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8" name="Google Shape;148;p1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" name="Google Shape;149;p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" name="Google Shape;150;p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" name="Google Shape;152;p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" name="Google Shape;153;p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5" name="Google Shape;155;p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" name="Google Shape;156;p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33080766"/>
      </p:ext>
    </p:extLst>
  </p:cSld>
  <p:clrMapOvr>
    <a:masterClrMapping/>
  </p:clrMapOvr>
</p:sldLayout>
</file>

<file path=ppt/slideLayouts/slideLayout18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Google Shape;158;p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9" name="Google Shape;159;p1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" name="Google Shape;160;p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" name="Google Shape;161;p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" name="Google Shape;163;p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" name="Google Shape;166;p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" name="Google Shape;167;p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7460688"/>
      </p:ext>
    </p:extLst>
  </p:cSld>
  <p:clrMapOvr>
    <a:masterClrMapping/>
  </p:clrMapOvr>
</p:sldLayout>
</file>

<file path=ppt/slideLayouts/slideLayout18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1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" name="Google Shape;170;p1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1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2" name="Google Shape;172;p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3" name="Google Shape;173;p1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4" name="Google Shape;174;p1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6" name="Google Shape;176;p1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23406457"/>
      </p:ext>
    </p:extLst>
  </p:cSld>
  <p:clrMapOvr>
    <a:masterClrMapping/>
  </p:clrMapOvr>
</p:sldLayout>
</file>

<file path=ppt/slideLayouts/slideLayout18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" name="Google Shape;178;p1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9" name="Google Shape;179;p1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2" name="Google Shape;182;p1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3" name="Google Shape;183;p1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1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81645601"/>
      </p:ext>
    </p:extLst>
  </p:cSld>
  <p:clrMapOvr>
    <a:masterClrMapping/>
  </p:clrMapOvr>
</p:sldLayout>
</file>

<file path=ppt/slideLayouts/slideLayout18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7" name="Google Shape;187;p1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8" name="Google Shape;188;p1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9" name="Google Shape;189;p1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1" name="Google Shape;191;p1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92" name="Google Shape;192;p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5400137"/>
      </p:ext>
    </p:extLst>
  </p:cSld>
  <p:clrMapOvr>
    <a:masterClrMapping/>
  </p:clrMapOvr>
</p:sldLayout>
</file>

<file path=ppt/slideLayouts/slideLayout1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" name="Google Shape;195;p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" name="Google Shape;198;p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" name="Google Shape;199;p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0" name="Google Shape;200;p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1" name="Google Shape;201;p2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2" name="Google Shape;202;p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3" name="Google Shape;203;p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204;p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5" name="Google Shape;205;p2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08584828"/>
      </p:ext>
    </p:extLst>
  </p:cSld>
  <p:clrMapOvr>
    <a:masterClrMapping/>
  </p:clrMapOvr>
</p:sldLayout>
</file>

<file path=ppt/slideLayouts/slideLayout18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7" name="Google Shape;207;p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8" name="Google Shape;208;p2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9" name="Google Shape;209;p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0" name="Google Shape;210;p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" name="Google Shape;213;p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" name="Google Shape;214;p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5" name="Google Shape;215;p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" name="Google Shape;216;p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4751273"/>
      </p:ext>
    </p:extLst>
  </p:cSld>
  <p:clrMapOvr>
    <a:masterClrMapping/>
  </p:clrMapOvr>
</p:sldLayout>
</file>

<file path=ppt/slideLayouts/slideLayout18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" name="Google Shape;219;p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0" name="Google Shape;220;p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1" name="Google Shape;221;p2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p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" name="Google Shape;223;p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5" name="Google Shape;225;p2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" name="Google Shape;226;p2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7" name="Google Shape;227;p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8" name="Google Shape;228;p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92079966"/>
      </p:ext>
    </p:extLst>
  </p:cSld>
  <p:clrMapOvr>
    <a:masterClrMapping/>
  </p:clrMapOvr>
</p:sldLayout>
</file>

<file path=ppt/slideLayouts/slideLayout18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0" name="Google Shape;230;p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1" name="Google Shape;231;p2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2" name="Google Shape;232;p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3" name="Google Shape;233;p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5" name="Google Shape;235;p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" name="Google Shape;236;p2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7" name="Google Shape;237;p2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" name="Google Shape;238;p2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9" name="Google Shape;239;p2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" name="Google Shape;240;p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1" name="Google Shape;241;p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2" name="Google Shape;242;p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4135771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" name="Google Shape;1360;p1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61" name="Google Shape;1361;p13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62" name="Google Shape;1362;p1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3" name="Google Shape;1363;p1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4" name="Google Shape;244;p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5" name="Google Shape;245;p2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6" name="Google Shape;246;p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7" name="Google Shape;247;p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9" name="Google Shape;249;p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" name="Google Shape;250;p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" name="Google Shape;251;p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2" name="Google Shape;252;p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89971905"/>
      </p:ext>
    </p:extLst>
  </p:cSld>
  <p:clrMapOvr>
    <a:masterClrMapping/>
  </p:clrMapOvr>
</p:sldLayout>
</file>

<file path=ppt/slideLayouts/slideLayout18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4" name="Google Shape;254;p2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5" name="Google Shape;255;p2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2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7" name="Google Shape;257;p2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258;p2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" name="Google Shape;259;p2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0" name="Google Shape;260;p2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1" name="Google Shape;261;p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4110044359"/>
      </p:ext>
    </p:extLst>
  </p:cSld>
  <p:clrMapOvr>
    <a:masterClrMapping/>
  </p:clrMapOvr>
</p:sldLayout>
</file>

<file path=ppt/slideLayouts/slideLayout18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" name="Google Shape;264;p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" name="Google Shape;265;p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6" name="Google Shape;266;p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7" name="Google Shape;267;p2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8" name="Google Shape;268;p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9" name="Google Shape;269;p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" name="Google Shape;270;p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63176475"/>
      </p:ext>
    </p:extLst>
  </p:cSld>
  <p:clrMapOvr>
    <a:masterClrMapping/>
  </p:clrMapOvr>
</p:sldLayout>
</file>

<file path=ppt/slideLayouts/slideLayout18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" name="Google Shape;273;p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6" name="Google Shape;276;p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8" name="Google Shape;278;p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9" name="Google Shape;279;p2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0" name="Google Shape;280;p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1" name="Google Shape;281;p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282;p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3" name="Google Shape;283;p2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5280581"/>
      </p:ext>
    </p:extLst>
  </p:cSld>
  <p:clrMapOvr>
    <a:masterClrMapping/>
  </p:clrMapOvr>
</p:sldLayout>
</file>

<file path=ppt/slideLayouts/slideLayout18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1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" name="Google Shape;170;p1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1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2" name="Google Shape;172;p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3" name="Google Shape;173;p1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4" name="Google Shape;174;p1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6" name="Google Shape;176;p1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844739390"/>
      </p:ext>
    </p:extLst>
  </p:cSld>
  <p:clrMapOvr>
    <a:masterClrMapping/>
  </p:clrMapOvr>
</p:sldLayout>
</file>

<file path=ppt/slideLayouts/slideLayout18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" name="Google Shape;178;p1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9" name="Google Shape;179;p1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2" name="Google Shape;182;p1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3" name="Google Shape;183;p1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1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15999529"/>
      </p:ext>
    </p:extLst>
  </p:cSld>
  <p:clrMapOvr>
    <a:masterClrMapping/>
  </p:clrMapOvr>
</p:sldLayout>
</file>

<file path=ppt/slideLayouts/slideLayout18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7" name="Google Shape;187;p1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8" name="Google Shape;188;p1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9" name="Google Shape;189;p1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1" name="Google Shape;191;p1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92" name="Google Shape;192;p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29131479"/>
      </p:ext>
    </p:extLst>
  </p:cSld>
  <p:clrMapOvr>
    <a:masterClrMapping/>
  </p:clrMapOvr>
</p:sldLayout>
</file>

<file path=ppt/slideLayouts/slideLayout18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" name="Google Shape;195;p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" name="Google Shape;198;p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" name="Google Shape;199;p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0" name="Google Shape;200;p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1" name="Google Shape;201;p2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2" name="Google Shape;202;p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3" name="Google Shape;203;p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204;p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5" name="Google Shape;205;p2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91604665"/>
      </p:ext>
    </p:extLst>
  </p:cSld>
  <p:clrMapOvr>
    <a:masterClrMapping/>
  </p:clrMapOvr>
</p:sldLayout>
</file>

<file path=ppt/slideLayouts/slideLayout18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7" name="Google Shape;207;p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8" name="Google Shape;208;p2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9" name="Google Shape;209;p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0" name="Google Shape;210;p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" name="Google Shape;213;p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" name="Google Shape;214;p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5" name="Google Shape;215;p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" name="Google Shape;216;p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21565843"/>
      </p:ext>
    </p:extLst>
  </p:cSld>
  <p:clrMapOvr>
    <a:masterClrMapping/>
  </p:clrMapOvr>
</p:sldLayout>
</file>

<file path=ppt/slideLayouts/slideLayout18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" name="Google Shape;219;p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0" name="Google Shape;220;p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1" name="Google Shape;221;p2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p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" name="Google Shape;223;p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5" name="Google Shape;225;p2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" name="Google Shape;226;p2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7" name="Google Shape;227;p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8" name="Google Shape;228;p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4059550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1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6" name="Google Shape;1366;p1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7" name="Google Shape;1367;p1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8" name="Google Shape;1368;p1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9" name="Google Shape;1369;p1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0" name="Google Shape;1370;p1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71" name="Google Shape;1371;p13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1_Comparison"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0" name="Google Shape;230;p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1" name="Google Shape;231;p2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2" name="Google Shape;232;p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3" name="Google Shape;233;p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5" name="Google Shape;235;p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" name="Google Shape;236;p2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7" name="Google Shape;237;p2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" name="Google Shape;238;p2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9" name="Google Shape;239;p2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" name="Google Shape;240;p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1" name="Google Shape;241;p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2" name="Google Shape;242;p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58427581"/>
      </p:ext>
    </p:extLst>
  </p:cSld>
  <p:clrMapOvr>
    <a:masterClrMapping/>
  </p:clrMapOvr>
</p:sldLayout>
</file>

<file path=ppt/slideLayouts/slideLayout18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1_Title Only"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4" name="Google Shape;244;p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5" name="Google Shape;245;p2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6" name="Google Shape;246;p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7" name="Google Shape;247;p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9" name="Google Shape;249;p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" name="Google Shape;250;p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" name="Google Shape;251;p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2" name="Google Shape;252;p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57854989"/>
      </p:ext>
    </p:extLst>
  </p:cSld>
  <p:clrMapOvr>
    <a:masterClrMapping/>
  </p:clrMapOvr>
</p:sldLayout>
</file>

<file path=ppt/slideLayouts/slideLayout18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4" name="Google Shape;254;p2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5" name="Google Shape;255;p2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2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7" name="Google Shape;257;p2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258;p2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" name="Google Shape;259;p2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0" name="Google Shape;260;p2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1" name="Google Shape;261;p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445386259"/>
      </p:ext>
    </p:extLst>
  </p:cSld>
  <p:clrMapOvr>
    <a:masterClrMapping/>
  </p:clrMapOvr>
</p:sldLayout>
</file>

<file path=ppt/slideLayouts/slideLayout18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" name="Google Shape;264;p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" name="Google Shape;265;p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6" name="Google Shape;266;p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7" name="Google Shape;267;p2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8" name="Google Shape;268;p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9" name="Google Shape;269;p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" name="Google Shape;270;p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16193685"/>
      </p:ext>
    </p:extLst>
  </p:cSld>
  <p:clrMapOvr>
    <a:masterClrMapping/>
  </p:clrMapOvr>
</p:sldLayout>
</file>

<file path=ppt/slideLayouts/slideLayout18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" name="Google Shape;273;p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6" name="Google Shape;276;p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8" name="Google Shape;278;p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9" name="Google Shape;279;p2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0" name="Google Shape;280;p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1" name="Google Shape;281;p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282;p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3" name="Google Shape;283;p2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30572865"/>
      </p:ext>
    </p:extLst>
  </p:cSld>
  <p:clrMapOvr>
    <a:masterClrMapping/>
  </p:clrMapOvr>
</p:sldLayout>
</file>

<file path=ppt/slideLayouts/slideLayout18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2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" name="Google Shape;286;p2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2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88" name="Google Shape;288;p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89" name="Google Shape;289;p2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90" name="Google Shape;290;p2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91;p2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2" name="Google Shape;292;p2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382647443"/>
      </p:ext>
    </p:extLst>
  </p:cSld>
  <p:clrMapOvr>
    <a:masterClrMapping/>
  </p:clrMapOvr>
</p:sldLayout>
</file>

<file path=ppt/slideLayouts/slideLayout18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4" name="Google Shape;294;p2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95" name="Google Shape;295;p2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96;p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97;p2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8" name="Google Shape;298;p2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9" name="Google Shape;299;p2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0" name="Google Shape;300;p2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41892622"/>
      </p:ext>
    </p:extLst>
  </p:cSld>
  <p:clrMapOvr>
    <a:masterClrMapping/>
  </p:clrMapOvr>
</p:sldLayout>
</file>

<file path=ppt/slideLayouts/slideLayout18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p3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03" name="Google Shape;303;p3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4" name="Google Shape;304;p3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05" name="Google Shape;305;p3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306;p3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7" name="Google Shape;307;p3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08" name="Google Shape;308;p30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42596463"/>
      </p:ext>
    </p:extLst>
  </p:cSld>
  <p:clrMapOvr>
    <a:masterClrMapping/>
  </p:clrMapOvr>
</p:sldLayout>
</file>

<file path=ppt/slideLayouts/slideLayout18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311;p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" name="Google Shape;313;p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4" name="Google Shape;314;p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5" name="Google Shape;315;p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6" name="Google Shape;316;p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7" name="Google Shape;317;p3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8" name="Google Shape;318;p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9" name="Google Shape;319;p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1" name="Google Shape;321;p3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2204445"/>
      </p:ext>
    </p:extLst>
  </p:cSld>
  <p:clrMapOvr>
    <a:masterClrMapping/>
  </p:clrMapOvr>
</p:sldLayout>
</file>

<file path=ppt/slideLayouts/slideLayout18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311;p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" name="Google Shape;313;p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4" name="Google Shape;314;p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5" name="Google Shape;315;p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6" name="Google Shape;316;p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7" name="Google Shape;317;p3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8" name="Google Shape;318;p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9" name="Google Shape;319;p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1" name="Google Shape;321;p3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6007780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1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3" name="Google Shape;1373;p13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4" name="Google Shape;1374;p13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5" name="Google Shape;1375;p13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6" name="Google Shape;1376;p13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77" name="Google Shape;1377;p13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4" name="Google Shape;324;p3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25" name="Google Shape;325;p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6" name="Google Shape;326;p3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7" name="Google Shape;327;p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8" name="Google Shape;328;p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0" name="Google Shape;330;p3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" name="Google Shape;331;p3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2" name="Google Shape;332;p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3" name="Google Shape;333;p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42650726"/>
      </p:ext>
    </p:extLst>
  </p:cSld>
  <p:clrMapOvr>
    <a:masterClrMapping/>
  </p:clrMapOvr>
</p:sldLayout>
</file>

<file path=ppt/slideLayouts/slideLayout18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5" name="Google Shape;335;p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6" name="Google Shape;336;p3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7" name="Google Shape;337;p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8" name="Google Shape;338;p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9" name="Google Shape;339;p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0" name="Google Shape;340;p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1" name="Google Shape;341;p3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2" name="Google Shape;342;p3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3" name="Google Shape;343;p3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4" name="Google Shape;344;p3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5" name="Google Shape;345;p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6" name="Google Shape;346;p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7" name="Google Shape;347;p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64834783"/>
      </p:ext>
    </p:extLst>
  </p:cSld>
  <p:clrMapOvr>
    <a:masterClrMapping/>
  </p:clrMapOvr>
</p:sldLayout>
</file>

<file path=ppt/slideLayouts/slideLayout18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9" name="Google Shape;349;p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0" name="Google Shape;350;p3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1" name="Google Shape;351;p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2" name="Google Shape;352;p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3" name="Google Shape;353;p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4" name="Google Shape;354;p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5" name="Google Shape;355;p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6" name="Google Shape;356;p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7" name="Google Shape;357;p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0325999"/>
      </p:ext>
    </p:extLst>
  </p:cSld>
  <p:clrMapOvr>
    <a:masterClrMapping/>
  </p:clrMapOvr>
</p:sldLayout>
</file>

<file path=ppt/slideLayouts/slideLayout18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9" name="Google Shape;359;p3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60" name="Google Shape;360;p3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3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2" name="Google Shape;362;p3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3" name="Google Shape;363;p3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4" name="Google Shape;364;p3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65" name="Google Shape;365;p3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66" name="Google Shape;366;p3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295429641"/>
      </p:ext>
    </p:extLst>
  </p:cSld>
  <p:clrMapOvr>
    <a:masterClrMapping/>
  </p:clrMapOvr>
</p:sldLayout>
</file>

<file path=ppt/slideLayouts/slideLayout18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3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" name="Google Shape;369;p3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p3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" name="Google Shape;371;p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2" name="Google Shape;372;p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3" name="Google Shape;373;p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4" name="Google Shape;374;p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5" name="Google Shape;375;p3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6" name="Google Shape;376;p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7" name="Google Shape;377;p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8" name="Google Shape;378;p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9" name="Google Shape;379;p3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93392141"/>
      </p:ext>
    </p:extLst>
  </p:cSld>
  <p:clrMapOvr>
    <a:masterClrMapping/>
  </p:clrMapOvr>
</p:sldLayout>
</file>

<file path=ppt/slideLayouts/slideLayout18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Google Shape;381;p3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" name="Google Shape;382;p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" name="Google Shape;383;p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" name="Google Shape;384;p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5" name="Google Shape;385;p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6" name="Google Shape;386;p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87" name="Google Shape;387;p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8" name="Google Shape;388;p3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" name="Google Shape;389;p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0" name="Google Shape;390;p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2" name="Google Shape;392;p3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16548541"/>
      </p:ext>
    </p:extLst>
  </p:cSld>
  <p:clrMapOvr>
    <a:masterClrMapping/>
  </p:clrMapOvr>
</p:sldLayout>
</file>

<file path=ppt/slideLayouts/slideLayout18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4_Quotation"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3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" name="Google Shape;369;p3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p3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" name="Google Shape;371;p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2" name="Google Shape;372;p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3" name="Google Shape;373;p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4" name="Google Shape;374;p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5" name="Google Shape;375;p3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6" name="Google Shape;376;p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7" name="Google Shape;377;p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8" name="Google Shape;378;p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9" name="Google Shape;379;p3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90373450"/>
      </p:ext>
    </p:extLst>
  </p:cSld>
  <p:clrMapOvr>
    <a:masterClrMapping/>
  </p:clrMapOvr>
</p:sldLayout>
</file>

<file path=ppt/slideLayouts/slideLayout18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4_Quotation"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Google Shape;381;p3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" name="Google Shape;382;p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" name="Google Shape;383;p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" name="Google Shape;384;p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5" name="Google Shape;385;p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6" name="Google Shape;386;p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87" name="Google Shape;387;p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8" name="Google Shape;388;p3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" name="Google Shape;389;p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0" name="Google Shape;390;p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2" name="Google Shape;392;p3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90303607"/>
      </p:ext>
    </p:extLst>
  </p:cSld>
  <p:clrMapOvr>
    <a:masterClrMapping/>
  </p:clrMapOvr>
</p:sldLayout>
</file>

<file path=ppt/slideLayouts/slideLayout18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Google Shape;394;p3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5" name="Google Shape;395;p3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6" name="Google Shape;396;p3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97" name="Google Shape;397;p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98" name="Google Shape;398;p3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99" name="Google Shape;399;p3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400;p3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1" name="Google Shape;401;p3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96785909"/>
      </p:ext>
    </p:extLst>
  </p:cSld>
  <p:clrMapOvr>
    <a:masterClrMapping/>
  </p:clrMapOvr>
</p:sldLayout>
</file>

<file path=ppt/slideLayouts/slideLayout18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" name="Google Shape;403;p3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04" name="Google Shape;404;p3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5" name="Google Shape;405;p3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406;p3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7" name="Google Shape;407;p3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08" name="Google Shape;408;p3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9" name="Google Shape;409;p3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1838025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1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9" name="Google Shape;1379;p13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80" name="Google Shape;1380;p13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81" name="Google Shape;1381;p13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2" name="Google Shape;1382;p13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3" name="Google Shape;1383;p13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8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p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12" name="Google Shape;412;p4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13" name="Google Shape;413;p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14" name="Google Shape;414;p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16" name="Google Shape;416;p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17" name="Google Shape;417;p40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0734009"/>
      </p:ext>
    </p:extLst>
  </p:cSld>
  <p:clrMapOvr>
    <a:masterClrMapping/>
  </p:clrMapOvr>
</p:sldLayout>
</file>

<file path=ppt/slideLayouts/slideLayout18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0" name="Google Shape;420;p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1" name="Google Shape;421;p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2" name="Google Shape;422;p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3" name="Google Shape;423;p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4" name="Google Shape;424;p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25" name="Google Shape;425;p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6" name="Google Shape;426;p4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7" name="Google Shape;427;p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8" name="Google Shape;428;p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9" name="Google Shape;429;p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30" name="Google Shape;430;p4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27096298"/>
      </p:ext>
    </p:extLst>
  </p:cSld>
  <p:clrMapOvr>
    <a:masterClrMapping/>
  </p:clrMapOvr>
</p:sldLayout>
</file>

<file path=ppt/slideLayouts/slideLayout18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0" name="Google Shape;420;p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1" name="Google Shape;421;p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2" name="Google Shape;422;p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3" name="Google Shape;423;p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4" name="Google Shape;424;p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25" name="Google Shape;425;p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6" name="Google Shape;426;p4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7" name="Google Shape;427;p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8" name="Google Shape;428;p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9" name="Google Shape;429;p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30" name="Google Shape;430;p4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40044090"/>
      </p:ext>
    </p:extLst>
  </p:cSld>
  <p:clrMapOvr>
    <a:masterClrMapping/>
  </p:clrMapOvr>
</p:sldLayout>
</file>

<file path=ppt/slideLayouts/slideLayout18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2" name="Google Shape;432;p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3" name="Google Shape;433;p4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4" name="Google Shape;434;p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5" name="Google Shape;435;p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7" name="Google Shape;437;p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" name="Google Shape;438;p4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9" name="Google Shape;439;p4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0" name="Google Shape;440;p4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41" name="Google Shape;441;p4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2" name="Google Shape;442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3" name="Google Shape;443;p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4" name="Google Shape;444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56731482"/>
      </p:ext>
    </p:extLst>
  </p:cSld>
  <p:clrMapOvr>
    <a:masterClrMapping/>
  </p:clrMapOvr>
</p:sldLayout>
</file>

<file path=ppt/slideLayouts/slideLayout18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6" name="Google Shape;446;p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7" name="Google Shape;447;p4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8" name="Google Shape;448;p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9" name="Google Shape;449;p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1" name="Google Shape;451;p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2" name="Google Shape;452;p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3" name="Google Shape;453;p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4" name="Google Shape;454;p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55760674"/>
      </p:ext>
    </p:extLst>
  </p:cSld>
  <p:clrMapOvr>
    <a:masterClrMapping/>
  </p:clrMapOvr>
</p:sldLayout>
</file>

<file path=ppt/slideLayouts/slideLayout18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4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4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4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9" name="Google Shape;459;p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60" name="Google Shape;460;p4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61" name="Google Shape;461;p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2" name="Google Shape;462;p4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3" name="Google Shape;463;p4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406293238"/>
      </p:ext>
    </p:extLst>
  </p:cSld>
  <p:clrMapOvr>
    <a:masterClrMapping/>
  </p:clrMapOvr>
</p:sldLayout>
</file>

<file path=ppt/slideLayouts/slideLayout18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5" name="Google Shape;465;p4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66" name="Google Shape;466;p4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" name="Google Shape;467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8" name="Google Shape;468;p4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9" name="Google Shape;469;p4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70" name="Google Shape;470;p4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1" name="Google Shape;471;p4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44126568"/>
      </p:ext>
    </p:extLst>
  </p:cSld>
  <p:clrMapOvr>
    <a:masterClrMapping/>
  </p:clrMapOvr>
</p:sldLayout>
</file>

<file path=ppt/slideLayouts/slideLayout18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Google Shape;473;p4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4" name="Google Shape;474;p4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5" name="Google Shape;475;p4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6" name="Google Shape;476;p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8" name="Google Shape;478;p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9" name="Google Shape;479;p4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0866382"/>
      </p:ext>
    </p:extLst>
  </p:cSld>
  <p:clrMapOvr>
    <a:masterClrMapping/>
  </p:clrMapOvr>
</p:sldLayout>
</file>

<file path=ppt/slideLayouts/slideLayout18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" name="Google Shape;481;p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2" name="Google Shape;482;p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3" name="Google Shape;483;p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" name="Google Shape;484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5" name="Google Shape;485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6" name="Google Shape;486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7" name="Google Shape;487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8" name="Google Shape;488;p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9" name="Google Shape;489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0" name="Google Shape;490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1" name="Google Shape;491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2" name="Google Shape;492;p4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83048547"/>
      </p:ext>
    </p:extLst>
  </p:cSld>
  <p:clrMapOvr>
    <a:masterClrMapping/>
  </p:clrMapOvr>
</p:sldLayout>
</file>

<file path=ppt/slideLayouts/slideLayout18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4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5" name="Google Shape;495;p4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6" name="Google Shape;496;p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7" name="Google Shape;497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8" name="Google Shape;498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9" name="Google Shape;499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00" name="Google Shape;500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1" name="Google Shape;501;p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2" name="Google Shape;502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3" name="Google Shape;503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5" name="Google Shape;505;p4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571163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1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5" name="Google Shape;1385;p14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6" name="Google Shape;1386;p14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7" name="Google Shape;1387;p14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8" name="Google Shape;1388;p14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9" name="Google Shape;1389;p14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90" name="Google Shape;1390;p14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09" name="Google Shape;509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0" name="Google Shape;510;p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1" name="Google Shape;511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2" name="Google Shape;512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4" name="Google Shape;514;p4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4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" name="Google Shape;516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" name="Google Shape;517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38542474"/>
      </p:ext>
    </p:extLst>
  </p:cSld>
  <p:clrMapOvr>
    <a:masterClrMapping/>
  </p:clrMapOvr>
</p:sldLayout>
</file>

<file path=ppt/slideLayouts/slideLayout18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9" name="Google Shape;519;p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0" name="Google Shape;520;p5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1" name="Google Shape;521;p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2" name="Google Shape;522;p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3" name="Google Shape;523;p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4" name="Google Shape;524;p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" name="Google Shape;525;p5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6" name="Google Shape;526;p5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7" name="Google Shape;527;p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8" name="Google Shape;528;p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9" name="Google Shape;529;p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0" name="Google Shape;530;p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1" name="Google Shape;531;p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23024594"/>
      </p:ext>
    </p:extLst>
  </p:cSld>
  <p:clrMapOvr>
    <a:masterClrMapping/>
  </p:clrMapOvr>
</p:sldLayout>
</file>

<file path=ppt/slideLayouts/slideLayout18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3" name="Google Shape;533;p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4" name="Google Shape;534;p5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5" name="Google Shape;535;p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6" name="Google Shape;536;p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7" name="Google Shape;537;p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8" name="Google Shape;538;p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p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0" name="Google Shape;540;p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1" name="Google Shape;541;p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29958836"/>
      </p:ext>
    </p:extLst>
  </p:cSld>
  <p:clrMapOvr>
    <a:masterClrMapping/>
  </p:clrMapOvr>
</p:sldLayout>
</file>

<file path=ppt/slideLayouts/slideLayout18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3" name="Google Shape;543;p5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44" name="Google Shape;544;p5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5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6" name="Google Shape;546;p5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7" name="Google Shape;547;p5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8" name="Google Shape;548;p5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49" name="Google Shape;549;p5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50" name="Google Shape;550;p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53729046"/>
      </p:ext>
    </p:extLst>
  </p:cSld>
  <p:clrMapOvr>
    <a:masterClrMapping/>
  </p:clrMapOvr>
</p:sldLayout>
</file>

<file path=ppt/slideLayouts/slideLayout18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3" name="Google Shape;553;p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4" name="Google Shape;554;p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5" name="Google Shape;555;p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6" name="Google Shape;556;p5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7" name="Google Shape;557;p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8" name="Google Shape;558;p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03773060"/>
      </p:ext>
    </p:extLst>
  </p:cSld>
  <p:clrMapOvr>
    <a:masterClrMapping/>
  </p:clrMapOvr>
</p:sldLayout>
</file>

<file path=ppt/slideLayouts/slideLayout18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" name="Google Shape;561;p54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2" name="Google Shape;562;p54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63" name="Google Shape;563;p54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64" name="Google Shape;564;p54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5" name="Google Shape;565;p54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66" name="Google Shape;566;p5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5623619"/>
      </p:ext>
    </p:extLst>
  </p:cSld>
  <p:clrMapOvr>
    <a:masterClrMapping/>
  </p:clrMapOvr>
</p:sldLayout>
</file>

<file path=ppt/slideLayouts/slideLayout18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4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4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4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9" name="Google Shape;459;p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60" name="Google Shape;460;p4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61" name="Google Shape;461;p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2" name="Google Shape;462;p4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3" name="Google Shape;463;p4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979857548"/>
      </p:ext>
    </p:extLst>
  </p:cSld>
  <p:clrMapOvr>
    <a:masterClrMapping/>
  </p:clrMapOvr>
</p:sldLayout>
</file>

<file path=ppt/slideLayouts/slideLayout18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5" name="Google Shape;465;p4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66" name="Google Shape;466;p4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" name="Google Shape;467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8" name="Google Shape;468;p4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9" name="Google Shape;469;p4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70" name="Google Shape;470;p4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1" name="Google Shape;471;p4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26948393"/>
      </p:ext>
    </p:extLst>
  </p:cSld>
  <p:clrMapOvr>
    <a:masterClrMapping/>
  </p:clrMapOvr>
</p:sldLayout>
</file>

<file path=ppt/slideLayouts/slideLayout18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Google Shape;473;p4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4" name="Google Shape;474;p4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5" name="Google Shape;475;p4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6" name="Google Shape;476;p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8" name="Google Shape;478;p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9" name="Google Shape;479;p4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17059138"/>
      </p:ext>
    </p:extLst>
  </p:cSld>
  <p:clrMapOvr>
    <a:masterClrMapping/>
  </p:clrMapOvr>
</p:sldLayout>
</file>

<file path=ppt/slideLayouts/slideLayout18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" name="Google Shape;481;p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2" name="Google Shape;482;p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3" name="Google Shape;483;p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" name="Google Shape;484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5" name="Google Shape;485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6" name="Google Shape;486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7" name="Google Shape;487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8" name="Google Shape;488;p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9" name="Google Shape;489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0" name="Google Shape;490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1" name="Google Shape;491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2" name="Google Shape;492;p4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8905438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5" name="Google Shape;1305;p12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6" name="Google Shape;1306;p12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7" name="Google Shape;1307;p1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8" name="Google Shape;1308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9" name="Google Shape;1309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10" name="Google Shape;1310;p12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1" name="Google Shape;1311;p12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2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3" name="Google Shape;1313;p12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8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4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5" name="Google Shape;495;p4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6" name="Google Shape;496;p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7" name="Google Shape;497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8" name="Google Shape;498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9" name="Google Shape;499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00" name="Google Shape;500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1" name="Google Shape;501;p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2" name="Google Shape;502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3" name="Google Shape;503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5" name="Google Shape;505;p4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60626489"/>
      </p:ext>
    </p:extLst>
  </p:cSld>
  <p:clrMapOvr>
    <a:masterClrMapping/>
  </p:clrMapOvr>
</p:sldLayout>
</file>

<file path=ppt/slideLayouts/slideLayout18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09" name="Google Shape;509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0" name="Google Shape;510;p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1" name="Google Shape;511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2" name="Google Shape;512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4" name="Google Shape;514;p4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4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" name="Google Shape;516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" name="Google Shape;517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4332976"/>
      </p:ext>
    </p:extLst>
  </p:cSld>
  <p:clrMapOvr>
    <a:masterClrMapping/>
  </p:clrMapOvr>
</p:sldLayout>
</file>

<file path=ppt/slideLayouts/slideLayout18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9" name="Google Shape;519;p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0" name="Google Shape;520;p5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1" name="Google Shape;521;p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2" name="Google Shape;522;p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3" name="Google Shape;523;p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4" name="Google Shape;524;p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" name="Google Shape;525;p5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6" name="Google Shape;526;p5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7" name="Google Shape;527;p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8" name="Google Shape;528;p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9" name="Google Shape;529;p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0" name="Google Shape;530;p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1" name="Google Shape;531;p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95324290"/>
      </p:ext>
    </p:extLst>
  </p:cSld>
  <p:clrMapOvr>
    <a:masterClrMapping/>
  </p:clrMapOvr>
</p:sldLayout>
</file>

<file path=ppt/slideLayouts/slideLayout18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3" name="Google Shape;533;p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4" name="Google Shape;534;p5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5" name="Google Shape;535;p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6" name="Google Shape;536;p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7" name="Google Shape;537;p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8" name="Google Shape;538;p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p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0" name="Google Shape;540;p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1" name="Google Shape;541;p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45199919"/>
      </p:ext>
    </p:extLst>
  </p:cSld>
  <p:clrMapOvr>
    <a:masterClrMapping/>
  </p:clrMapOvr>
</p:sldLayout>
</file>

<file path=ppt/slideLayouts/slideLayout18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3" name="Google Shape;543;p5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44" name="Google Shape;544;p5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5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6" name="Google Shape;546;p5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7" name="Google Shape;547;p5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8" name="Google Shape;548;p5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49" name="Google Shape;549;p5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50" name="Google Shape;550;p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779542805"/>
      </p:ext>
    </p:extLst>
  </p:cSld>
  <p:clrMapOvr>
    <a:masterClrMapping/>
  </p:clrMapOvr>
</p:sldLayout>
</file>

<file path=ppt/slideLayouts/slideLayout18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3" name="Google Shape;553;p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4" name="Google Shape;554;p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5" name="Google Shape;555;p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6" name="Google Shape;556;p5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7" name="Google Shape;557;p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8" name="Google Shape;558;p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5239331"/>
      </p:ext>
    </p:extLst>
  </p:cSld>
  <p:clrMapOvr>
    <a:masterClrMapping/>
  </p:clrMapOvr>
</p:sldLayout>
</file>

<file path=ppt/slideLayouts/slideLayout18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8" name="Google Shape;568;p5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69" name="Google Shape;569;p5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0" name="Google Shape;570;p5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1" name="Google Shape;571;p5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2" name="Google Shape;572;p5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73" name="Google Shape;573;p5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5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79943720"/>
      </p:ext>
    </p:extLst>
  </p:cSld>
  <p:clrMapOvr>
    <a:masterClrMapping/>
  </p:clrMapOvr>
</p:sldLayout>
</file>

<file path=ppt/slideLayouts/slideLayout18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" name="Google Shape;576;p5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77" name="Google Shape;577;p5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78" name="Google Shape;578;p5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79" name="Google Shape;579;p5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5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81" name="Google Shape;581;p5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82" name="Google Shape;582;p5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61760791"/>
      </p:ext>
    </p:extLst>
  </p:cSld>
  <p:clrMapOvr>
    <a:masterClrMapping/>
  </p:clrMapOvr>
</p:sldLayout>
</file>

<file path=ppt/slideLayouts/slideLayout18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4" name="Google Shape;584;p5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5" name="Google Shape;585;p5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6" name="Google Shape;586;p5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87" name="Google Shape;587;p5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88" name="Google Shape;588;p5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89" name="Google Shape;589;p5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0" name="Google Shape;590;p5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1" name="Google Shape;591;p5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94180997"/>
      </p:ext>
    </p:extLst>
  </p:cSld>
  <p:clrMapOvr>
    <a:masterClrMapping/>
  </p:clrMapOvr>
</p:sldLayout>
</file>

<file path=ppt/slideLayouts/slideLayout18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3" name="Google Shape;593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4" name="Google Shape;594;p5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5" name="Google Shape;595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6" name="Google Shape;596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7" name="Google Shape;597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8" name="Google Shape;598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" name="Google Shape;599;p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0" name="Google Shape;600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1" name="Google Shape;601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2" name="Google Shape;602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041248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1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" name="Google Shape;170;p1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1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2" name="Google Shape;172;p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3" name="Google Shape;173;p1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4" name="Google Shape;174;p1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6" name="Google Shape;176;p1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" name="Google Shape;1315;p1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6" name="Google Shape;1316;p1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7" name="Google Shape;1317;p1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18" name="Google Shape;1318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" name="Google Shape;1319;p1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20" name="Google Shape;1320;p1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1" name="Google Shape;1321;p1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2" name="Google Shape;1322;p1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3" name="Google Shape;1323;p13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" name="Google Shape;604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p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06" name="Google Shape;606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7" name="Google Shape;607;p5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8" name="Google Shape;608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9" name="Google Shape;609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0" name="Google Shape;610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1" name="Google Shape;611;p5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2" name="Google Shape;612;p5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3" name="Google Shape;613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4" name="Google Shape;614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60711372"/>
      </p:ext>
    </p:extLst>
  </p:cSld>
  <p:clrMapOvr>
    <a:masterClrMapping/>
  </p:clrMapOvr>
</p:sldLayout>
</file>

<file path=ppt/slideLayouts/slideLayout19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6" name="Google Shape;616;p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7" name="Google Shape;617;p6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8" name="Google Shape;618;p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9" name="Google Shape;619;p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0" name="Google Shape;620;p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1" name="Google Shape;621;p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2" name="Google Shape;622;p6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23" name="Google Shape;623;p6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4" name="Google Shape;624;p6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25" name="Google Shape;625;p6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6" name="Google Shape;626;p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7" name="Google Shape;627;p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8" name="Google Shape;628;p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8111390"/>
      </p:ext>
    </p:extLst>
  </p:cSld>
  <p:clrMapOvr>
    <a:masterClrMapping/>
  </p:clrMapOvr>
</p:sldLayout>
</file>

<file path=ppt/slideLayouts/slideLayout19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6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" name="Google Shape;631;p6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6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3" name="Google Shape;633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4" name="Google Shape;634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5" name="Google Shape;635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36" name="Google Shape;636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7" name="Google Shape;637;p6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8" name="Google Shape;638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9" name="Google Shape;639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0" name="Google Shape;640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1" name="Google Shape;641;p6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51233610"/>
      </p:ext>
    </p:extLst>
  </p:cSld>
  <p:clrMapOvr>
    <a:masterClrMapping/>
  </p:clrMapOvr>
</p:sldLayout>
</file>

<file path=ppt/slideLayouts/slideLayout19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6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" name="Google Shape;631;p6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6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3" name="Google Shape;633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4" name="Google Shape;634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5" name="Google Shape;635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36" name="Google Shape;636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7" name="Google Shape;637;p6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8" name="Google Shape;638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9" name="Google Shape;639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0" name="Google Shape;640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1" name="Google Shape;641;p6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2436271"/>
      </p:ext>
    </p:extLst>
  </p:cSld>
  <p:clrMapOvr>
    <a:masterClrMapping/>
  </p:clrMapOvr>
</p:sldLayout>
</file>

<file path=ppt/slideLayouts/slideLayout19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3" name="Google Shape;643;p6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44" name="Google Shape;644;p6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5" name="Google Shape;645;p6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6" name="Google Shape;646;p6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Google Shape;647;p6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8" name="Google Shape;648;p6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49" name="Google Shape;649;p6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50" name="Google Shape;650;p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920120751"/>
      </p:ext>
    </p:extLst>
  </p:cSld>
  <p:clrMapOvr>
    <a:masterClrMapping/>
  </p:clrMapOvr>
</p:sldLayout>
</file>

<file path=ppt/slideLayouts/slideLayout19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2" name="Google Shape;652;p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3" name="Google Shape;653;p6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4" name="Google Shape;654;p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5" name="Google Shape;655;p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6" name="Google Shape;656;p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7" name="Google Shape;657;p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8" name="Google Shape;658;p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9" name="Google Shape;659;p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0" name="Google Shape;660;p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14140589"/>
      </p:ext>
    </p:extLst>
  </p:cSld>
  <p:clrMapOvr>
    <a:masterClrMapping/>
  </p:clrMapOvr>
</p:sldLayout>
</file>

<file path=ppt/slideLayouts/slideLayout19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2" name="Google Shape;662;p6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63" name="Google Shape;663;p6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4" name="Google Shape;664;p6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65" name="Google Shape;665;p6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6" name="Google Shape;666;p6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7" name="Google Shape;667;p6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68" name="Google Shape;668;p64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69" name="Google Shape;669;p6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785652799"/>
      </p:ext>
    </p:extLst>
  </p:cSld>
  <p:clrMapOvr>
    <a:masterClrMapping/>
  </p:clrMapOvr>
</p:sldLayout>
</file>

<file path=ppt/slideLayouts/slideLayout19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2" name="Google Shape;672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3" name="Google Shape;673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74" name="Google Shape;674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5" name="Google Shape;675;p6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" name="Google Shape;676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7" name="Google Shape;677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" name="Google Shape;678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13841856"/>
      </p:ext>
    </p:extLst>
  </p:cSld>
  <p:clrMapOvr>
    <a:masterClrMapping/>
  </p:clrMapOvr>
</p:sldLayout>
</file>

<file path=ppt/slideLayouts/slideLayout19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Google Shape;680;p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1" name="Google Shape;681;p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2" name="Google Shape;682;p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3" name="Google Shape;683;p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4" name="Google Shape;684;p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5" name="Google Shape;685;p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86" name="Google Shape;686;p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7" name="Google Shape;687;p6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8" name="Google Shape;688;p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9" name="Google Shape;689;p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0" name="Google Shape;690;p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1" name="Google Shape;691;p6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47949908"/>
      </p:ext>
    </p:extLst>
  </p:cSld>
  <p:clrMapOvr>
    <a:masterClrMapping/>
  </p:clrMapOvr>
</p:sldLayout>
</file>

<file path=ppt/slideLayouts/slideLayout19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Google Shape;680;p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1" name="Google Shape;681;p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2" name="Google Shape;682;p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3" name="Google Shape;683;p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4" name="Google Shape;684;p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5" name="Google Shape;685;p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86" name="Google Shape;686;p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7" name="Google Shape;687;p6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8" name="Google Shape;688;p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9" name="Google Shape;689;p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0" name="Google Shape;690;p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1" name="Google Shape;691;p6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5708251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p1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" name="Google Shape;1326;p1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7" name="Google Shape;1327;p1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8" name="Google Shape;1328;p1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9" name="Google Shape;1329;p13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3" name="Google Shape;693;p6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4" name="Google Shape;694;p6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5" name="Google Shape;695;p6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96" name="Google Shape;696;p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97" name="Google Shape;697;p6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98" name="Google Shape;698;p6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" name="Google Shape;699;p6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0" name="Google Shape;700;p6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188071068"/>
      </p:ext>
    </p:extLst>
  </p:cSld>
  <p:clrMapOvr>
    <a:masterClrMapping/>
  </p:clrMapOvr>
</p:sldLayout>
</file>

<file path=ppt/slideLayouts/slideLayout19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2" name="Google Shape;702;p6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03" name="Google Shape;703;p6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4" name="Google Shape;704;p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5" name="Google Shape;705;p6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6" name="Google Shape;706;p6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07" name="Google Shape;707;p6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" name="Google Shape;708;p6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02239716"/>
      </p:ext>
    </p:extLst>
  </p:cSld>
  <p:clrMapOvr>
    <a:masterClrMapping/>
  </p:clrMapOvr>
</p:sldLayout>
</file>

<file path=ppt/slideLayouts/slideLayout19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p6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11" name="Google Shape;711;p6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12" name="Google Shape;712;p6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13" name="Google Shape;713;p6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4" name="Google Shape;714;p6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5" name="Google Shape;715;p6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16" name="Google Shape;716;p69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17358790"/>
      </p:ext>
    </p:extLst>
  </p:cSld>
  <p:clrMapOvr>
    <a:masterClrMapping/>
  </p:clrMapOvr>
</p:sldLayout>
</file>

<file path=ppt/slideLayouts/slideLayout19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8" name="Google Shape;718;p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9" name="Google Shape;719;p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0" name="Google Shape;720;p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1" name="Google Shape;721;p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2" name="Google Shape;722;p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3" name="Google Shape;723;p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24" name="Google Shape;724;p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5" name="Google Shape;725;p7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6" name="Google Shape;726;p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7" name="Google Shape;727;p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" name="Google Shape;728;p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9" name="Google Shape;729;p7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71084292"/>
      </p:ext>
    </p:extLst>
  </p:cSld>
  <p:clrMapOvr>
    <a:masterClrMapping/>
  </p:clrMapOvr>
</p:sldLayout>
</file>

<file path=ppt/slideLayouts/slideLayout19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1" name="Google Shape;731;p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2" name="Google Shape;732;p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3" name="Google Shape;733;p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4" name="Google Shape;734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5" name="Google Shape;735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6" name="Google Shape;736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7" name="Google Shape;737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8" name="Google Shape;738;p7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9" name="Google Shape;739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0" name="Google Shape;740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1" name="Google Shape;741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42" name="Google Shape;742;p7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1595618"/>
      </p:ext>
    </p:extLst>
  </p:cSld>
  <p:clrMapOvr>
    <a:masterClrMapping/>
  </p:clrMapOvr>
</p:sldLayout>
</file>

<file path=ppt/slideLayouts/slideLayout19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8" name="Google Shape;718;p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9" name="Google Shape;719;p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0" name="Google Shape;720;p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1" name="Google Shape;721;p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2" name="Google Shape;722;p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3" name="Google Shape;723;p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24" name="Google Shape;724;p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5" name="Google Shape;725;p7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6" name="Google Shape;726;p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7" name="Google Shape;727;p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" name="Google Shape;728;p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9" name="Google Shape;729;p7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33460911"/>
      </p:ext>
    </p:extLst>
  </p:cSld>
  <p:clrMapOvr>
    <a:masterClrMapping/>
  </p:clrMapOvr>
</p:sldLayout>
</file>

<file path=ppt/slideLayouts/slideLayout19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1" name="Google Shape;731;p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2" name="Google Shape;732;p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3" name="Google Shape;733;p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4" name="Google Shape;734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5" name="Google Shape;735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6" name="Google Shape;736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7" name="Google Shape;737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8" name="Google Shape;738;p7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9" name="Google Shape;739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0" name="Google Shape;740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1" name="Google Shape;741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42" name="Google Shape;742;p7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10979936"/>
      </p:ext>
    </p:extLst>
  </p:cSld>
  <p:clrMapOvr>
    <a:masterClrMapping/>
  </p:clrMapOvr>
</p:sldLayout>
</file>

<file path=ppt/slideLayouts/slideLayout19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4" name="Google Shape;744;p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5" name="Google Shape;745;p7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6" name="Google Shape;746;p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7" name="Google Shape;747;p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8" name="Google Shape;748;p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9" name="Google Shape;749;p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0" name="Google Shape;750;p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1" name="Google Shape;751;p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52" name="Google Shape;752;p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53" name="Google Shape;753;p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64154285"/>
      </p:ext>
    </p:extLst>
  </p:cSld>
  <p:clrMapOvr>
    <a:masterClrMapping/>
  </p:clrMapOvr>
</p:sldLayout>
</file>

<file path=ppt/slideLayouts/slideLayout19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" name="Google Shape;755;p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6" name="Google Shape;756;p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57" name="Google Shape;757;p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58" name="Google Shape;758;p7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59" name="Google Shape;759;p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60" name="Google Shape;760;p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1" name="Google Shape;761;p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2" name="Google Shape;762;p7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3" name="Google Shape;763;p7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4" name="Google Shape;764;p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5" name="Google Shape;765;p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42579995"/>
      </p:ext>
    </p:extLst>
  </p:cSld>
  <p:clrMapOvr>
    <a:masterClrMapping/>
  </p:clrMapOvr>
</p:sldLayout>
</file>

<file path=ppt/slideLayouts/slideLayout19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7" name="Google Shape;767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68" name="Google Shape;768;p7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9" name="Google Shape;769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0" name="Google Shape;770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1" name="Google Shape;771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2" name="Google Shape;772;p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3" name="Google Shape;773;p7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74" name="Google Shape;774;p7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5" name="Google Shape;775;p7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76" name="Google Shape;776;p7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7" name="Google Shape;777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8" name="Google Shape;778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9" name="Google Shape;779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0919650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" name="Google Shape;1331;p1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32" name="Google Shape;1332;p13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33" name="Google Shape;1333;p1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4" name="Google Shape;1334;p1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5" name="Google Shape;1335;p1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1" name="Google Shape;781;p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2" name="Google Shape;782;p7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3" name="Google Shape;783;p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4" name="Google Shape;784;p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5" name="Google Shape;785;p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6" name="Google Shape;786;p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7" name="Google Shape;787;p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8" name="Google Shape;788;p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89" name="Google Shape;789;p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91228394"/>
      </p:ext>
    </p:extLst>
  </p:cSld>
  <p:clrMapOvr>
    <a:masterClrMapping/>
  </p:clrMapOvr>
</p:sldLayout>
</file>

<file path=ppt/slideLayouts/slideLayout19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1" name="Google Shape;791;p7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92" name="Google Shape;792;p7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3" name="Google Shape;793;p7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94" name="Google Shape;794;p7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5" name="Google Shape;795;p7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6" name="Google Shape;796;p7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97" name="Google Shape;797;p7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98" name="Google Shape;798;p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241704027"/>
      </p:ext>
    </p:extLst>
  </p:cSld>
  <p:clrMapOvr>
    <a:masterClrMapping/>
  </p:clrMapOvr>
</p:sldLayout>
</file>

<file path=ppt/slideLayouts/slideLayout19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" name="Google Shape;800;p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1" name="Google Shape;801;p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2" name="Google Shape;802;p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03" name="Google Shape;803;p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4" name="Google Shape;804;p7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5" name="Google Shape;805;p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6" name="Google Shape;806;p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7" name="Google Shape;807;p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0216869"/>
      </p:ext>
    </p:extLst>
  </p:cSld>
  <p:clrMapOvr>
    <a:masterClrMapping/>
  </p:clrMapOvr>
</p:sldLayout>
</file>

<file path=ppt/slideLayouts/slideLayout19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" name="Google Shape;809;p7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0" name="Google Shape;810;p7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1" name="Google Shape;811;p7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12" name="Google Shape;812;p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13" name="Google Shape;813;p7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14" name="Google Shape;814;p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5" name="Google Shape;815;p7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6" name="Google Shape;816;p7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531045488"/>
      </p:ext>
    </p:extLst>
  </p:cSld>
  <p:clrMapOvr>
    <a:masterClrMapping/>
  </p:clrMapOvr>
</p:sldLayout>
</file>

<file path=ppt/slideLayouts/slideLayout19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8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8" name="Google Shape;818;p7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19" name="Google Shape;819;p7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0" name="Google Shape;820;p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1" name="Google Shape;821;p7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2" name="Google Shape;822;p7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23" name="Google Shape;823;p7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7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26282086"/>
      </p:ext>
    </p:extLst>
  </p:cSld>
  <p:clrMapOvr>
    <a:masterClrMapping/>
  </p:clrMapOvr>
</p:sldLayout>
</file>

<file path=ppt/slideLayouts/slideLayout19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" name="Google Shape;826;p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" name="Google Shape;828;p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9" name="Google Shape;829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0" name="Google Shape;830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1" name="Google Shape;831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32" name="Google Shape;832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" name="Google Shape;833;p8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4" name="Google Shape;834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" name="Google Shape;835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" name="Google Shape;836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37" name="Google Shape;837;p8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70022557"/>
      </p:ext>
    </p:extLst>
  </p:cSld>
  <p:clrMapOvr>
    <a:masterClrMapping/>
  </p:clrMapOvr>
</p:sldLayout>
</file>

<file path=ppt/slideLayouts/slideLayout19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" name="Google Shape;826;p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" name="Google Shape;828;p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9" name="Google Shape;829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0" name="Google Shape;830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1" name="Google Shape;831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32" name="Google Shape;832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" name="Google Shape;833;p8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4" name="Google Shape;834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" name="Google Shape;835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" name="Google Shape;836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37" name="Google Shape;837;p8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39729577"/>
      </p:ext>
    </p:extLst>
  </p:cSld>
  <p:clrMapOvr>
    <a:masterClrMapping/>
  </p:clrMapOvr>
</p:sldLayout>
</file>

<file path=ppt/slideLayouts/slideLayout19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9" name="Google Shape;839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40" name="Google Shape;840;p8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1" name="Google Shape;841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42" name="Google Shape;842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3" name="Google Shape;843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4" name="Google Shape;844;p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5" name="Google Shape;845;p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6" name="Google Shape;846;p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7" name="Google Shape;847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8" name="Google Shape;848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70001125"/>
      </p:ext>
    </p:extLst>
  </p:cSld>
  <p:clrMapOvr>
    <a:masterClrMapping/>
  </p:clrMapOvr>
</p:sldLayout>
</file>

<file path=ppt/slideLayouts/slideLayout19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8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0" name="Google Shape;850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" name="Google Shape;851;p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52" name="Google Shape;852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3" name="Google Shape;853;p8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4" name="Google Shape;854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5" name="Google Shape;855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6" name="Google Shape;856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57" name="Google Shape;857;p8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8" name="Google Shape;858;p8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9" name="Google Shape;859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0" name="Google Shape;860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01771190"/>
      </p:ext>
    </p:extLst>
  </p:cSld>
  <p:clrMapOvr>
    <a:masterClrMapping/>
  </p:clrMapOvr>
</p:sldLayout>
</file>

<file path=ppt/slideLayouts/slideLayout19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8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2" name="Google Shape;862;p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3" name="Google Shape;863;p8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4" name="Google Shape;864;p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5" name="Google Shape;865;p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6" name="Google Shape;866;p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7" name="Google Shape;867;p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8" name="Google Shape;868;p8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69" name="Google Shape;869;p8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0" name="Google Shape;870;p8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71" name="Google Shape;871;p8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2" name="Google Shape;872;p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3" name="Google Shape;873;p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4" name="Google Shape;874;p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67542914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Google Shape;1337;p1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1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9" name="Google Shape;1339;p1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0" name="Google Shape;1340;p1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1" name="Google Shape;1341;p1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42" name="Google Shape;1342;p13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6" name="Google Shape;876;p8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7" name="Google Shape;877;p8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78" name="Google Shape;878;p8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79" name="Google Shape;879;p8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0" name="Google Shape;880;p8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1" name="Google Shape;881;p8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82" name="Google Shape;882;p84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8559624"/>
      </p:ext>
    </p:extLst>
  </p:cSld>
  <p:clrMapOvr>
    <a:masterClrMapping/>
  </p:clrMapOvr>
</p:sldLayout>
</file>

<file path=ppt/slideLayouts/slideLayout19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4" name="Google Shape;884;p8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85" name="Google Shape;885;p8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6" name="Google Shape;886;p8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7" name="Google Shape;887;p8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8" name="Google Shape;888;p8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9" name="Google Shape;889;p8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90" name="Google Shape;890;p8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766276249"/>
      </p:ext>
    </p:extLst>
  </p:cSld>
  <p:clrMapOvr>
    <a:masterClrMapping/>
  </p:clrMapOvr>
</p:sldLayout>
</file>

<file path=ppt/slideLayouts/slideLayout19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3" name="Google Shape;893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4" name="Google Shape;894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5" name="Google Shape;895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96" name="Google Shape;896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7" name="Google Shape;897;p8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8" name="Google Shape;898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9" name="Google Shape;899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0" name="Google Shape;900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28180481"/>
      </p:ext>
    </p:extLst>
  </p:cSld>
  <p:clrMapOvr>
    <a:masterClrMapping/>
  </p:clrMapOvr>
</p:sldLayout>
</file>

<file path=ppt/slideLayouts/slideLayout19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2" name="Google Shape;902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3" name="Google Shape;903;p8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4" name="Google Shape;904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5" name="Google Shape;905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6" name="Google Shape;906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7" name="Google Shape;907;p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8" name="Google Shape;908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9" name="Google Shape;909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0" name="Google Shape;910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86352258"/>
      </p:ext>
    </p:extLst>
  </p:cSld>
  <p:clrMapOvr>
    <a:masterClrMapping/>
  </p:clrMapOvr>
</p:sldLayout>
</file>

<file path=ppt/slideLayouts/slideLayout19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1_Cover B">
    <p:spTree>
      <p:nvGrpSpPr>
        <p:cNvPr id="1" name="Shape 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2" name="Google Shape;912;p88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3" name="Google Shape;913;p88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914" name="Google Shape;914;p88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915" name="Google Shape;915;p88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6" name="Google Shape;916;p88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917" name="Google Shape;917;p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69738234"/>
      </p:ext>
    </p:extLst>
  </p:cSld>
  <p:clrMapOvr>
    <a:masterClrMapping/>
  </p:clrMapOvr>
</p:sldLayout>
</file>

<file path=ppt/slideLayouts/slideLayout19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0" name="Google Shape;920;p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1" name="Google Shape;921;p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2" name="Google Shape;922;p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3" name="Google Shape;923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4" name="Google Shape;924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5" name="Google Shape;925;p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6" name="Google Shape;926;p8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" name="Google Shape;927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8" name="Google Shape;928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" name="Google Shape;929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0" name="Google Shape;930;p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88071682"/>
      </p:ext>
    </p:extLst>
  </p:cSld>
  <p:clrMapOvr>
    <a:masterClrMapping/>
  </p:clrMapOvr>
</p:sldLayout>
</file>

<file path=ppt/slideLayouts/slideLayout19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4_Quotation">
    <p:spTree>
      <p:nvGrpSpPr>
        <p:cNvPr id="1" name="Shape 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2" name="Google Shape;932;p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3" name="Google Shape;933;p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4" name="Google Shape;934;p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" name="Google Shape;935;p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6" name="Google Shape;936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7" name="Google Shape;937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8" name="Google Shape;938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9" name="Google Shape;939;p9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0" name="Google Shape;940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1" name="Google Shape;941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2" name="Google Shape;942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3" name="Google Shape;943;p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09747296"/>
      </p:ext>
    </p:extLst>
  </p:cSld>
  <p:clrMapOvr>
    <a:masterClrMapping/>
  </p:clrMapOvr>
</p:sldLayout>
</file>

<file path=ppt/slideLayouts/slideLayout19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" name="Google Shape;945;p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6" name="Google Shape;946;p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" name="Google Shape;947;p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" name="Google Shape;948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9" name="Google Shape;949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0" name="Google Shape;950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1" name="Google Shape;951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2" name="Google Shape;952;p9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3" name="Google Shape;953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4" name="Google Shape;954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5" name="Google Shape;955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6" name="Google Shape;956;p9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19040531"/>
      </p:ext>
    </p:extLst>
  </p:cSld>
  <p:clrMapOvr>
    <a:masterClrMapping/>
  </p:clrMapOvr>
</p:sldLayout>
</file>

<file path=ppt/slideLayouts/slideLayout19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0" name="Google Shape;920;p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1" name="Google Shape;921;p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2" name="Google Shape;922;p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3" name="Google Shape;923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4" name="Google Shape;924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5" name="Google Shape;925;p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6" name="Google Shape;926;p8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" name="Google Shape;927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8" name="Google Shape;928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" name="Google Shape;929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0" name="Google Shape;930;p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8273751"/>
      </p:ext>
    </p:extLst>
  </p:cSld>
  <p:clrMapOvr>
    <a:masterClrMapping/>
  </p:clrMapOvr>
</p:sldLayout>
</file>

<file path=ppt/slideLayouts/slideLayout19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4_Quotation">
    <p:spTree>
      <p:nvGrpSpPr>
        <p:cNvPr id="1" name="Shape 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2" name="Google Shape;932;p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3" name="Google Shape;933;p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4" name="Google Shape;934;p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" name="Google Shape;935;p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6" name="Google Shape;936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7" name="Google Shape;937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8" name="Google Shape;938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9" name="Google Shape;939;p9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0" name="Google Shape;940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1" name="Google Shape;941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2" name="Google Shape;942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3" name="Google Shape;943;p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2049125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4" name="Google Shape;1344;p1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5" name="Google Shape;1345;p1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6" name="Google Shape;1346;p1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7" name="Google Shape;1347;p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8" name="Google Shape;1348;p1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49" name="Google Shape;1349;p1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0" name="Google Shape;1350;p1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1" name="Google Shape;1351;p1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2" name="Google Shape;1352;p13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" name="Google Shape;945;p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6" name="Google Shape;946;p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" name="Google Shape;947;p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" name="Google Shape;948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9" name="Google Shape;949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0" name="Google Shape;950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1" name="Google Shape;951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2" name="Google Shape;952;p9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3" name="Google Shape;953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4" name="Google Shape;954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5" name="Google Shape;955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6" name="Google Shape;956;p9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02176554"/>
      </p:ext>
    </p:extLst>
  </p:cSld>
  <p:clrMapOvr>
    <a:masterClrMapping/>
  </p:clrMapOvr>
</p:sldLayout>
</file>

<file path=ppt/slideLayouts/slideLayout19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" name="Google Shape;958;p9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9" name="Google Shape;959;p92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60" name="Google Shape;960;p9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61" name="Google Shape;961;p92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62" name="Google Shape;962;p92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63" name="Google Shape;963;p92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4" name="Google Shape;964;p92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5" name="Google Shape;965;p92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6" name="Google Shape;966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7" name="Google Shape;967;p9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68" name="Google Shape;968;p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568394304"/>
      </p:ext>
    </p:extLst>
  </p:cSld>
  <p:clrMapOvr>
    <a:masterClrMapping/>
  </p:clrMapOvr>
</p:sldLayout>
</file>

<file path=ppt/slideLayouts/slideLayout19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4_Quotation">
    <p:spTree>
      <p:nvGrpSpPr>
        <p:cNvPr id="1" name="Shape 9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" name="Google Shape;970;p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1" name="Google Shape;971;p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2" name="Google Shape;972;p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" name="Google Shape;973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" name="Google Shape;974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" name="Google Shape;975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" name="Google Shape;976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7" name="Google Shape;977;p9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8" name="Google Shape;978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9" name="Google Shape;979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0" name="Google Shape;980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1" name="Google Shape;981;p9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81672047"/>
      </p:ext>
    </p:extLst>
  </p:cSld>
  <p:clrMapOvr>
    <a:masterClrMapping/>
  </p:clrMapOvr>
</p:sldLayout>
</file>

<file path=ppt/slideLayouts/slideLayout19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4_Quotation">
    <p:spTree>
      <p:nvGrpSpPr>
        <p:cNvPr id="1" name="Shape 9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" name="Google Shape;970;p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1" name="Google Shape;971;p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2" name="Google Shape;972;p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" name="Google Shape;973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" name="Google Shape;974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" name="Google Shape;975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" name="Google Shape;976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7" name="Google Shape;977;p9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8" name="Google Shape;978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9" name="Google Shape;979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0" name="Google Shape;980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1" name="Google Shape;981;p9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87333970"/>
      </p:ext>
    </p:extLst>
  </p:cSld>
  <p:clrMapOvr>
    <a:masterClrMapping/>
  </p:clrMapOvr>
</p:sldLayout>
</file>

<file path=ppt/slideLayouts/slideLayout19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Google Shape;983;p9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" name="Google Shape;984;p9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" name="Google Shape;985;p9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86" name="Google Shape;986;p9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87" name="Google Shape;987;p9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88" name="Google Shape;988;p9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9" name="Google Shape;989;p9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90" name="Google Shape;990;p9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748467326"/>
      </p:ext>
    </p:extLst>
  </p:cSld>
  <p:clrMapOvr>
    <a:masterClrMapping/>
  </p:clrMapOvr>
</p:sldLayout>
</file>

<file path=ppt/slideLayouts/slideLayout19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2" name="Google Shape;992;p9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93" name="Google Shape;993;p9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4" name="Google Shape;994;p9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5" name="Google Shape;995;p9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96" name="Google Shape;996;p9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97" name="Google Shape;997;p9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" name="Google Shape;998;p9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07789828"/>
      </p:ext>
    </p:extLst>
  </p:cSld>
  <p:clrMapOvr>
    <a:masterClrMapping/>
  </p:clrMapOvr>
</p:sldLayout>
</file>

<file path=ppt/slideLayouts/slideLayout19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" name="Google Shape;1000;p9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01" name="Google Shape;1001;p9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02" name="Google Shape;1002;p9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03" name="Google Shape;1003;p9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4" name="Google Shape;1004;p9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05" name="Google Shape;1005;p9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06" name="Google Shape;1006;p9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3902399"/>
      </p:ext>
    </p:extLst>
  </p:cSld>
  <p:clrMapOvr>
    <a:masterClrMapping/>
  </p:clrMapOvr>
</p:sldLayout>
</file>

<file path=ppt/slideLayouts/slideLayout19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9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9" name="Google Shape;1009;p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0" name="Google Shape;1010;p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1" name="Google Shape;1011;p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2" name="Google Shape;1012;p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3" name="Google Shape;1013;p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4" name="Google Shape;1014;p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5" name="Google Shape;1015;p9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6" name="Google Shape;1016;p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7" name="Google Shape;1017;p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8" name="Google Shape;1018;p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19" name="Google Shape;1019;p9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41853728"/>
      </p:ext>
    </p:extLst>
  </p:cSld>
  <p:clrMapOvr>
    <a:masterClrMapping/>
  </p:clrMapOvr>
</p:sldLayout>
</file>

<file path=ppt/slideLayouts/slideLayout19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9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9" name="Google Shape;1009;p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0" name="Google Shape;1010;p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1" name="Google Shape;1011;p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2" name="Google Shape;1012;p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3" name="Google Shape;1013;p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4" name="Google Shape;1014;p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5" name="Google Shape;1015;p9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6" name="Google Shape;1016;p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7" name="Google Shape;1017;p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8" name="Google Shape;1018;p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19" name="Google Shape;1019;p9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37097911"/>
      </p:ext>
    </p:extLst>
  </p:cSld>
  <p:clrMapOvr>
    <a:masterClrMapping/>
  </p:clrMapOvr>
</p:sldLayout>
</file>

<file path=ppt/slideLayouts/slideLayout19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0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1" name="Google Shape;1021;p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2" name="Google Shape;1022;p9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3" name="Google Shape;1023;p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4" name="Google Shape;1024;p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5" name="Google Shape;1025;p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6" name="Google Shape;1026;p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7" name="Google Shape;1027;p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" name="Google Shape;1028;p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9" name="Google Shape;1029;p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" name="Google Shape;1030;p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0949826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5" name="Google Shape;1355;p1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6" name="Google Shape;1356;p1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7" name="Google Shape;1357;p1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8" name="Google Shape;1358;p13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Google Shape;1032;p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3" name="Google Shape;1033;p9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34" name="Google Shape;1034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5" name="Google Shape;1035;p9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6" name="Google Shape;1036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7" name="Google Shape;1037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8" name="Google Shape;1038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9" name="Google Shape;1039;p9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" name="Google Shape;1040;p9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1" name="Google Shape;1041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2" name="Google Shape;1042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64871699"/>
      </p:ext>
    </p:extLst>
  </p:cSld>
  <p:clrMapOvr>
    <a:masterClrMapping/>
  </p:clrMapOvr>
</p:sldLayout>
</file>

<file path=ppt/slideLayouts/slideLayout19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4" name="Google Shape;1044;p1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5" name="Google Shape;1045;p10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6" name="Google Shape;1046;p1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7" name="Google Shape;1047;p1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8" name="Google Shape;1048;p1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9" name="Google Shape;1049;p1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0" name="Google Shape;1050;p10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1" name="Google Shape;1051;p10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2" name="Google Shape;1052;p10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3" name="Google Shape;1053;p10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4" name="Google Shape;1054;p1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5" name="Google Shape;1055;p1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6" name="Google Shape;1056;p1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31590505"/>
      </p:ext>
    </p:extLst>
  </p:cSld>
  <p:clrMapOvr>
    <a:masterClrMapping/>
  </p:clrMapOvr>
</p:sldLayout>
</file>

<file path=ppt/slideLayouts/slideLayout19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8" name="Google Shape;1058;p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9" name="Google Shape;1059;p10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0" name="Google Shape;1060;p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1" name="Google Shape;1061;p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2" name="Google Shape;1062;p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3" name="Google Shape;1063;p1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4" name="Google Shape;1064;p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5" name="Google Shape;1065;p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6" name="Google Shape;1066;p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32610907"/>
      </p:ext>
    </p:extLst>
  </p:cSld>
  <p:clrMapOvr>
    <a:masterClrMapping/>
  </p:clrMapOvr>
</p:sldLayout>
</file>

<file path=ppt/slideLayouts/slideLayout19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10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69" name="Google Shape;1069;p10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0" name="Google Shape;1070;p10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71" name="Google Shape;1071;p10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2" name="Google Shape;1072;p10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" name="Google Shape;1073;p10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74" name="Google Shape;1074;p10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75" name="Google Shape;1075;p10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50272200"/>
      </p:ext>
    </p:extLst>
  </p:cSld>
  <p:clrMapOvr>
    <a:masterClrMapping/>
  </p:clrMapOvr>
</p:sldLayout>
</file>

<file path=ppt/slideLayouts/slideLayout19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7" name="Google Shape;1077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8" name="Google Shape;1078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9" name="Google Shape;1079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0" name="Google Shape;1080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1" name="Google Shape;1081;p10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" name="Google Shape;1082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" name="Google Shape;1083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4" name="Google Shape;1084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28646342"/>
      </p:ext>
    </p:extLst>
  </p:cSld>
  <p:clrMapOvr>
    <a:masterClrMapping/>
  </p:clrMapOvr>
</p:sldLayout>
</file>

<file path=ppt/slideLayouts/slideLayout19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" name="Google Shape;1086;p10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7" name="Google Shape;1087;p10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" name="Google Shape;1088;p10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89" name="Google Shape;1089;p1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0" name="Google Shape;1090;p10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1" name="Google Shape;1091;p1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2" name="Google Shape;1092;p10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3" name="Google Shape;1093;p10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608626835"/>
      </p:ext>
    </p:extLst>
  </p:cSld>
  <p:clrMapOvr>
    <a:masterClrMapping/>
  </p:clrMapOvr>
</p:sldLayout>
</file>

<file path=ppt/slideLayouts/slideLayout19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5" name="Google Shape;1095;p10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96" name="Google Shape;1096;p10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7" name="Google Shape;1097;p10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8" name="Google Shape;1098;p10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9" name="Google Shape;1099;p10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0" name="Google Shape;1100;p10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1" name="Google Shape;1101;p10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85770182"/>
      </p:ext>
    </p:extLst>
  </p:cSld>
  <p:clrMapOvr>
    <a:masterClrMapping/>
  </p:clrMapOvr>
</p:sldLayout>
</file>

<file path=ppt/slideLayouts/slideLayout19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" name="Google Shape;1103;p10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4" name="Google Shape;1104;p10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5" name="Google Shape;1105;p10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6" name="Google Shape;1106;p10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0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8" name="Google Shape;1108;p10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09" name="Google Shape;1109;p10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1628581"/>
      </p:ext>
    </p:extLst>
  </p:cSld>
  <p:clrMapOvr>
    <a:masterClrMapping/>
  </p:clrMapOvr>
</p:sldLayout>
</file>

<file path=ppt/slideLayouts/slideLayout19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1" name="Google Shape;1111;p1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2" name="Google Shape;1112;p1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3" name="Google Shape;1113;p1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4" name="Google Shape;1114;p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5" name="Google Shape;1115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6" name="Google Shape;1116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7" name="Google Shape;1117;p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8" name="Google Shape;1118;p10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9" name="Google Shape;1119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0" name="Google Shape;1120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1" name="Google Shape;1121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22" name="Google Shape;1122;p10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9909612"/>
      </p:ext>
    </p:extLst>
  </p:cSld>
  <p:clrMapOvr>
    <a:masterClrMapping/>
  </p:clrMapOvr>
</p:sldLayout>
</file>

<file path=ppt/slideLayouts/slideLayout19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4" name="Google Shape;1124;p1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5" name="Google Shape;1125;p10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6" name="Google Shape;1126;p1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7" name="Google Shape;1127;p1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8" name="Google Shape;1128;p1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9" name="Google Shape;1129;p1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" name="Google Shape;1130;p1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1" name="Google Shape;1131;p1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2" name="Google Shape;1132;p1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3" name="Google Shape;1133;p1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7393508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" name="Google Shape;1360;p1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61" name="Google Shape;1361;p13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62" name="Google Shape;1362;p1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3" name="Google Shape;1363;p1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" name="Google Shape;1135;p1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1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37" name="Google Shape;1137;p1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8" name="Google Shape;1138;p10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9" name="Google Shape;1139;p1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0" name="Google Shape;1140;p1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1" name="Google Shape;1141;p1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2" name="Google Shape;1142;p1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3" name="Google Shape;1143;p1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4" name="Google Shape;1144;p1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5" name="Google Shape;1145;p1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44557382"/>
      </p:ext>
    </p:extLst>
  </p:cSld>
  <p:clrMapOvr>
    <a:masterClrMapping/>
  </p:clrMapOvr>
</p:sldLayout>
</file>

<file path=ppt/slideLayouts/slideLayout19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" name="Google Shape;1147;p1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" name="Google Shape;1148;p11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" name="Google Shape;1149;p1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" name="Google Shape;1150;p1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" name="Google Shape;1151;p1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" name="Google Shape;1152;p1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" name="Google Shape;1153;p1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4" name="Google Shape;1154;p1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5" name="Google Shape;1155;p1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6" name="Google Shape;1156;p1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" name="Google Shape;1157;p1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" name="Google Shape;1158;p1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9" name="Google Shape;1159;p1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15765643"/>
      </p:ext>
    </p:extLst>
  </p:cSld>
  <p:clrMapOvr>
    <a:masterClrMapping/>
  </p:clrMapOvr>
</p:sldLayout>
</file>

<file path=ppt/slideLayouts/slideLayout19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1" name="Google Shape;1161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2" name="Google Shape;1162;p11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3" name="Google Shape;1163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4" name="Google Shape;1164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5" name="Google Shape;1165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6" name="Google Shape;1166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" name="Google Shape;1167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8" name="Google Shape;1168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9" name="Google Shape;1169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74446409"/>
      </p:ext>
    </p:extLst>
  </p:cSld>
  <p:clrMapOvr>
    <a:masterClrMapping/>
  </p:clrMapOvr>
</p:sldLayout>
</file>

<file path=ppt/slideLayouts/slideLayout19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1" name="Google Shape;1171;p1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72" name="Google Shape;1172;p1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3" name="Google Shape;1173;p1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4" name="Google Shape;1174;p1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5" name="Google Shape;1175;p1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6" name="Google Shape;1176;p1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7" name="Google Shape;1177;p1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78" name="Google Shape;1178;p1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299479094"/>
      </p:ext>
    </p:extLst>
  </p:cSld>
  <p:clrMapOvr>
    <a:masterClrMapping/>
  </p:clrMapOvr>
</p:sldLayout>
</file>

<file path=ppt/slideLayouts/slideLayout19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" name="Google Shape;1180;p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" name="Google Shape;1181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" name="Google Shape;1182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3" name="Google Shape;1183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4" name="Google Shape;1184;p1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5" name="Google Shape;1185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6" name="Google Shape;1186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7" name="Google Shape;1187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301207"/>
      </p:ext>
    </p:extLst>
  </p:cSld>
  <p:clrMapOvr>
    <a:masterClrMapping/>
  </p:clrMapOvr>
</p:sldLayout>
</file>

<file path=ppt/slideLayouts/slideLayout19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4_Quotation">
    <p:spTree>
      <p:nvGrpSpPr>
        <p:cNvPr id="1" name="Shape 1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" name="Google Shape;1189;p1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0" name="Google Shape;1190;p1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1" name="Google Shape;1191;p1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2" name="Google Shape;1192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3" name="Google Shape;1193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4" name="Google Shape;1194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5" name="Google Shape;1195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6" name="Google Shape;1196;p11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7" name="Google Shape;1197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98" name="Google Shape;1198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9" name="Google Shape;1199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00" name="Google Shape;1200;p11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22207593"/>
      </p:ext>
    </p:extLst>
  </p:cSld>
  <p:clrMapOvr>
    <a:masterClrMapping/>
  </p:clrMapOvr>
</p:sldLayout>
</file>

<file path=ppt/slideLayouts/slideLayout19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" name="Google Shape;1086;p10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7" name="Google Shape;1087;p10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" name="Google Shape;1088;p10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89" name="Google Shape;1089;p1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0" name="Google Shape;1090;p10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1" name="Google Shape;1091;p1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2" name="Google Shape;1092;p10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3" name="Google Shape;1093;p10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756915734"/>
      </p:ext>
    </p:extLst>
  </p:cSld>
  <p:clrMapOvr>
    <a:masterClrMapping/>
  </p:clrMapOvr>
</p:sldLayout>
</file>

<file path=ppt/slideLayouts/slideLayout19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5" name="Google Shape;1095;p10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96" name="Google Shape;1096;p10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7" name="Google Shape;1097;p10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8" name="Google Shape;1098;p10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9" name="Google Shape;1099;p10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0" name="Google Shape;1100;p10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1" name="Google Shape;1101;p10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16394958"/>
      </p:ext>
    </p:extLst>
  </p:cSld>
  <p:clrMapOvr>
    <a:masterClrMapping/>
  </p:clrMapOvr>
</p:sldLayout>
</file>

<file path=ppt/slideLayouts/slideLayout19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" name="Google Shape;1103;p10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4" name="Google Shape;1104;p10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5" name="Google Shape;1105;p10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6" name="Google Shape;1106;p10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0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8" name="Google Shape;1108;p10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09" name="Google Shape;1109;p10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00310482"/>
      </p:ext>
    </p:extLst>
  </p:cSld>
  <p:clrMapOvr>
    <a:masterClrMapping/>
  </p:clrMapOvr>
</p:sldLayout>
</file>

<file path=ppt/slideLayouts/slideLayout19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1" name="Google Shape;1111;p1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2" name="Google Shape;1112;p1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3" name="Google Shape;1113;p1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4" name="Google Shape;1114;p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5" name="Google Shape;1115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6" name="Google Shape;1116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7" name="Google Shape;1117;p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8" name="Google Shape;1118;p10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9" name="Google Shape;1119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0" name="Google Shape;1120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1" name="Google Shape;1121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22" name="Google Shape;1122;p10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93981763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1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6" name="Google Shape;1366;p1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7" name="Google Shape;1367;p1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8" name="Google Shape;1368;p1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9" name="Google Shape;1369;p1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0" name="Google Shape;1370;p1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71" name="Google Shape;1371;p13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9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4" name="Google Shape;1124;p1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5" name="Google Shape;1125;p10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6" name="Google Shape;1126;p1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7" name="Google Shape;1127;p1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8" name="Google Shape;1128;p1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9" name="Google Shape;1129;p1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" name="Google Shape;1130;p1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1" name="Google Shape;1131;p1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2" name="Google Shape;1132;p1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3" name="Google Shape;1133;p1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87198511"/>
      </p:ext>
    </p:extLst>
  </p:cSld>
  <p:clrMapOvr>
    <a:masterClrMapping/>
  </p:clrMapOvr>
</p:sldLayout>
</file>

<file path=ppt/slideLayouts/slideLayout19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" name="Google Shape;1135;p1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1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37" name="Google Shape;1137;p1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8" name="Google Shape;1138;p10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9" name="Google Shape;1139;p1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0" name="Google Shape;1140;p1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1" name="Google Shape;1141;p1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2" name="Google Shape;1142;p1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3" name="Google Shape;1143;p1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4" name="Google Shape;1144;p1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5" name="Google Shape;1145;p1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26680093"/>
      </p:ext>
    </p:extLst>
  </p:cSld>
  <p:clrMapOvr>
    <a:masterClrMapping/>
  </p:clrMapOvr>
</p:sldLayout>
</file>

<file path=ppt/slideLayouts/slideLayout19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" name="Google Shape;1147;p1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" name="Google Shape;1148;p11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" name="Google Shape;1149;p1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" name="Google Shape;1150;p1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" name="Google Shape;1151;p1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" name="Google Shape;1152;p1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" name="Google Shape;1153;p1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4" name="Google Shape;1154;p1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5" name="Google Shape;1155;p1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6" name="Google Shape;1156;p1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" name="Google Shape;1157;p1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" name="Google Shape;1158;p1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9" name="Google Shape;1159;p1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11030522"/>
      </p:ext>
    </p:extLst>
  </p:cSld>
  <p:clrMapOvr>
    <a:masterClrMapping/>
  </p:clrMapOvr>
</p:sldLayout>
</file>

<file path=ppt/slideLayouts/slideLayout19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1" name="Google Shape;1161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2" name="Google Shape;1162;p11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3" name="Google Shape;1163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4" name="Google Shape;1164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5" name="Google Shape;1165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6" name="Google Shape;1166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" name="Google Shape;1167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8" name="Google Shape;1168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9" name="Google Shape;1169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0237969"/>
      </p:ext>
    </p:extLst>
  </p:cSld>
  <p:clrMapOvr>
    <a:masterClrMapping/>
  </p:clrMapOvr>
</p:sldLayout>
</file>

<file path=ppt/slideLayouts/slideLayout19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1" name="Google Shape;1171;p1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72" name="Google Shape;1172;p1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3" name="Google Shape;1173;p1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4" name="Google Shape;1174;p1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5" name="Google Shape;1175;p1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6" name="Google Shape;1176;p1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7" name="Google Shape;1177;p1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78" name="Google Shape;1178;p1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343769736"/>
      </p:ext>
    </p:extLst>
  </p:cSld>
  <p:clrMapOvr>
    <a:masterClrMapping/>
  </p:clrMapOvr>
</p:sldLayout>
</file>

<file path=ppt/slideLayouts/slideLayout19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" name="Google Shape;1180;p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" name="Google Shape;1181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" name="Google Shape;1182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3" name="Google Shape;1183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4" name="Google Shape;1184;p1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5" name="Google Shape;1185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6" name="Google Shape;1186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7" name="Google Shape;1187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16737097"/>
      </p:ext>
    </p:extLst>
  </p:cSld>
  <p:clrMapOvr>
    <a:masterClrMapping/>
  </p:clrMapOvr>
</p:sldLayout>
</file>

<file path=ppt/slideLayouts/slideLayout19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4_Quotation">
    <p:spTree>
      <p:nvGrpSpPr>
        <p:cNvPr id="1" name="Shape 1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" name="Google Shape;1189;p1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0" name="Google Shape;1190;p1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1" name="Google Shape;1191;p1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2" name="Google Shape;1192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3" name="Google Shape;1193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4" name="Google Shape;1194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5" name="Google Shape;1195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6" name="Google Shape;1196;p11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7" name="Google Shape;1197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98" name="Google Shape;1198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9" name="Google Shape;1199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00" name="Google Shape;1200;p11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48104793"/>
      </p:ext>
    </p:extLst>
  </p:cSld>
  <p:clrMapOvr>
    <a:masterClrMapping/>
  </p:clrMapOvr>
</p:sldLayout>
</file>

<file path=ppt/slideLayouts/slideLayout19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1_Title Slide">
    <p:spTree>
      <p:nvGrpSpPr>
        <p:cNvPr id="1" name="Shape 1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2" name="Google Shape;1202;p115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3" name="Google Shape;1203;p115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04" name="Google Shape;1204;p11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05" name="Google Shape;1205;p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6" name="Google Shape;1206;p1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51906019"/>
      </p:ext>
    </p:extLst>
  </p:cSld>
  <p:clrMapOvr>
    <a:masterClrMapping/>
  </p:clrMapOvr>
</p:sldLayout>
</file>

<file path=ppt/slideLayouts/slideLayout19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" name="Google Shape;1208;p11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9" name="Google Shape;1209;p11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0" name="Google Shape;1210;p11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11" name="Google Shape;1211;p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2" name="Google Shape;1212;p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3" name="Google Shape;1213;p11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4" name="Google Shape;1214;p11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5" name="Google Shape;1215;p11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16" name="Google Shape;1216;p11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38031565"/>
      </p:ext>
    </p:extLst>
  </p:cSld>
  <p:clrMapOvr>
    <a:masterClrMapping/>
  </p:clrMapOvr>
</p:sldLayout>
</file>

<file path=ppt/slideLayouts/slideLayout19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" name="Google Shape;1218;p11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9" name="Google Shape;1219;p11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0" name="Google Shape;1220;p11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21" name="Google Shape;1221;p1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2" name="Google Shape;1222;p1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23" name="Google Shape;1223;p11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4" name="Google Shape;1224;p11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5" name="Google Shape;1225;p11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26" name="Google Shape;1226;p11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038496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" name="Google Shape;1392;p14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3" name="Google Shape;1393;p14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4" name="Google Shape;1394;p14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95" name="Google Shape;1395;p1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96" name="Google Shape;1396;p14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97" name="Google Shape;1397;p1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8" name="Google Shape;1398;p14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99" name="Google Shape;1399;p14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19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" name="Google Shape;1228;p11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9" name="Google Shape;1229;p11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0" name="Google Shape;1230;p11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1" name="Google Shape;1231;p11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32" name="Google Shape;1232;p11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6527297"/>
      </p:ext>
    </p:extLst>
  </p:cSld>
  <p:clrMapOvr>
    <a:masterClrMapping/>
  </p:clrMapOvr>
</p:sldLayout>
</file>

<file path=ppt/slideLayouts/slideLayout19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" name="Google Shape;1234;p11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35" name="Google Shape;1235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36" name="Google Shape;1236;p11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7" name="Google Shape;1237;p11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8" name="Google Shape;1238;p11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38078666"/>
      </p:ext>
    </p:extLst>
  </p:cSld>
  <p:clrMapOvr>
    <a:masterClrMapping/>
  </p:clrMapOvr>
</p:sldLayout>
</file>

<file path=ppt/slideLayouts/slideLayout19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12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1" name="Google Shape;1241;p12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2" name="Google Shape;1242;p12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3" name="Google Shape;1243;p12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4" name="Google Shape;1244;p12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45" name="Google Shape;1245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68862772"/>
      </p:ext>
    </p:extLst>
  </p:cSld>
  <p:clrMapOvr>
    <a:masterClrMapping/>
  </p:clrMapOvr>
</p:sldLayout>
</file>

<file path=ppt/slideLayouts/slideLayout19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" name="Google Shape;1247;p12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8" name="Google Shape;1248;p12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9" name="Google Shape;1249;p12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50" name="Google Shape;1250;p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1" name="Google Shape;1251;p1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52" name="Google Shape;1252;p12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3" name="Google Shape;1253;p12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4" name="Google Shape;1254;p12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55" name="Google Shape;1255;p12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06636022"/>
      </p:ext>
    </p:extLst>
  </p:cSld>
  <p:clrMapOvr>
    <a:masterClrMapping/>
  </p:clrMapOvr>
</p:sldLayout>
</file>

<file path=ppt/slideLayouts/slideLayout19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7" name="Google Shape;1257;p12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8" name="Google Shape;1258;p12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9" name="Google Shape;1259;p12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0" name="Google Shape;1260;p12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61" name="Google Shape;1261;p12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07531267"/>
      </p:ext>
    </p:extLst>
  </p:cSld>
  <p:clrMapOvr>
    <a:masterClrMapping/>
  </p:clrMapOvr>
</p:sldLayout>
</file>

<file path=ppt/slideLayouts/slideLayout19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3" name="Google Shape;1263;p12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4" name="Google Shape;1264;p123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65" name="Google Shape;1265;p12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6" name="Google Shape;1266;p12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7" name="Google Shape;1267;p12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04274836"/>
      </p:ext>
    </p:extLst>
  </p:cSld>
  <p:clrMapOvr>
    <a:masterClrMapping/>
  </p:clrMapOvr>
</p:sldLayout>
</file>

<file path=ppt/slideLayouts/slideLayout19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" name="Google Shape;1269;p12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0" name="Google Shape;1270;p12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1" name="Google Shape;1271;p12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2" name="Google Shape;1272;p12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3" name="Google Shape;1273;p12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74" name="Google Shape;1274;p124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65882885"/>
      </p:ext>
    </p:extLst>
  </p:cSld>
  <p:clrMapOvr>
    <a:masterClrMapping/>
  </p:clrMapOvr>
</p:sldLayout>
</file>

<file path=ppt/slideLayouts/slideLayout19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6" name="Google Shape;1276;p12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7" name="Google Shape;1277;p12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8" name="Google Shape;1278;p12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9" name="Google Shape;1279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0" name="Google Shape;1280;p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81" name="Google Shape;1281;p12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2" name="Google Shape;1282;p12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3" name="Google Shape;1283;p12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84" name="Google Shape;1284;p12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73337692"/>
      </p:ext>
    </p:extLst>
  </p:cSld>
  <p:clrMapOvr>
    <a:masterClrMapping/>
  </p:clrMapOvr>
</p:sldLayout>
</file>

<file path=ppt/slideLayouts/slideLayout19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6" name="Google Shape;1286;p12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7" name="Google Shape;1287;p12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8" name="Google Shape;1288;p12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9" name="Google Shape;1289;p12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90" name="Google Shape;1290;p12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40418195"/>
      </p:ext>
    </p:extLst>
  </p:cSld>
  <p:clrMapOvr>
    <a:masterClrMapping/>
  </p:clrMapOvr>
</p:sldLayout>
</file>

<file path=ppt/slideLayouts/slideLayout19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2" name="Google Shape;1292;p12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93" name="Google Shape;1293;p12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94" name="Google Shape;1294;p12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5" name="Google Shape;1295;p12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6" name="Google Shape;1296;p12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894614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1" name="Google Shape;1401;p14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02" name="Google Shape;1402;p14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3" name="Google Shape;1403;p1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4" name="Google Shape;1404;p14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05" name="Google Shape;1405;p14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06" name="Google Shape;1406;p14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7" name="Google Shape;1407;p14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9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8" name="Google Shape;1298;p12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9" name="Google Shape;1299;p12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0" name="Google Shape;1300;p12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1" name="Google Shape;1301;p12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2" name="Google Shape;1302;p12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03" name="Google Shape;1303;p12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9291609"/>
      </p:ext>
    </p:extLst>
  </p:cSld>
  <p:clrMapOvr>
    <a:masterClrMapping/>
  </p:clrMapOvr>
</p:sldLayout>
</file>

<file path=ppt/slideLayouts/slideLayout19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5" name="Google Shape;1305;p12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6" name="Google Shape;1306;p12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7" name="Google Shape;1307;p1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8" name="Google Shape;1308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9" name="Google Shape;1309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10" name="Google Shape;1310;p12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1" name="Google Shape;1311;p12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2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3" name="Google Shape;1313;p12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84517622"/>
      </p:ext>
    </p:extLst>
  </p:cSld>
  <p:clrMapOvr>
    <a:masterClrMapping/>
  </p:clrMapOvr>
</p:sldLayout>
</file>

<file path=ppt/slideLayouts/slideLayout19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" name="Google Shape;1315;p1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6" name="Google Shape;1316;p1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7" name="Google Shape;1317;p1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18" name="Google Shape;1318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" name="Google Shape;1319;p1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20" name="Google Shape;1320;p1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1" name="Google Shape;1321;p1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2" name="Google Shape;1322;p1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3" name="Google Shape;1323;p13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32280187"/>
      </p:ext>
    </p:extLst>
  </p:cSld>
  <p:clrMapOvr>
    <a:masterClrMapping/>
  </p:clrMapOvr>
</p:sldLayout>
</file>

<file path=ppt/slideLayouts/slideLayout19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p1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" name="Google Shape;1326;p1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7" name="Google Shape;1327;p1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8" name="Google Shape;1328;p1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9" name="Google Shape;1329;p13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07477565"/>
      </p:ext>
    </p:extLst>
  </p:cSld>
  <p:clrMapOvr>
    <a:masterClrMapping/>
  </p:clrMapOvr>
</p:sldLayout>
</file>

<file path=ppt/slideLayouts/slideLayout19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" name="Google Shape;1331;p1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32" name="Google Shape;1332;p13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33" name="Google Shape;1333;p1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4" name="Google Shape;1334;p1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5" name="Google Shape;1335;p1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84198958"/>
      </p:ext>
    </p:extLst>
  </p:cSld>
  <p:clrMapOvr>
    <a:masterClrMapping/>
  </p:clrMapOvr>
</p:sldLayout>
</file>

<file path=ppt/slideLayouts/slideLayout19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Google Shape;1337;p1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1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9" name="Google Shape;1339;p1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0" name="Google Shape;1340;p1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1" name="Google Shape;1341;p1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42" name="Google Shape;1342;p13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97636560"/>
      </p:ext>
    </p:extLst>
  </p:cSld>
  <p:clrMapOvr>
    <a:masterClrMapping/>
  </p:clrMapOvr>
</p:sldLayout>
</file>

<file path=ppt/slideLayouts/slideLayout19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4" name="Google Shape;1344;p1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5" name="Google Shape;1345;p1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6" name="Google Shape;1346;p1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7" name="Google Shape;1347;p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8" name="Google Shape;1348;p1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49" name="Google Shape;1349;p1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0" name="Google Shape;1350;p1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1" name="Google Shape;1351;p1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2" name="Google Shape;1352;p13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1699941"/>
      </p:ext>
    </p:extLst>
  </p:cSld>
  <p:clrMapOvr>
    <a:masterClrMapping/>
  </p:clrMapOvr>
</p:sldLayout>
</file>

<file path=ppt/slideLayouts/slideLayout19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5" name="Google Shape;1355;p1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6" name="Google Shape;1356;p1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7" name="Google Shape;1357;p1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8" name="Google Shape;1358;p13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8418599"/>
      </p:ext>
    </p:extLst>
  </p:cSld>
  <p:clrMapOvr>
    <a:masterClrMapping/>
  </p:clrMapOvr>
</p:sldLayout>
</file>

<file path=ppt/slideLayouts/slideLayout19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" name="Google Shape;1360;p1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61" name="Google Shape;1361;p13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62" name="Google Shape;1362;p1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3" name="Google Shape;1363;p1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40205210"/>
      </p:ext>
    </p:extLst>
  </p:cSld>
  <p:clrMapOvr>
    <a:masterClrMapping/>
  </p:clrMapOvr>
</p:sldLayout>
</file>

<file path=ppt/slideLayouts/slideLayout19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6" name="Google Shape;1366;p1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7" name="Google Shape;1367;p1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8" name="Google Shape;1368;p1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9" name="Google Shape;1369;p1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0" name="Google Shape;1370;p1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71" name="Google Shape;1371;p13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35458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oogle Shape;15;p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" name="Google Shape;16;p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" name="Google Shape;17;p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" name="Google Shape;18;p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;p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" name="Google Shape;20;p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" name="Google Shape;23;p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" name="Google Shape;24;p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" name="Google Shape;178;p1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9" name="Google Shape;179;p1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2" name="Google Shape;182;p1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3" name="Google Shape;183;p1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1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9" name="Google Shape;1409;p1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10" name="Google Shape;1410;p14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11" name="Google Shape;1411;p1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12" name="Google Shape;1412;p1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3" name="Google Shape;1413;p1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14" name="Google Shape;1414;p1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15" name="Google Shape;1415;p143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3" name="Google Shape;1373;p13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4" name="Google Shape;1374;p13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5" name="Google Shape;1375;p13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6" name="Google Shape;1376;p13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77" name="Google Shape;1377;p13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94044162"/>
      </p:ext>
    </p:extLst>
  </p:cSld>
  <p:clrMapOvr>
    <a:masterClrMapping/>
  </p:clrMapOvr>
</p:sldLayout>
</file>

<file path=ppt/slideLayouts/slideLayout20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9" name="Google Shape;1379;p13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80" name="Google Shape;1380;p13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81" name="Google Shape;1381;p13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2" name="Google Shape;1382;p13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3" name="Google Shape;1383;p13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66387342"/>
      </p:ext>
    </p:extLst>
  </p:cSld>
  <p:clrMapOvr>
    <a:masterClrMapping/>
  </p:clrMapOvr>
</p:sldLayout>
</file>

<file path=ppt/slideLayouts/slideLayout20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5" name="Google Shape;1385;p14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6" name="Google Shape;1386;p14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7" name="Google Shape;1387;p14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8" name="Google Shape;1388;p14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9" name="Google Shape;1389;p14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90" name="Google Shape;1390;p14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68538240"/>
      </p:ext>
    </p:extLst>
  </p:cSld>
  <p:clrMapOvr>
    <a:masterClrMapping/>
  </p:clrMapOvr>
</p:sldLayout>
</file>

<file path=ppt/slideLayouts/slideLayout20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5" name="Google Shape;1305;p12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6" name="Google Shape;1306;p12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7" name="Google Shape;1307;p1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8" name="Google Shape;1308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9" name="Google Shape;1309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10" name="Google Shape;1310;p12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1" name="Google Shape;1311;p12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2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3" name="Google Shape;1313;p12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18191119"/>
      </p:ext>
    </p:extLst>
  </p:cSld>
  <p:clrMapOvr>
    <a:masterClrMapping/>
  </p:clrMapOvr>
</p:sldLayout>
</file>

<file path=ppt/slideLayouts/slideLayout20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" name="Google Shape;1315;p1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6" name="Google Shape;1316;p1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7" name="Google Shape;1317;p1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18" name="Google Shape;1318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" name="Google Shape;1319;p1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20" name="Google Shape;1320;p1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1" name="Google Shape;1321;p1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2" name="Google Shape;1322;p1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3" name="Google Shape;1323;p13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9904619"/>
      </p:ext>
    </p:extLst>
  </p:cSld>
  <p:clrMapOvr>
    <a:masterClrMapping/>
  </p:clrMapOvr>
</p:sldLayout>
</file>

<file path=ppt/slideLayouts/slideLayout20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p1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" name="Google Shape;1326;p1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7" name="Google Shape;1327;p1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8" name="Google Shape;1328;p1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9" name="Google Shape;1329;p13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2654723"/>
      </p:ext>
    </p:extLst>
  </p:cSld>
  <p:clrMapOvr>
    <a:masterClrMapping/>
  </p:clrMapOvr>
</p:sldLayout>
</file>

<file path=ppt/slideLayouts/slideLayout20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" name="Google Shape;1331;p1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32" name="Google Shape;1332;p13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33" name="Google Shape;1333;p1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4" name="Google Shape;1334;p1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5" name="Google Shape;1335;p1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07225367"/>
      </p:ext>
    </p:extLst>
  </p:cSld>
  <p:clrMapOvr>
    <a:masterClrMapping/>
  </p:clrMapOvr>
</p:sldLayout>
</file>

<file path=ppt/slideLayouts/slideLayout20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Google Shape;1337;p1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1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9" name="Google Shape;1339;p1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0" name="Google Shape;1340;p1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1" name="Google Shape;1341;p1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42" name="Google Shape;1342;p13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80726604"/>
      </p:ext>
    </p:extLst>
  </p:cSld>
  <p:clrMapOvr>
    <a:masterClrMapping/>
  </p:clrMapOvr>
</p:sldLayout>
</file>

<file path=ppt/slideLayouts/slideLayout20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4" name="Google Shape;1344;p1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5" name="Google Shape;1345;p1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6" name="Google Shape;1346;p1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7" name="Google Shape;1347;p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8" name="Google Shape;1348;p1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49" name="Google Shape;1349;p1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0" name="Google Shape;1350;p1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1" name="Google Shape;1351;p1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2" name="Google Shape;1352;p13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87198130"/>
      </p:ext>
    </p:extLst>
  </p:cSld>
  <p:clrMapOvr>
    <a:masterClrMapping/>
  </p:clrMapOvr>
</p:sldLayout>
</file>

<file path=ppt/slideLayouts/slideLayout20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5" name="Google Shape;1355;p1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6" name="Google Shape;1356;p1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7" name="Google Shape;1357;p1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8" name="Google Shape;1358;p13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1562713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7" name="Google Shape;1417;p1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8" name="Google Shape;1418;p1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9" name="Google Shape;1419;p1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0" name="Google Shape;1420;p1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1" name="Google Shape;1421;p1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2" name="Google Shape;1422;p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23" name="Google Shape;1423;p1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24" name="Google Shape;1424;p1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5" name="Google Shape;1425;p1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6" name="Google Shape;1426;p1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7" name="Google Shape;1427;p1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28" name="Google Shape;1428;p14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" name="Google Shape;1360;p1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61" name="Google Shape;1361;p13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62" name="Google Shape;1362;p1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3" name="Google Shape;1363;p1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45869498"/>
      </p:ext>
    </p:extLst>
  </p:cSld>
  <p:clrMapOvr>
    <a:masterClrMapping/>
  </p:clrMapOvr>
</p:sldLayout>
</file>

<file path=ppt/slideLayouts/slideLayout20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6" name="Google Shape;1366;p1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7" name="Google Shape;1367;p1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8" name="Google Shape;1368;p1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9" name="Google Shape;1369;p1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0" name="Google Shape;1370;p1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71" name="Google Shape;1371;p13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14324554"/>
      </p:ext>
    </p:extLst>
  </p:cSld>
  <p:clrMapOvr>
    <a:masterClrMapping/>
  </p:clrMapOvr>
</p:sldLayout>
</file>

<file path=ppt/slideLayouts/slideLayout20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" name="Google Shape;1392;p14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3" name="Google Shape;1393;p14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4" name="Google Shape;1394;p14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95" name="Google Shape;1395;p1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96" name="Google Shape;1396;p14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97" name="Google Shape;1397;p1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8" name="Google Shape;1398;p14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99" name="Google Shape;1399;p14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005952472"/>
      </p:ext>
    </p:extLst>
  </p:cSld>
  <p:clrMapOvr>
    <a:masterClrMapping/>
  </p:clrMapOvr>
</p:sldLayout>
</file>

<file path=ppt/slideLayouts/slideLayout20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1" name="Google Shape;1401;p14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02" name="Google Shape;1402;p14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3" name="Google Shape;1403;p1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4" name="Google Shape;1404;p14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05" name="Google Shape;1405;p14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06" name="Google Shape;1406;p14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7" name="Google Shape;1407;p14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51976535"/>
      </p:ext>
    </p:extLst>
  </p:cSld>
  <p:clrMapOvr>
    <a:masterClrMapping/>
  </p:clrMapOvr>
</p:sldLayout>
</file>

<file path=ppt/slideLayouts/slideLayout20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9" name="Google Shape;1409;p1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10" name="Google Shape;1410;p14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11" name="Google Shape;1411;p1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12" name="Google Shape;1412;p1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3" name="Google Shape;1413;p1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14" name="Google Shape;1414;p1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15" name="Google Shape;1415;p143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5577885"/>
      </p:ext>
    </p:extLst>
  </p:cSld>
  <p:clrMapOvr>
    <a:masterClrMapping/>
  </p:clrMapOvr>
</p:sldLayout>
</file>

<file path=ppt/slideLayouts/slideLayout20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7" name="Google Shape;1417;p1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8" name="Google Shape;1418;p1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9" name="Google Shape;1419;p1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0" name="Google Shape;1420;p1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1" name="Google Shape;1421;p1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2" name="Google Shape;1422;p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23" name="Google Shape;1423;p1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24" name="Google Shape;1424;p1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5" name="Google Shape;1425;p1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6" name="Google Shape;1426;p1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7" name="Google Shape;1427;p1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28" name="Google Shape;1428;p14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421344"/>
      </p:ext>
    </p:extLst>
  </p:cSld>
  <p:clrMapOvr>
    <a:masterClrMapping/>
  </p:clrMapOvr>
</p:sldLayout>
</file>

<file path=ppt/slideLayouts/slideLayout20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7" name="Google Shape;1417;p1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8" name="Google Shape;1418;p1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9" name="Google Shape;1419;p1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0" name="Google Shape;1420;p1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1" name="Google Shape;1421;p1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2" name="Google Shape;1422;p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23" name="Google Shape;1423;p1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24" name="Google Shape;1424;p1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5" name="Google Shape;1425;p1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6" name="Google Shape;1426;p1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7" name="Google Shape;1427;p1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28" name="Google Shape;1428;p14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24945724"/>
      </p:ext>
    </p:extLst>
  </p:cSld>
  <p:clrMapOvr>
    <a:masterClrMapping/>
  </p:clrMapOvr>
</p:sldLayout>
</file>

<file path=ppt/slideLayouts/slideLayout20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0" name="Google Shape;1430;p1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1" name="Google Shape;1431;p1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32" name="Google Shape;1432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33" name="Google Shape;1433;p14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4" name="Google Shape;1434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35" name="Google Shape;1435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6" name="Google Shape;1436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37" name="Google Shape;1437;p14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8" name="Google Shape;1438;p14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39" name="Google Shape;1439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40" name="Google Shape;1440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52151989"/>
      </p:ext>
    </p:extLst>
  </p:cSld>
  <p:clrMapOvr>
    <a:masterClrMapping/>
  </p:clrMapOvr>
</p:sldLayout>
</file>

<file path=ppt/slideLayouts/slideLayout20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2" name="Google Shape;1442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43" name="Google Shape;1443;p14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44" name="Google Shape;1444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45" name="Google Shape;1445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6" name="Google Shape;1446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47" name="Google Shape;1447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8" name="Google Shape;1448;p14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49" name="Google Shape;1449;p14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0" name="Google Shape;1450;p14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51" name="Google Shape;1451;p14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2" name="Google Shape;1452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53" name="Google Shape;1453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54" name="Google Shape;1454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613732"/>
      </p:ext>
    </p:extLst>
  </p:cSld>
  <p:clrMapOvr>
    <a:masterClrMapping/>
  </p:clrMapOvr>
</p:sldLayout>
</file>

<file path=ppt/slideLayouts/slideLayout20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6" name="Google Shape;1456;p1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57" name="Google Shape;1457;p14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58" name="Google Shape;1458;p1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59" name="Google Shape;1459;p1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0" name="Google Shape;1460;p1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61" name="Google Shape;1461;p1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2" name="Google Shape;1462;p1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3" name="Google Shape;1463;p1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64" name="Google Shape;1464;p1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73295407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7" name="Google Shape;1417;p1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8" name="Google Shape;1418;p1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9" name="Google Shape;1419;p1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0" name="Google Shape;1420;p1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1" name="Google Shape;1421;p1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2" name="Google Shape;1422;p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23" name="Google Shape;1423;p1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24" name="Google Shape;1424;p1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5" name="Google Shape;1425;p1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6" name="Google Shape;1426;p1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7" name="Google Shape;1427;p1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28" name="Google Shape;1428;p14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0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66" name="Google Shape;1466;p14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67" name="Google Shape;1467;p14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8" name="Google Shape;1468;p14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69" name="Google Shape;1469;p14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0" name="Google Shape;1470;p14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1" name="Google Shape;1471;p14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72" name="Google Shape;1472;p14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73" name="Google Shape;1473;p14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592926537"/>
      </p:ext>
    </p:extLst>
  </p:cSld>
  <p:clrMapOvr>
    <a:masterClrMapping/>
  </p:clrMapOvr>
</p:sldLayout>
</file>

<file path=ppt/slideLayouts/slideLayout20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5" name="Google Shape;1475;p1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76" name="Google Shape;1476;p1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7" name="Google Shape;1477;p1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78" name="Google Shape;1478;p1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9" name="Google Shape;1479;p14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0" name="Google Shape;1480;p1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1" name="Google Shape;1481;p1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2" name="Google Shape;1482;p1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65397560"/>
      </p:ext>
    </p:extLst>
  </p:cSld>
  <p:clrMapOvr>
    <a:masterClrMapping/>
  </p:clrMapOvr>
</p:sldLayout>
</file>

<file path=ppt/slideLayouts/slideLayout20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" name="Google Shape;1484;p15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5" name="Google Shape;1485;p15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6" name="Google Shape;1486;p15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87" name="Google Shape;1487;p1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88" name="Google Shape;1488;p15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89" name="Google Shape;1489;p1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0" name="Google Shape;1490;p15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1" name="Google Shape;1491;p15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666759035"/>
      </p:ext>
    </p:extLst>
  </p:cSld>
  <p:clrMapOvr>
    <a:masterClrMapping/>
  </p:clrMapOvr>
</p:sldLayout>
</file>

<file path=ppt/slideLayouts/slideLayout20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3" name="Google Shape;1493;p15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94" name="Google Shape;1494;p15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5" name="Google Shape;1495;p1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6" name="Google Shape;1496;p15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7" name="Google Shape;1497;p15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98" name="Google Shape;1498;p15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9" name="Google Shape;1499;p15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61082839"/>
      </p:ext>
    </p:extLst>
  </p:cSld>
  <p:clrMapOvr>
    <a:masterClrMapping/>
  </p:clrMapOvr>
</p:sldLayout>
</file>

<file path=ppt/slideLayouts/slideLayout20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1" name="Google Shape;1501;p15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02" name="Google Shape;1502;p15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03" name="Google Shape;1503;p15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04" name="Google Shape;1504;p15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5" name="Google Shape;1505;p15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06" name="Google Shape;1506;p15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07" name="Google Shape;1507;p15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06824161"/>
      </p:ext>
    </p:extLst>
  </p:cSld>
  <p:clrMapOvr>
    <a:masterClrMapping/>
  </p:clrMapOvr>
</p:sldLayout>
</file>

<file path=ppt/slideLayouts/slideLayout20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9" name="Google Shape;1509;p15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0" name="Google Shape;1510;p15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1" name="Google Shape;1511;p1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2" name="Google Shape;1512;p1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3" name="Google Shape;1513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4" name="Google Shape;1514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15" name="Google Shape;1515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" name="Google Shape;1516;p15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7" name="Google Shape;1517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" name="Google Shape;1518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" name="Google Shape;1519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20" name="Google Shape;1520;p15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30262762"/>
      </p:ext>
    </p:extLst>
  </p:cSld>
  <p:clrMapOvr>
    <a:masterClrMapping/>
  </p:clrMapOvr>
</p:sldLayout>
</file>

<file path=ppt/slideLayouts/slideLayout20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9" name="Google Shape;1509;p15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0" name="Google Shape;1510;p15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1" name="Google Shape;1511;p1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2" name="Google Shape;1512;p1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3" name="Google Shape;1513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4" name="Google Shape;1514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15" name="Google Shape;1515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" name="Google Shape;1516;p15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7" name="Google Shape;1517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" name="Google Shape;1518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" name="Google Shape;1519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20" name="Google Shape;1520;p15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44666679"/>
      </p:ext>
    </p:extLst>
  </p:cSld>
  <p:clrMapOvr>
    <a:masterClrMapping/>
  </p:clrMapOvr>
</p:sldLayout>
</file>

<file path=ppt/slideLayouts/slideLayout20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2" name="Google Shape;1522;p1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3" name="Google Shape;1523;p15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4" name="Google Shape;1524;p1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5" name="Google Shape;1525;p1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6" name="Google Shape;1526;p1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7" name="Google Shape;1527;p1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8" name="Google Shape;1528;p15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9" name="Google Shape;1529;p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0" name="Google Shape;1530;p1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1" name="Google Shape;1531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77871795"/>
      </p:ext>
    </p:extLst>
  </p:cSld>
  <p:clrMapOvr>
    <a:masterClrMapping/>
  </p:clrMapOvr>
</p:sldLayout>
</file>

<file path=ppt/slideLayouts/slideLayout20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3" name="Google Shape;1533;p1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4" name="Google Shape;1534;p1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35" name="Google Shape;1535;p1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6" name="Google Shape;1536;p15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7" name="Google Shape;1537;p1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8" name="Google Shape;1538;p1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9" name="Google Shape;1539;p1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40" name="Google Shape;1540;p15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1" name="Google Shape;1541;p15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2" name="Google Shape;1542;p1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3" name="Google Shape;1543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46050257"/>
      </p:ext>
    </p:extLst>
  </p:cSld>
  <p:clrMapOvr>
    <a:masterClrMapping/>
  </p:clrMapOvr>
</p:sldLayout>
</file>

<file path=ppt/slideLayouts/slideLayout20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5" name="Google Shape;1545;p1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6" name="Google Shape;1546;p15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7" name="Google Shape;1547;p1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8" name="Google Shape;1548;p1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9" name="Google Shape;1549;p1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50" name="Google Shape;1550;p1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1" name="Google Shape;1551;p15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2" name="Google Shape;1552;p15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3" name="Google Shape;1553;p15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4" name="Google Shape;1554;p15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5" name="Google Shape;1555;p1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56" name="Google Shape;1556;p1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57" name="Google Shape;1557;p1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5955472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0" name="Google Shape;1430;p1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1" name="Google Shape;1431;p1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32" name="Google Shape;1432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33" name="Google Shape;1433;p14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4" name="Google Shape;1434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35" name="Google Shape;1435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6" name="Google Shape;1436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37" name="Google Shape;1437;p14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8" name="Google Shape;1438;p14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39" name="Google Shape;1439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40" name="Google Shape;1440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9" name="Google Shape;1559;p1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0" name="Google Shape;1560;p15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1" name="Google Shape;1561;p1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2" name="Google Shape;1562;p1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3" name="Google Shape;1563;p1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64" name="Google Shape;1564;p1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5" name="Google Shape;1565;p1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6" name="Google Shape;1566;p1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7" name="Google Shape;1567;p1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55850360"/>
      </p:ext>
    </p:extLst>
  </p:cSld>
  <p:clrMapOvr>
    <a:masterClrMapping/>
  </p:clrMapOvr>
</p:sldLayout>
</file>

<file path=ppt/slideLayouts/slideLayout20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9" name="Google Shape;1569;p15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70" name="Google Shape;1570;p15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1" name="Google Shape;1571;p15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72" name="Google Shape;1572;p15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3" name="Google Shape;1573;p15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4" name="Google Shape;1574;p15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75" name="Google Shape;1575;p15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76" name="Google Shape;1576;p1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4220074382"/>
      </p:ext>
    </p:extLst>
  </p:cSld>
  <p:clrMapOvr>
    <a:masterClrMapping/>
  </p:clrMapOvr>
</p:sldLayout>
</file>

<file path=ppt/slideLayouts/slideLayout20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8" name="Google Shape;1578;p1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9" name="Google Shape;1579;p1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0" name="Google Shape;1580;p1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81" name="Google Shape;1581;p1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2" name="Google Shape;1582;p15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3" name="Google Shape;1583;p1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84" name="Google Shape;1584;p1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5" name="Google Shape;1585;p1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14840726"/>
      </p:ext>
    </p:extLst>
  </p:cSld>
  <p:clrMapOvr>
    <a:masterClrMapping/>
  </p:clrMapOvr>
</p:sldLayout>
</file>

<file path=ppt/slideLayouts/slideLayout20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Google Shape;1587;p160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88" name="Google Shape;1588;p16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89" name="Google Shape;1589;p160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590" name="Google Shape;1590;p160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91" name="Google Shape;1591;p160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592" name="Google Shape;1592;p16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3" name="Google Shape;1593;p160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4" name="Google Shape;1594;p16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5" name="Google Shape;1595;p16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0248662"/>
      </p:ext>
    </p:extLst>
  </p:cSld>
  <p:clrMapOvr>
    <a:masterClrMapping/>
  </p:clrMapOvr>
</p:sldLayout>
</file>

<file path=ppt/slideLayouts/slideLayout20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2_Title Slide"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Google Shape;1587;p160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88" name="Google Shape;1588;p16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89" name="Google Shape;1589;p160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590" name="Google Shape;1590;p160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91" name="Google Shape;1591;p160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592" name="Google Shape;1592;p16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3" name="Google Shape;1593;p160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4" name="Google Shape;1594;p16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5" name="Google Shape;1595;p16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53109578"/>
      </p:ext>
    </p:extLst>
  </p:cSld>
  <p:clrMapOvr>
    <a:masterClrMapping/>
  </p:clrMapOvr>
</p:sldLayout>
</file>

<file path=ppt/slideLayouts/slideLayout20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p161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8" name="Google Shape;1598;p161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9" name="Google Shape;1599;p161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0" name="Google Shape;1600;p161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1" name="Google Shape;1601;p1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02" name="Google Shape;1602;p161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06882944"/>
      </p:ext>
    </p:extLst>
  </p:cSld>
  <p:clrMapOvr>
    <a:masterClrMapping/>
  </p:clrMapOvr>
</p:sldLayout>
</file>

<file path=ppt/slideLayouts/slideLayout20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4" name="Google Shape;1604;p16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5" name="Google Shape;1605;p16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6" name="Google Shape;1606;p16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07" name="Google Shape;1607;p1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8" name="Google Shape;1608;p1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09" name="Google Shape;1609;p16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0" name="Google Shape;1610;p16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1" name="Google Shape;1611;p16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12" name="Google Shape;1612;p16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99750974"/>
      </p:ext>
    </p:extLst>
  </p:cSld>
  <p:clrMapOvr>
    <a:masterClrMapping/>
  </p:clrMapOvr>
</p:sldLayout>
</file>

<file path=ppt/slideLayouts/slideLayout20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2_Title Slide">
    <p:spTree>
      <p:nvGrpSpPr>
        <p:cNvPr id="1" name="Shape 1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4" name="Google Shape;1614;p16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15" name="Google Shape;1615;p16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16" name="Google Shape;1616;p16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17" name="Google Shape;1617;p16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18" name="Google Shape;1618;p163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19" name="Google Shape;1619;p16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0" name="Google Shape;1620;p16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1" name="Google Shape;1621;p16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2" name="Google Shape;1622;p16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06389780"/>
      </p:ext>
    </p:extLst>
  </p:cSld>
  <p:clrMapOvr>
    <a:masterClrMapping/>
  </p:clrMapOvr>
</p:sldLayout>
</file>

<file path=ppt/slideLayouts/slideLayout20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1_Table of Content">
    <p:spTree>
      <p:nvGrpSpPr>
        <p:cNvPr id="1" name="Shape 1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4" name="Google Shape;1624;p164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5" name="Google Shape;1625;p164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6" name="Google Shape;1626;p164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7" name="Google Shape;1627;p164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8" name="Google Shape;1628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29" name="Google Shape;1629;p164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5444568"/>
      </p:ext>
    </p:extLst>
  </p:cSld>
  <p:clrMapOvr>
    <a:masterClrMapping/>
  </p:clrMapOvr>
</p:sldLayout>
</file>

<file path=ppt/slideLayouts/slideLayout20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" name="Google Shape;1631;p16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2" name="Google Shape;1632;p16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3" name="Google Shape;1633;p16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4" name="Google Shape;1634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5" name="Google Shape;1635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6" name="Google Shape;1636;p16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7" name="Google Shape;1637;p16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8" name="Google Shape;1638;p16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39" name="Google Shape;1639;p16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56048221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2" name="Google Shape;1442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43" name="Google Shape;1443;p14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44" name="Google Shape;1444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45" name="Google Shape;1445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6" name="Google Shape;1446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47" name="Google Shape;1447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8" name="Google Shape;1448;p14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49" name="Google Shape;1449;p14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0" name="Google Shape;1450;p14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51" name="Google Shape;1451;p14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2" name="Google Shape;1452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53" name="Google Shape;1453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54" name="Google Shape;1454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1" name="Google Shape;1641;p16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2" name="Google Shape;1642;p16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3" name="Google Shape;1643;p16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4" name="Google Shape;1644;p16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45" name="Google Shape;1645;p16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79793357"/>
      </p:ext>
    </p:extLst>
  </p:cSld>
  <p:clrMapOvr>
    <a:masterClrMapping/>
  </p:clrMapOvr>
</p:sldLayout>
</file>

<file path=ppt/slideLayouts/slideLayout20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6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7" name="Google Shape;1647;p16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48" name="Google Shape;1648;p16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49" name="Google Shape;1649;p16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0" name="Google Shape;1650;p16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1" name="Google Shape;1651;p16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47966031"/>
      </p:ext>
    </p:extLst>
  </p:cSld>
  <p:clrMapOvr>
    <a:masterClrMapping/>
  </p:clrMapOvr>
</p:sldLayout>
</file>

<file path=ppt/slideLayouts/slideLayout20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3" name="Google Shape;1653;p16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4" name="Google Shape;1654;p16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5" name="Google Shape;1655;p16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6" name="Google Shape;1656;p16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7" name="Google Shape;1657;p16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58" name="Google Shape;1658;p16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2971612"/>
      </p:ext>
    </p:extLst>
  </p:cSld>
  <p:clrMapOvr>
    <a:masterClrMapping/>
  </p:clrMapOvr>
</p:sldLayout>
</file>

<file path=ppt/slideLayouts/slideLayout20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2_Title Slide">
    <p:spTree>
      <p:nvGrpSpPr>
        <p:cNvPr id="1" name="Shape 1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4" name="Google Shape;1614;p16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15" name="Google Shape;1615;p16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16" name="Google Shape;1616;p16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17" name="Google Shape;1617;p16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18" name="Google Shape;1618;p163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19" name="Google Shape;1619;p16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0" name="Google Shape;1620;p16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1" name="Google Shape;1621;p16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2" name="Google Shape;1622;p16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41297504"/>
      </p:ext>
    </p:extLst>
  </p:cSld>
  <p:clrMapOvr>
    <a:masterClrMapping/>
  </p:clrMapOvr>
</p:sldLayout>
</file>

<file path=ppt/slideLayouts/slideLayout20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" name="Google Shape;1631;p16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2" name="Google Shape;1632;p16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3" name="Google Shape;1633;p16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4" name="Google Shape;1634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5" name="Google Shape;1635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6" name="Google Shape;1636;p16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7" name="Google Shape;1637;p16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8" name="Google Shape;1638;p16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39" name="Google Shape;1639;p16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84596772"/>
      </p:ext>
    </p:extLst>
  </p:cSld>
  <p:clrMapOvr>
    <a:masterClrMapping/>
  </p:clrMapOvr>
</p:sldLayout>
</file>

<file path=ppt/slideLayouts/slideLayout20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6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0" name="Google Shape;1660;p169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1" name="Google Shape;1661;p169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662" name="Google Shape;1662;p16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63" name="Google Shape;1663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4" name="Google Shape;1664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28969845"/>
      </p:ext>
    </p:extLst>
  </p:cSld>
  <p:clrMapOvr>
    <a:masterClrMapping/>
  </p:clrMapOvr>
</p:sldLayout>
</file>

<file path=ppt/slideLayouts/slideLayout20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1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6" name="Google Shape;1666;p170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7" name="Google Shape;1667;p170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668" name="Google Shape;1668;p170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669" name="Google Shape;1669;p17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70" name="Google Shape;1670;p1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1" name="Google Shape;1671;p1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62842012"/>
      </p:ext>
    </p:extLst>
  </p:cSld>
  <p:clrMapOvr>
    <a:masterClrMapping/>
  </p:clrMapOvr>
</p:sldLayout>
</file>

<file path=ppt/slideLayouts/slideLayout20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6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3" name="Google Shape;1673;p171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4" name="Google Shape;1674;p171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75" name="Google Shape;1675;p171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6" name="Google Shape;1676;p171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77" name="Google Shape;1677;p171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8" name="Google Shape;1678;p171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79" name="Google Shape;1679;p171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0" name="Google Shape;1680;p171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81" name="Google Shape;1681;p17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13258579"/>
      </p:ext>
    </p:extLst>
  </p:cSld>
  <p:clrMapOvr>
    <a:masterClrMapping/>
  </p:clrMapOvr>
</p:sldLayout>
</file>

<file path=ppt/slideLayouts/slideLayout20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3" name="Google Shape;1683;p1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4" name="Google Shape;1684;p1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5" name="Google Shape;1685;p1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6" name="Google Shape;1686;p1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7" name="Google Shape;1687;p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8" name="Google Shape;1688;p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89" name="Google Shape;1689;p1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90" name="Google Shape;1690;p17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1" name="Google Shape;1691;p1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2" name="Google Shape;1692;p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3" name="Google Shape;1693;p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94" name="Google Shape;1694;p17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570781"/>
      </p:ext>
    </p:extLst>
  </p:cSld>
  <p:clrMapOvr>
    <a:masterClrMapping/>
  </p:clrMapOvr>
</p:sldLayout>
</file>

<file path=ppt/slideLayouts/slideLayout20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1_EVERYDAY - CONTENT ONLY">
    <p:spTree>
      <p:nvGrpSpPr>
        <p:cNvPr id="1" name="Shape 1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6" name="Google Shape;1696;p17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7" name="Google Shape;1697;p17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98" name="Google Shape;1698;p17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9" name="Google Shape;1699;p17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00" name="Google Shape;1700;p17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1" name="Google Shape;1701;p17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2" name="Google Shape;1702;p17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3" name="Google Shape;1703;p17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04" name="Google Shape;1704;p17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394212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6" name="Google Shape;1456;p1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57" name="Google Shape;1457;p14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58" name="Google Shape;1458;p1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59" name="Google Shape;1459;p1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0" name="Google Shape;1460;p1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61" name="Google Shape;1461;p1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2" name="Google Shape;1462;p1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3" name="Google Shape;1463;p1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64" name="Google Shape;1464;p1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17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7" name="Google Shape;1707;p17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8" name="Google Shape;1708;p17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09" name="Google Shape;1709;p17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10" name="Google Shape;1710;p17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11" name="Google Shape;1711;p1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2" name="Google Shape;1712;p17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3" name="Google Shape;1713;p17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753853687"/>
      </p:ext>
    </p:extLst>
  </p:cSld>
  <p:clrMapOvr>
    <a:masterClrMapping/>
  </p:clrMapOvr>
</p:sldLayout>
</file>

<file path=ppt/slideLayouts/slideLayout20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7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5" name="Google Shape;1715;p1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16" name="Google Shape;1716;p1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7" name="Google Shape;1717;p1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8" name="Google Shape;1718;p1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9" name="Google Shape;1719;p17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20" name="Google Shape;1720;p1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1" name="Google Shape;1721;p1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88449004"/>
      </p:ext>
    </p:extLst>
  </p:cSld>
  <p:clrMapOvr>
    <a:masterClrMapping/>
  </p:clrMapOvr>
</p:sldLayout>
</file>

<file path=ppt/slideLayouts/slideLayout20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3" name="Google Shape;1723;p17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24" name="Google Shape;1724;p17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25" name="Google Shape;1725;p17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26" name="Google Shape;1726;p1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7" name="Google Shape;1727;p1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28" name="Google Shape;1728;p1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29" name="Google Shape;1729;p17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05623661"/>
      </p:ext>
    </p:extLst>
  </p:cSld>
  <p:clrMapOvr>
    <a:masterClrMapping/>
  </p:clrMapOvr>
</p:sldLayout>
</file>

<file path=ppt/slideLayouts/slideLayout20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5_Quotation">
    <p:spTree>
      <p:nvGrpSpPr>
        <p:cNvPr id="1" name="Shape 1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3" name="Google Shape;1683;p1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4" name="Google Shape;1684;p1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5" name="Google Shape;1685;p1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6" name="Google Shape;1686;p1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7" name="Google Shape;1687;p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8" name="Google Shape;1688;p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89" name="Google Shape;1689;p1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90" name="Google Shape;1690;p17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1" name="Google Shape;1691;p1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2" name="Google Shape;1692;p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3" name="Google Shape;1693;p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94" name="Google Shape;1694;p17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72304641"/>
      </p:ext>
    </p:extLst>
  </p:cSld>
  <p:clrMapOvr>
    <a:masterClrMapping/>
  </p:clrMapOvr>
</p:sldLayout>
</file>

<file path=ppt/slideLayouts/slideLayout20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1_EVERYDAY - CONTENT ONLY">
    <p:spTree>
      <p:nvGrpSpPr>
        <p:cNvPr id="1" name="Shape 1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6" name="Google Shape;1696;p17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7" name="Google Shape;1697;p17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98" name="Google Shape;1698;p17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9" name="Google Shape;1699;p17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00" name="Google Shape;1700;p17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1" name="Google Shape;1701;p17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2" name="Google Shape;1702;p17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3" name="Google Shape;1703;p17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04" name="Google Shape;1704;p17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0818814"/>
      </p:ext>
    </p:extLst>
  </p:cSld>
  <p:clrMapOvr>
    <a:masterClrMapping/>
  </p:clrMapOvr>
</p:sldLayout>
</file>

<file path=ppt/slideLayouts/slideLayout20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17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7" name="Google Shape;1707;p17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8" name="Google Shape;1708;p17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09" name="Google Shape;1709;p17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10" name="Google Shape;1710;p17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11" name="Google Shape;1711;p1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2" name="Google Shape;1712;p17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3" name="Google Shape;1713;p17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753244937"/>
      </p:ext>
    </p:extLst>
  </p:cSld>
  <p:clrMapOvr>
    <a:masterClrMapping/>
  </p:clrMapOvr>
</p:sldLayout>
</file>

<file path=ppt/slideLayouts/slideLayout20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7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5" name="Google Shape;1715;p1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16" name="Google Shape;1716;p1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7" name="Google Shape;1717;p1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8" name="Google Shape;1718;p1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9" name="Google Shape;1719;p17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20" name="Google Shape;1720;p1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1" name="Google Shape;1721;p1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62794813"/>
      </p:ext>
    </p:extLst>
  </p:cSld>
  <p:clrMapOvr>
    <a:masterClrMapping/>
  </p:clrMapOvr>
</p:sldLayout>
</file>

<file path=ppt/slideLayouts/slideLayout20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3" name="Google Shape;1723;p17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24" name="Google Shape;1724;p17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25" name="Google Shape;1725;p17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26" name="Google Shape;1726;p1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7" name="Google Shape;1727;p1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28" name="Google Shape;1728;p1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29" name="Google Shape;1729;p17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1736050"/>
      </p:ext>
    </p:extLst>
  </p:cSld>
  <p:clrMapOvr>
    <a:masterClrMapping/>
  </p:clrMapOvr>
</p:sldLayout>
</file>

<file path=ppt/slideLayouts/slideLayout20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p1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32" name="Google Shape;1732;p1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3" name="Google Shape;1733;p1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34" name="Google Shape;1734;p1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35" name="Google Shape;1735;p17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36" name="Google Shape;1736;p1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37" name="Google Shape;1737;p1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8" name="Google Shape;1738;p1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7079105"/>
      </p:ext>
    </p:extLst>
  </p:cSld>
  <p:clrMapOvr>
    <a:masterClrMapping/>
  </p:clrMapOvr>
</p:sldLayout>
</file>

<file path=ppt/slideLayouts/slideLayout20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" name="Google Shape;1740;p1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41" name="Google Shape;1741;p1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2" name="Google Shape;1742;p1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3" name="Google Shape;1743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4" name="Google Shape;1744;p1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5" name="Google Shape;1745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46" name="Google Shape;1746;p1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7" name="Google Shape;1747;p17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8" name="Google Shape;1748;p1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49" name="Google Shape;1749;p1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0" name="Google Shape;1750;p1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51" name="Google Shape;1751;p17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82030208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66" name="Google Shape;1466;p14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67" name="Google Shape;1467;p14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8" name="Google Shape;1468;p14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69" name="Google Shape;1469;p14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0" name="Google Shape;1470;p14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1" name="Google Shape;1471;p14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72" name="Google Shape;1472;p14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73" name="Google Shape;1473;p14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0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3" name="Google Shape;1753;p1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4" name="Google Shape;1754;p17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55" name="Google Shape;1755;p1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6" name="Google Shape;1756;p17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57" name="Google Shape;1757;p1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58" name="Google Shape;1758;p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9" name="Google Shape;1759;p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60" name="Google Shape;1760;p17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1" name="Google Shape;1761;p17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2" name="Google Shape;1762;p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3" name="Google Shape;1763;p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82460425"/>
      </p:ext>
    </p:extLst>
  </p:cSld>
  <p:clrMapOvr>
    <a:masterClrMapping/>
  </p:clrMapOvr>
</p:sldLayout>
</file>

<file path=ppt/slideLayouts/slideLayout20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5" name="Google Shape;1765;p1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6" name="Google Shape;1766;p18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7" name="Google Shape;1767;p1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8" name="Google Shape;1768;p1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9" name="Google Shape;1769;p1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70" name="Google Shape;1770;p1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1" name="Google Shape;1771;p18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2" name="Google Shape;1772;p18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3" name="Google Shape;1773;p18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4" name="Google Shape;1774;p18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5" name="Google Shape;1775;p1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76" name="Google Shape;1776;p1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7" name="Google Shape;1777;p1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48476218"/>
      </p:ext>
    </p:extLst>
  </p:cSld>
  <p:clrMapOvr>
    <a:masterClrMapping/>
  </p:clrMapOvr>
</p:sldLayout>
</file>

<file path=ppt/slideLayouts/slideLayout20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9" name="Google Shape;1779;p1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0" name="Google Shape;1780;p18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1" name="Google Shape;1781;p1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2" name="Google Shape;1782;p1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3" name="Google Shape;1783;p1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84" name="Google Shape;1784;p1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5" name="Google Shape;1785;p1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6" name="Google Shape;1786;p1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7" name="Google Shape;1787;p1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89305092"/>
      </p:ext>
    </p:extLst>
  </p:cSld>
  <p:clrMapOvr>
    <a:masterClrMapping/>
  </p:clrMapOvr>
</p:sldLayout>
</file>

<file path=ppt/slideLayouts/slideLayout20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9" name="Google Shape;1789;p1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90" name="Google Shape;1790;p1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1" name="Google Shape;1791;p1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92" name="Google Shape;1792;p18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93" name="Google Shape;1793;p1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4" name="Google Shape;1794;p1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95" name="Google Shape;1795;p18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96" name="Google Shape;1796;p1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570922127"/>
      </p:ext>
    </p:extLst>
  </p:cSld>
  <p:clrMapOvr>
    <a:masterClrMapping/>
  </p:clrMapOvr>
</p:sldLayout>
</file>

<file path=ppt/slideLayouts/slideLayout20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8" name="Google Shape;1798;p1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9" name="Google Shape;1799;p1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0" name="Google Shape;1800;p1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01" name="Google Shape;1801;p1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02" name="Google Shape;1802;p18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3" name="Google Shape;1803;p1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04" name="Google Shape;1804;p1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5" name="Google Shape;1805;p1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64048728"/>
      </p:ext>
    </p:extLst>
  </p:cSld>
  <p:clrMapOvr>
    <a:masterClrMapping/>
  </p:clrMapOvr>
</p:sldLayout>
</file>

<file path=ppt/slideLayouts/slideLayout20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5_Quotation">
    <p:spTree>
      <p:nvGrpSpPr>
        <p:cNvPr id="1" name="Shape 1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7" name="Google Shape;1807;p18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8" name="Google Shape;1808;p18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9" name="Google Shape;1809;p1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1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1" name="Google Shape;1811;p1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2" name="Google Shape;1812;p1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3" name="Google Shape;1813;p1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14" name="Google Shape;1814;p18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15" name="Google Shape;1815;p1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16" name="Google Shape;1816;p1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7" name="Google Shape;1817;p1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18" name="Google Shape;1818;p18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0398466"/>
      </p:ext>
    </p:extLst>
  </p:cSld>
  <p:clrMapOvr>
    <a:masterClrMapping/>
  </p:clrMapOvr>
</p:sldLayout>
</file>

<file path=ppt/slideLayouts/slideLayout20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1_Cover B">
    <p:spTree>
      <p:nvGrpSpPr>
        <p:cNvPr id="1" name="Shape 1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0" name="Google Shape;1820;p185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1" name="Google Shape;1821;p185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822" name="Google Shape;1822;p185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823" name="Google Shape;1823;p185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4" name="Google Shape;1824;p185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825" name="Google Shape;1825;p18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29698541"/>
      </p:ext>
    </p:extLst>
  </p:cSld>
  <p:clrMapOvr>
    <a:masterClrMapping/>
  </p:clrMapOvr>
</p:sldLayout>
</file>

<file path=ppt/slideLayouts/slideLayout20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8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7" name="Google Shape;1827;p1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8" name="Google Shape;1828;p1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9" name="Google Shape;1829;p1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30" name="Google Shape;1830;p1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31" name="Google Shape;1831;p1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32" name="Google Shape;1832;p1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3" name="Google Shape;1833;p1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34" name="Google Shape;1834;p18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069353760"/>
      </p:ext>
    </p:extLst>
  </p:cSld>
  <p:clrMapOvr>
    <a:masterClrMapping/>
  </p:clrMapOvr>
</p:sldLayout>
</file>

<file path=ppt/slideLayouts/slideLayout20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6" name="Google Shape;1836;p1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37" name="Google Shape;1837;p1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8" name="Google Shape;1838;p1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9" name="Google Shape;1839;p1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40" name="Google Shape;1840;p18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41" name="Google Shape;1841;p1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2" name="Google Shape;1842;p1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20770712"/>
      </p:ext>
    </p:extLst>
  </p:cSld>
  <p:clrMapOvr>
    <a:masterClrMapping/>
  </p:clrMapOvr>
</p:sldLayout>
</file>

<file path=ppt/slideLayouts/slideLayout20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" name="Google Shape;1844;p1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45" name="Google Shape;1845;p1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46" name="Google Shape;1846;p1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47" name="Google Shape;1847;p1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8" name="Google Shape;1848;p1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49" name="Google Shape;1849;p1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50" name="Google Shape;1850;p1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5984749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5" name="Google Shape;1475;p1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76" name="Google Shape;1476;p1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7" name="Google Shape;1477;p1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78" name="Google Shape;1478;p1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9" name="Google Shape;1479;p14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0" name="Google Shape;1480;p1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1" name="Google Shape;1481;p1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2" name="Google Shape;1482;p1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0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p1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3" name="Google Shape;1853;p1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1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5" name="Google Shape;1855;p1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56" name="Google Shape;1856;p1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57" name="Google Shape;1857;p1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58" name="Google Shape;1858;p1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9" name="Google Shape;1859;p18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0" name="Google Shape;1860;p1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61" name="Google Shape;1861;p1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2" name="Google Shape;1862;p1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63" name="Google Shape;1863;p1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891516"/>
      </p:ext>
    </p:extLst>
  </p:cSld>
  <p:clrMapOvr>
    <a:masterClrMapping/>
  </p:clrMapOvr>
</p:sldLayout>
</file>

<file path=ppt/slideLayouts/slideLayout20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Google Shape;1865;p1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6" name="Google Shape;1866;p1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7" name="Google Shape;1867;p1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8" name="Google Shape;1868;p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69" name="Google Shape;1869;p1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70" name="Google Shape;1870;p1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71" name="Google Shape;1871;p1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2" name="Google Shape;1872;p19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73" name="Google Shape;1873;p1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4" name="Google Shape;1874;p1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5" name="Google Shape;1875;p1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76" name="Google Shape;1876;p1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33462366"/>
      </p:ext>
    </p:extLst>
  </p:cSld>
  <p:clrMapOvr>
    <a:masterClrMapping/>
  </p:clrMapOvr>
</p:sldLayout>
</file>

<file path=ppt/slideLayouts/slideLayout20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78" name="Google Shape;1878;p1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9" name="Google Shape;1879;p19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0" name="Google Shape;1880;p1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1" name="Google Shape;1881;p1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2" name="Google Shape;1882;p1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83" name="Google Shape;1883;p1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4" name="Google Shape;1884;p1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5" name="Google Shape;1885;p1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6" name="Google Shape;1886;p1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7" name="Google Shape;1887;p1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19535804"/>
      </p:ext>
    </p:extLst>
  </p:cSld>
  <p:clrMapOvr>
    <a:masterClrMapping/>
  </p:clrMapOvr>
</p:sldLayout>
</file>

<file path=ppt/slideLayouts/slideLayout20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9" name="Google Shape;1889;p1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0" name="Google Shape;1890;p1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891" name="Google Shape;1891;p1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2" name="Google Shape;1892;p19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3" name="Google Shape;1893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4" name="Google Shape;1894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5" name="Google Shape;1895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6" name="Google Shape;1896;p1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7" name="Google Shape;1897;p1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8" name="Google Shape;1898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9" name="Google Shape;1899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6949250"/>
      </p:ext>
    </p:extLst>
  </p:cSld>
  <p:clrMapOvr>
    <a:masterClrMapping/>
  </p:clrMapOvr>
</p:sldLayout>
</file>

<file path=ppt/slideLayouts/slideLayout20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1" name="Google Shape;1901;p1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2" name="Google Shape;1902;p19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3" name="Google Shape;1903;p1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4" name="Google Shape;1904;p1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5" name="Google Shape;1905;p1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6" name="Google Shape;1906;p1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7" name="Google Shape;1907;p1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08" name="Google Shape;1908;p1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1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10" name="Google Shape;1910;p1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1" name="Google Shape;1911;p1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2" name="Google Shape;1912;p1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3" name="Google Shape;1913;p1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59163538"/>
      </p:ext>
    </p:extLst>
  </p:cSld>
  <p:clrMapOvr>
    <a:masterClrMapping/>
  </p:clrMapOvr>
</p:sldLayout>
</file>

<file path=ppt/slideLayouts/slideLayout20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15" name="Google Shape;1915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6" name="Google Shape;1916;p19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7" name="Google Shape;1917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8" name="Google Shape;1918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9" name="Google Shape;1919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0" name="Google Shape;1920;p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1" name="Google Shape;1921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2" name="Google Shape;1922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3" name="Google Shape;1923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1033181"/>
      </p:ext>
    </p:extLst>
  </p:cSld>
  <p:clrMapOvr>
    <a:masterClrMapping/>
  </p:clrMapOvr>
</p:sldLayout>
</file>

<file path=ppt/slideLayouts/slideLayout20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5" name="Google Shape;1925;p1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26" name="Google Shape;1926;p1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7" name="Google Shape;1927;p1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28" name="Google Shape;1928;p1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9" name="Google Shape;1929;p1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0" name="Google Shape;1930;p1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31" name="Google Shape;1931;p19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32" name="Google Shape;1932;p1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37769201"/>
      </p:ext>
    </p:extLst>
  </p:cSld>
  <p:clrMapOvr>
    <a:masterClrMapping/>
  </p:clrMapOvr>
</p:sldLayout>
</file>

<file path=ppt/slideLayouts/slideLayout20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4" name="Google Shape;1934;p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5" name="Google Shape;1935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6" name="Google Shape;1936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37" name="Google Shape;1937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38" name="Google Shape;1938;p19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39" name="Google Shape;1939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40" name="Google Shape;1940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1" name="Google Shape;1941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7542846"/>
      </p:ext>
    </p:extLst>
  </p:cSld>
  <p:clrMapOvr>
    <a:masterClrMapping/>
  </p:clrMapOvr>
</p:sldLayout>
</file>

<file path=ppt/slideLayouts/slideLayout20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" name="Google Shape;1740;p1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41" name="Google Shape;1741;p1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2" name="Google Shape;1742;p1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3" name="Google Shape;1743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4" name="Google Shape;1744;p1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5" name="Google Shape;1745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46" name="Google Shape;1746;p1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7" name="Google Shape;1747;p17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8" name="Google Shape;1748;p1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49" name="Google Shape;1749;p1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0" name="Google Shape;1750;p1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51" name="Google Shape;1751;p17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48111599"/>
      </p:ext>
    </p:extLst>
  </p:cSld>
  <p:clrMapOvr>
    <a:masterClrMapping/>
  </p:clrMapOvr>
</p:sldLayout>
</file>

<file path=ppt/slideLayouts/slideLayout20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3" name="Google Shape;1753;p1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4" name="Google Shape;1754;p17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55" name="Google Shape;1755;p1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6" name="Google Shape;1756;p17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57" name="Google Shape;1757;p1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58" name="Google Shape;1758;p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9" name="Google Shape;1759;p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60" name="Google Shape;1760;p17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1" name="Google Shape;1761;p17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2" name="Google Shape;1762;p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3" name="Google Shape;1763;p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692597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" name="Google Shape;1484;p15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5" name="Google Shape;1485;p15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6" name="Google Shape;1486;p15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87" name="Google Shape;1487;p1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88" name="Google Shape;1488;p15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89" name="Google Shape;1489;p1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0" name="Google Shape;1490;p15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1" name="Google Shape;1491;p15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0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5" name="Google Shape;1765;p1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6" name="Google Shape;1766;p18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7" name="Google Shape;1767;p1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8" name="Google Shape;1768;p1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9" name="Google Shape;1769;p1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70" name="Google Shape;1770;p1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1" name="Google Shape;1771;p18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2" name="Google Shape;1772;p18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3" name="Google Shape;1773;p18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4" name="Google Shape;1774;p18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5" name="Google Shape;1775;p1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76" name="Google Shape;1776;p1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7" name="Google Shape;1777;p1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97053441"/>
      </p:ext>
    </p:extLst>
  </p:cSld>
  <p:clrMapOvr>
    <a:masterClrMapping/>
  </p:clrMapOvr>
</p:sldLayout>
</file>

<file path=ppt/slideLayouts/slideLayout20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9" name="Google Shape;1779;p1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0" name="Google Shape;1780;p18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1" name="Google Shape;1781;p1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2" name="Google Shape;1782;p1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3" name="Google Shape;1783;p1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84" name="Google Shape;1784;p1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5" name="Google Shape;1785;p1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6" name="Google Shape;1786;p1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7" name="Google Shape;1787;p1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98191373"/>
      </p:ext>
    </p:extLst>
  </p:cSld>
  <p:clrMapOvr>
    <a:masterClrMapping/>
  </p:clrMapOvr>
</p:sldLayout>
</file>

<file path=ppt/slideLayouts/slideLayout20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9" name="Google Shape;1789;p1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90" name="Google Shape;1790;p1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1" name="Google Shape;1791;p1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92" name="Google Shape;1792;p18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93" name="Google Shape;1793;p1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4" name="Google Shape;1794;p1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95" name="Google Shape;1795;p18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96" name="Google Shape;1796;p1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993280106"/>
      </p:ext>
    </p:extLst>
  </p:cSld>
  <p:clrMapOvr>
    <a:masterClrMapping/>
  </p:clrMapOvr>
</p:sldLayout>
</file>

<file path=ppt/slideLayouts/slideLayout20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8" name="Google Shape;1798;p1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9" name="Google Shape;1799;p1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0" name="Google Shape;1800;p1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01" name="Google Shape;1801;p1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02" name="Google Shape;1802;p18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3" name="Google Shape;1803;p1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04" name="Google Shape;1804;p1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5" name="Google Shape;1805;p1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6019112"/>
      </p:ext>
    </p:extLst>
  </p:cSld>
  <p:clrMapOvr>
    <a:masterClrMapping/>
  </p:clrMapOvr>
</p:sldLayout>
</file>

<file path=ppt/slideLayouts/slideLayout20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5_Quotation">
    <p:spTree>
      <p:nvGrpSpPr>
        <p:cNvPr id="1" name="Shape 1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7" name="Google Shape;1807;p18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8" name="Google Shape;1808;p18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9" name="Google Shape;1809;p1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1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1" name="Google Shape;1811;p1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2" name="Google Shape;1812;p1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3" name="Google Shape;1813;p1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14" name="Google Shape;1814;p18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15" name="Google Shape;1815;p1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16" name="Google Shape;1816;p1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7" name="Google Shape;1817;p1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18" name="Google Shape;1818;p18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59848766"/>
      </p:ext>
    </p:extLst>
  </p:cSld>
  <p:clrMapOvr>
    <a:masterClrMapping/>
  </p:clrMapOvr>
</p:sldLayout>
</file>

<file path=ppt/slideLayouts/slideLayout20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8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7" name="Google Shape;1827;p1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8" name="Google Shape;1828;p1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9" name="Google Shape;1829;p1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30" name="Google Shape;1830;p1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31" name="Google Shape;1831;p1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32" name="Google Shape;1832;p1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3" name="Google Shape;1833;p1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34" name="Google Shape;1834;p18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584766102"/>
      </p:ext>
    </p:extLst>
  </p:cSld>
  <p:clrMapOvr>
    <a:masterClrMapping/>
  </p:clrMapOvr>
</p:sldLayout>
</file>

<file path=ppt/slideLayouts/slideLayout20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6" name="Google Shape;1836;p1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37" name="Google Shape;1837;p1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8" name="Google Shape;1838;p1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9" name="Google Shape;1839;p1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40" name="Google Shape;1840;p18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41" name="Google Shape;1841;p1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2" name="Google Shape;1842;p1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54238986"/>
      </p:ext>
    </p:extLst>
  </p:cSld>
  <p:clrMapOvr>
    <a:masterClrMapping/>
  </p:clrMapOvr>
</p:sldLayout>
</file>

<file path=ppt/slideLayouts/slideLayout20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" name="Google Shape;1844;p1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45" name="Google Shape;1845;p1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46" name="Google Shape;1846;p1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47" name="Google Shape;1847;p1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8" name="Google Shape;1848;p1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49" name="Google Shape;1849;p1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50" name="Google Shape;1850;p1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01870021"/>
      </p:ext>
    </p:extLst>
  </p:cSld>
  <p:clrMapOvr>
    <a:masterClrMapping/>
  </p:clrMapOvr>
</p:sldLayout>
</file>

<file path=ppt/slideLayouts/slideLayout20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p1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3" name="Google Shape;1853;p1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1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5" name="Google Shape;1855;p1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56" name="Google Shape;1856;p1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57" name="Google Shape;1857;p1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58" name="Google Shape;1858;p1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9" name="Google Shape;1859;p18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0" name="Google Shape;1860;p1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61" name="Google Shape;1861;p1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2" name="Google Shape;1862;p1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63" name="Google Shape;1863;p1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706105"/>
      </p:ext>
    </p:extLst>
  </p:cSld>
  <p:clrMapOvr>
    <a:masterClrMapping/>
  </p:clrMapOvr>
</p:sldLayout>
</file>

<file path=ppt/slideLayouts/slideLayout20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Google Shape;1865;p1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6" name="Google Shape;1866;p1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7" name="Google Shape;1867;p1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8" name="Google Shape;1868;p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69" name="Google Shape;1869;p1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70" name="Google Shape;1870;p1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71" name="Google Shape;1871;p1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2" name="Google Shape;1872;p19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73" name="Google Shape;1873;p1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4" name="Google Shape;1874;p1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5" name="Google Shape;1875;p1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76" name="Google Shape;1876;p1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042998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3" name="Google Shape;1493;p15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94" name="Google Shape;1494;p15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5" name="Google Shape;1495;p1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6" name="Google Shape;1496;p15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7" name="Google Shape;1497;p15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98" name="Google Shape;1498;p15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9" name="Google Shape;1499;p15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78" name="Google Shape;1878;p1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9" name="Google Shape;1879;p19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0" name="Google Shape;1880;p1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1" name="Google Shape;1881;p1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2" name="Google Shape;1882;p1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83" name="Google Shape;1883;p1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4" name="Google Shape;1884;p1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5" name="Google Shape;1885;p1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6" name="Google Shape;1886;p1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7" name="Google Shape;1887;p1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33676757"/>
      </p:ext>
    </p:extLst>
  </p:cSld>
  <p:clrMapOvr>
    <a:masterClrMapping/>
  </p:clrMapOvr>
</p:sldLayout>
</file>

<file path=ppt/slideLayouts/slideLayout20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9" name="Google Shape;1889;p1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0" name="Google Shape;1890;p1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891" name="Google Shape;1891;p1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2" name="Google Shape;1892;p19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3" name="Google Shape;1893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4" name="Google Shape;1894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5" name="Google Shape;1895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6" name="Google Shape;1896;p1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7" name="Google Shape;1897;p1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8" name="Google Shape;1898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9" name="Google Shape;1899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0743906"/>
      </p:ext>
    </p:extLst>
  </p:cSld>
  <p:clrMapOvr>
    <a:masterClrMapping/>
  </p:clrMapOvr>
</p:sldLayout>
</file>

<file path=ppt/slideLayouts/slideLayout20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1" name="Google Shape;1901;p1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2" name="Google Shape;1902;p19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3" name="Google Shape;1903;p1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4" name="Google Shape;1904;p1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5" name="Google Shape;1905;p1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6" name="Google Shape;1906;p1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7" name="Google Shape;1907;p1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08" name="Google Shape;1908;p1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1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10" name="Google Shape;1910;p1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1" name="Google Shape;1911;p1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2" name="Google Shape;1912;p1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3" name="Google Shape;1913;p1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90135402"/>
      </p:ext>
    </p:extLst>
  </p:cSld>
  <p:clrMapOvr>
    <a:masterClrMapping/>
  </p:clrMapOvr>
</p:sldLayout>
</file>

<file path=ppt/slideLayouts/slideLayout20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15" name="Google Shape;1915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6" name="Google Shape;1916;p19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7" name="Google Shape;1917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8" name="Google Shape;1918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9" name="Google Shape;1919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0" name="Google Shape;1920;p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1" name="Google Shape;1921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2" name="Google Shape;1922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3" name="Google Shape;1923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96842075"/>
      </p:ext>
    </p:extLst>
  </p:cSld>
  <p:clrMapOvr>
    <a:masterClrMapping/>
  </p:clrMapOvr>
</p:sldLayout>
</file>

<file path=ppt/slideLayouts/slideLayout20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5" name="Google Shape;1925;p1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26" name="Google Shape;1926;p1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7" name="Google Shape;1927;p1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28" name="Google Shape;1928;p1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9" name="Google Shape;1929;p1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0" name="Google Shape;1930;p1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31" name="Google Shape;1931;p19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32" name="Google Shape;1932;p1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969376084"/>
      </p:ext>
    </p:extLst>
  </p:cSld>
  <p:clrMapOvr>
    <a:masterClrMapping/>
  </p:clrMapOvr>
</p:sldLayout>
</file>

<file path=ppt/slideLayouts/slideLayout20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4" name="Google Shape;1934;p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5" name="Google Shape;1935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6" name="Google Shape;1936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37" name="Google Shape;1937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38" name="Google Shape;1938;p19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39" name="Google Shape;1939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40" name="Google Shape;1940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1" name="Google Shape;1941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5275100"/>
      </p:ext>
    </p:extLst>
  </p:cSld>
  <p:clrMapOvr>
    <a:masterClrMapping/>
  </p:clrMapOvr>
</p:sldLayout>
</file>

<file path=ppt/slideLayouts/slideLayout20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2_Title Slide">
    <p:bg>
      <p:bgPr>
        <a:solidFill>
          <a:schemeClr val="lt1"/>
        </a:solidFill>
        <a:effectLst/>
      </p:bgPr>
    </p:bg>
    <p:spTree>
      <p:nvGrpSpPr>
        <p:cNvPr id="1" name="Shape 19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3" name="Google Shape;1943;p197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4" name="Google Shape;1944;p19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5" name="Google Shape;1945;p19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946" name="Google Shape;1946;p197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7" name="Google Shape;1947;p197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948" name="Google Shape;1948;p197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9" name="Google Shape;1949;p197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0" name="Google Shape;1950;p197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1" name="Google Shape;1951;p1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2" name="Google Shape;1952;p19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53" name="Google Shape;1953;p1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72246055"/>
      </p:ext>
    </p:extLst>
  </p:cSld>
  <p:clrMapOvr>
    <a:masterClrMapping/>
  </p:clrMapOvr>
</p:sldLayout>
</file>

<file path=ppt/slideLayouts/slideLayout20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5_Quotation"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19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19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7" name="Google Shape;1957;p19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8" name="Google Shape;1958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9" name="Google Shape;1959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0" name="Google Shape;1960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1" name="Google Shape;1961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2" name="Google Shape;1962;p19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3" name="Google Shape;1963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64" name="Google Shape;1964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5" name="Google Shape;1965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66" name="Google Shape;1966;p19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4077606"/>
      </p:ext>
    </p:extLst>
  </p:cSld>
  <p:clrMapOvr>
    <a:masterClrMapping/>
  </p:clrMapOvr>
</p:sldLayout>
</file>

<file path=ppt/slideLayouts/slideLayout20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5_Quotation"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19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19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7" name="Google Shape;1957;p19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8" name="Google Shape;1958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9" name="Google Shape;1959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0" name="Google Shape;1960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1" name="Google Shape;1961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2" name="Google Shape;1962;p19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3" name="Google Shape;1963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64" name="Google Shape;1964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5" name="Google Shape;1965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66" name="Google Shape;1966;p19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6667760"/>
      </p:ext>
    </p:extLst>
  </p:cSld>
  <p:clrMapOvr>
    <a:masterClrMapping/>
  </p:clrMapOvr>
</p:sldLayout>
</file>

<file path=ppt/slideLayouts/slideLayout20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027823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7" name="Google Shape;187;p1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8" name="Google Shape;188;p1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9" name="Google Shape;189;p1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1" name="Google Shape;191;p1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92" name="Google Shape;192;p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1" name="Google Shape;1501;p15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02" name="Google Shape;1502;p15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03" name="Google Shape;1503;p15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04" name="Google Shape;1504;p15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5" name="Google Shape;1505;p15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06" name="Google Shape;1506;p15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07" name="Google Shape;1507;p15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76352587"/>
      </p:ext>
    </p:extLst>
  </p:cSld>
  <p:clrMapOvr>
    <a:masterClrMapping/>
  </p:clrMapOvr>
</p:sldLayout>
</file>

<file path=ppt/slideLayouts/slideLayout2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825080"/>
      </p:ext>
    </p:extLst>
  </p:cSld>
  <p:clrMapOvr>
    <a:masterClrMapping/>
  </p:clrMapOvr>
</p:sldLayout>
</file>

<file path=ppt/slideLayouts/slideLayout2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561937"/>
      </p:ext>
    </p:extLst>
  </p:cSld>
  <p:clrMapOvr>
    <a:masterClrMapping/>
  </p:clrMapOvr>
</p:sldLayout>
</file>

<file path=ppt/slideLayouts/slideLayout2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452172"/>
      </p:ext>
    </p:extLst>
  </p:cSld>
  <p:clrMapOvr>
    <a:masterClrMapping/>
  </p:clrMapOvr>
</p:sldLayout>
</file>

<file path=ppt/slideLayouts/slideLayout2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54509091"/>
      </p:ext>
    </p:extLst>
  </p:cSld>
  <p:clrMapOvr>
    <a:masterClrMapping/>
  </p:clrMapOvr>
</p:sldLayout>
</file>

<file path=ppt/slideLayouts/slideLayout2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58023098"/>
      </p:ext>
    </p:extLst>
  </p:cSld>
  <p:clrMapOvr>
    <a:masterClrMapping/>
  </p:clrMapOvr>
</p:sldLayout>
</file>

<file path=ppt/slideLayouts/slideLayout2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02045910"/>
      </p:ext>
    </p:extLst>
  </p:cSld>
  <p:clrMapOvr>
    <a:masterClrMapping/>
  </p:clrMapOvr>
</p:sldLayout>
</file>

<file path=ppt/slideLayouts/slideLayout2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188285"/>
      </p:ext>
    </p:extLst>
  </p:cSld>
  <p:clrMapOvr>
    <a:masterClrMapping/>
  </p:clrMapOvr>
</p:sldLayout>
</file>

<file path=ppt/slideLayouts/slideLayout2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6454962"/>
      </p:ext>
    </p:extLst>
  </p:cSld>
  <p:clrMapOvr>
    <a:masterClrMapping/>
  </p:clrMapOvr>
</p:sldLayout>
</file>

<file path=ppt/slideLayouts/slideLayout2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706672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9" name="Google Shape;1509;p15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0" name="Google Shape;1510;p15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1" name="Google Shape;1511;p1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2" name="Google Shape;1512;p1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3" name="Google Shape;1513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4" name="Google Shape;1514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15" name="Google Shape;1515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" name="Google Shape;1516;p15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7" name="Google Shape;1517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" name="Google Shape;1518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" name="Google Shape;1519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20" name="Google Shape;1520;p15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70962299"/>
      </p:ext>
    </p:extLst>
  </p:cSld>
  <p:clrMapOvr>
    <a:masterClrMapping/>
  </p:clrMapOvr>
</p:sldLayout>
</file>

<file path=ppt/slideLayouts/slideLayout2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08166280"/>
      </p:ext>
    </p:extLst>
  </p:cSld>
  <p:clrMapOvr>
    <a:masterClrMapping/>
  </p:clrMapOvr>
</p:sldLayout>
</file>

<file path=ppt/slideLayouts/slideLayout2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819871"/>
      </p:ext>
    </p:extLst>
  </p:cSld>
  <p:clrMapOvr>
    <a:masterClrMapping/>
  </p:clrMapOvr>
</p:sldLayout>
</file>

<file path=ppt/slideLayouts/slideLayout2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0284217"/>
      </p:ext>
    </p:extLst>
  </p:cSld>
  <p:clrMapOvr>
    <a:masterClrMapping/>
  </p:clrMapOvr>
</p:sldLayout>
</file>

<file path=ppt/slideLayouts/slideLayout2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67862023"/>
      </p:ext>
    </p:extLst>
  </p:cSld>
  <p:clrMapOvr>
    <a:masterClrMapping/>
  </p:clrMapOvr>
</p:sldLayout>
</file>

<file path=ppt/slideLayouts/slideLayout2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84629823"/>
      </p:ext>
    </p:extLst>
  </p:cSld>
  <p:clrMapOvr>
    <a:masterClrMapping/>
  </p:clrMapOvr>
</p:sldLayout>
</file>

<file path=ppt/slideLayouts/slideLayout2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52826610"/>
      </p:ext>
    </p:extLst>
  </p:cSld>
  <p:clrMapOvr>
    <a:masterClrMapping/>
  </p:clrMapOvr>
</p:sldLayout>
</file>

<file path=ppt/slideLayouts/slideLayout2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81252287"/>
      </p:ext>
    </p:extLst>
  </p:cSld>
  <p:clrMapOvr>
    <a:masterClrMapping/>
  </p:clrMapOvr>
</p:sldLayout>
</file>

<file path=ppt/slideLayouts/slideLayout2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1229605"/>
      </p:ext>
    </p:extLst>
  </p:cSld>
  <p:clrMapOvr>
    <a:masterClrMapping/>
  </p:clrMapOvr>
</p:sldLayout>
</file>

<file path=ppt/slideLayouts/slideLayout21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0027846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9" name="Google Shape;1509;p15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0" name="Google Shape;1510;p15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1" name="Google Shape;1511;p1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2" name="Google Shape;1512;p1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3" name="Google Shape;1513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4" name="Google Shape;1514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15" name="Google Shape;1515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" name="Google Shape;1516;p15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7" name="Google Shape;1517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" name="Google Shape;1518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" name="Google Shape;1519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20" name="Google Shape;1520;p15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2334741"/>
      </p:ext>
    </p:extLst>
  </p:cSld>
  <p:clrMapOvr>
    <a:masterClrMapping/>
  </p:clrMapOvr>
</p:sldLayout>
</file>

<file path=ppt/slideLayouts/slideLayout2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332979"/>
      </p:ext>
    </p:extLst>
  </p:cSld>
  <p:clrMapOvr>
    <a:masterClrMapping/>
  </p:clrMapOvr>
</p:sldLayout>
</file>

<file path=ppt/slideLayouts/slideLayout2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6268989"/>
      </p:ext>
    </p:extLst>
  </p:cSld>
  <p:clrMapOvr>
    <a:masterClrMapping/>
  </p:clrMapOvr>
</p:sldLayout>
</file>

<file path=ppt/slideLayouts/slideLayout21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842269186"/>
      </p:ext>
    </p:extLst>
  </p:cSld>
  <p:clrMapOvr>
    <a:masterClrMapping/>
  </p:clrMapOvr>
</p:sldLayout>
</file>

<file path=ppt/slideLayouts/slideLayout21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5840682"/>
      </p:ext>
    </p:extLst>
  </p:cSld>
  <p:clrMapOvr>
    <a:masterClrMapping/>
  </p:clrMapOvr>
</p:sldLayout>
</file>

<file path=ppt/slideLayouts/slideLayout2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59540798"/>
      </p:ext>
    </p:extLst>
  </p:cSld>
  <p:clrMapOvr>
    <a:masterClrMapping/>
  </p:clrMapOvr>
</p:sldLayout>
</file>

<file path=ppt/slideLayouts/slideLayout2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6584763"/>
      </p:ext>
    </p:extLst>
  </p:cSld>
  <p:clrMapOvr>
    <a:masterClrMapping/>
  </p:clrMapOvr>
</p:sldLayout>
</file>

<file path=ppt/slideLayouts/slideLayout2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3838508"/>
      </p:ext>
    </p:extLst>
  </p:cSld>
  <p:clrMapOvr>
    <a:masterClrMapping/>
  </p:clrMapOvr>
</p:sldLayout>
</file>

<file path=ppt/slideLayouts/slideLayout2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719148"/>
      </p:ext>
    </p:extLst>
  </p:cSld>
  <p:clrMapOvr>
    <a:masterClrMapping/>
  </p:clrMapOvr>
</p:sldLayout>
</file>

<file path=ppt/slideLayouts/slideLayout2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4950295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4">
    <p:spTree>
      <p:nvGrpSpPr>
        <p:cNvPr id="1" name="Shape 1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2" name="Google Shape;1522;p1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3" name="Google Shape;1523;p15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4" name="Google Shape;1524;p1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5" name="Google Shape;1525;p1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6" name="Google Shape;1526;p1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7" name="Google Shape;1527;p1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8" name="Google Shape;1528;p15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9" name="Google Shape;1529;p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0" name="Google Shape;1530;p1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1" name="Google Shape;1531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8506888"/>
      </p:ext>
    </p:extLst>
  </p:cSld>
  <p:clrMapOvr>
    <a:masterClrMapping/>
  </p:clrMapOvr>
</p:sldLayout>
</file>

<file path=ppt/slideLayouts/slideLayout2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28852645"/>
      </p:ext>
    </p:extLst>
  </p:cSld>
  <p:clrMapOvr>
    <a:masterClrMapping/>
  </p:clrMapOvr>
</p:sldLayout>
</file>

<file path=ppt/slideLayouts/slideLayout2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34652550"/>
      </p:ext>
    </p:extLst>
  </p:cSld>
  <p:clrMapOvr>
    <a:masterClrMapping/>
  </p:clrMapOvr>
</p:sldLayout>
</file>

<file path=ppt/slideLayouts/slideLayout2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605420"/>
      </p:ext>
    </p:extLst>
  </p:cSld>
  <p:clrMapOvr>
    <a:masterClrMapping/>
  </p:clrMapOvr>
</p:sldLayout>
</file>

<file path=ppt/slideLayouts/slideLayout2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5610608"/>
      </p:ext>
    </p:extLst>
  </p:cSld>
  <p:clrMapOvr>
    <a:masterClrMapping/>
  </p:clrMapOvr>
</p:sldLayout>
</file>

<file path=ppt/slideLayouts/slideLayout2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6539946"/>
      </p:ext>
    </p:extLst>
  </p:cSld>
  <p:clrMapOvr>
    <a:masterClrMapping/>
  </p:clrMapOvr>
</p:sldLayout>
</file>

<file path=ppt/slideLayouts/slideLayout2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12980118"/>
      </p:ext>
    </p:extLst>
  </p:cSld>
  <p:clrMapOvr>
    <a:masterClrMapping/>
  </p:clrMapOvr>
</p:sldLayout>
</file>

<file path=ppt/slideLayouts/slideLayout2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50442859"/>
      </p:ext>
    </p:extLst>
  </p:cSld>
  <p:clrMapOvr>
    <a:masterClrMapping/>
  </p:clrMapOvr>
</p:sldLayout>
</file>

<file path=ppt/slideLayouts/slideLayout2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621456"/>
      </p:ext>
    </p:extLst>
  </p:cSld>
  <p:clrMapOvr>
    <a:masterClrMapping/>
  </p:clrMapOvr>
</p:sldLayout>
</file>

<file path=ppt/slideLayouts/slideLayout2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160811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3" name="Google Shape;1533;p1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4" name="Google Shape;1534;p1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35" name="Google Shape;1535;p1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6" name="Google Shape;1536;p15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7" name="Google Shape;1537;p1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8" name="Google Shape;1538;p1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9" name="Google Shape;1539;p1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40" name="Google Shape;1540;p15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1" name="Google Shape;1541;p15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2" name="Google Shape;1542;p1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3" name="Google Shape;1543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82019428"/>
      </p:ext>
    </p:extLst>
  </p:cSld>
  <p:clrMapOvr>
    <a:masterClrMapping/>
  </p:clrMapOvr>
</p:sldLayout>
</file>

<file path=ppt/slideLayouts/slideLayout2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7336083"/>
      </p:ext>
    </p:extLst>
  </p:cSld>
  <p:clrMapOvr>
    <a:masterClrMapping/>
  </p:clrMapOvr>
</p:sldLayout>
</file>

<file path=ppt/slideLayouts/slideLayout2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99485974"/>
      </p:ext>
    </p:extLst>
  </p:cSld>
  <p:clrMapOvr>
    <a:masterClrMapping/>
  </p:clrMapOvr>
</p:sldLayout>
</file>

<file path=ppt/slideLayouts/slideLayout2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46127174"/>
      </p:ext>
    </p:extLst>
  </p:cSld>
  <p:clrMapOvr>
    <a:masterClrMapping/>
  </p:clrMapOvr>
</p:sldLayout>
</file>

<file path=ppt/slideLayouts/slideLayout2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684734"/>
      </p:ext>
    </p:extLst>
  </p:cSld>
  <p:clrMapOvr>
    <a:masterClrMapping/>
  </p:clrMapOvr>
</p:sldLayout>
</file>

<file path=ppt/slideLayouts/slideLayout2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77567543"/>
      </p:ext>
    </p:extLst>
  </p:cSld>
  <p:clrMapOvr>
    <a:masterClrMapping/>
  </p:clrMapOvr>
</p:sldLayout>
</file>

<file path=ppt/slideLayouts/slideLayout2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7237195"/>
      </p:ext>
    </p:extLst>
  </p:cSld>
  <p:clrMapOvr>
    <a:masterClrMapping/>
  </p:clrMapOvr>
</p:sldLayout>
</file>

<file path=ppt/slideLayouts/slideLayout21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40511"/>
      </p:ext>
    </p:extLst>
  </p:cSld>
  <p:clrMapOvr>
    <a:masterClrMapping/>
  </p:clrMapOvr>
</p:sldLayout>
</file>

<file path=ppt/slideLayouts/slideLayout2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38313155"/>
      </p:ext>
    </p:extLst>
  </p:cSld>
  <p:clrMapOvr>
    <a:masterClrMapping/>
  </p:clrMapOvr>
</p:sldLayout>
</file>

<file path=ppt/slideLayouts/slideLayout2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16288173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5" name="Google Shape;1545;p1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6" name="Google Shape;1546;p15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7" name="Google Shape;1547;p1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8" name="Google Shape;1548;p1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9" name="Google Shape;1549;p1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50" name="Google Shape;1550;p1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1" name="Google Shape;1551;p15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2" name="Google Shape;1552;p15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3" name="Google Shape;1553;p15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4" name="Google Shape;1554;p15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5" name="Google Shape;1555;p1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56" name="Google Shape;1556;p1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57" name="Google Shape;1557;p1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734070"/>
      </p:ext>
    </p:extLst>
  </p:cSld>
  <p:clrMapOvr>
    <a:masterClrMapping/>
  </p:clrMapOvr>
</p:sldLayout>
</file>

<file path=ppt/slideLayouts/slideLayout2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032902"/>
      </p:ext>
    </p:extLst>
  </p:cSld>
  <p:clrMapOvr>
    <a:masterClrMapping/>
  </p:clrMapOvr>
</p:sldLayout>
</file>

<file path=ppt/slideLayouts/slideLayout2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9456384"/>
      </p:ext>
    </p:extLst>
  </p:cSld>
  <p:clrMapOvr>
    <a:masterClrMapping/>
  </p:clrMapOvr>
</p:sldLayout>
</file>

<file path=ppt/slideLayouts/slideLayout2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72666101"/>
      </p:ext>
    </p:extLst>
  </p:cSld>
  <p:clrMapOvr>
    <a:masterClrMapping/>
  </p:clrMapOvr>
</p:sldLayout>
</file>

<file path=ppt/slideLayouts/slideLayout2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01715330"/>
      </p:ext>
    </p:extLst>
  </p:cSld>
  <p:clrMapOvr>
    <a:masterClrMapping/>
  </p:clrMapOvr>
</p:sldLayout>
</file>

<file path=ppt/slideLayouts/slideLayout2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74430828"/>
      </p:ext>
    </p:extLst>
  </p:cSld>
  <p:clrMapOvr>
    <a:masterClrMapping/>
  </p:clrMapOvr>
</p:sldLayout>
</file>

<file path=ppt/slideLayouts/slideLayout2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87559507"/>
      </p:ext>
    </p:extLst>
  </p:cSld>
  <p:clrMapOvr>
    <a:masterClrMapping/>
  </p:clrMapOvr>
</p:sldLayout>
</file>

<file path=ppt/slideLayouts/slideLayout2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59007167"/>
      </p:ext>
    </p:extLst>
  </p:cSld>
  <p:clrMapOvr>
    <a:masterClrMapping/>
  </p:clrMapOvr>
</p:sldLayout>
</file>

<file path=ppt/slideLayouts/slideLayout2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1020970"/>
      </p:ext>
    </p:extLst>
  </p:cSld>
  <p:clrMapOvr>
    <a:masterClrMapping/>
  </p:clrMapOvr>
</p:sldLayout>
</file>

<file path=ppt/slideLayouts/slideLayout2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75281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9" name="Google Shape;1559;p1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0" name="Google Shape;1560;p15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1" name="Google Shape;1561;p1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2" name="Google Shape;1562;p1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3" name="Google Shape;1563;p1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64" name="Google Shape;1564;p1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5" name="Google Shape;1565;p1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6" name="Google Shape;1566;p1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7" name="Google Shape;1567;p1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881547"/>
      </p:ext>
    </p:extLst>
  </p:cSld>
  <p:clrMapOvr>
    <a:masterClrMapping/>
  </p:clrMapOvr>
</p:sldLayout>
</file>

<file path=ppt/slideLayouts/slideLayout2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5567451"/>
      </p:ext>
    </p:extLst>
  </p:cSld>
  <p:clrMapOvr>
    <a:masterClrMapping/>
  </p:clrMapOvr>
</p:sldLayout>
</file>

<file path=ppt/slideLayouts/slideLayout2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86901878"/>
      </p:ext>
    </p:extLst>
  </p:cSld>
  <p:clrMapOvr>
    <a:masterClrMapping/>
  </p:clrMapOvr>
</p:sldLayout>
</file>

<file path=ppt/slideLayouts/slideLayout2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91510476"/>
      </p:ext>
    </p:extLst>
  </p:cSld>
  <p:clrMapOvr>
    <a:masterClrMapping/>
  </p:clrMapOvr>
</p:sldLayout>
</file>

<file path=ppt/slideLayouts/slideLayout2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62730834"/>
      </p:ext>
    </p:extLst>
  </p:cSld>
  <p:clrMapOvr>
    <a:masterClrMapping/>
  </p:clrMapOvr>
</p:sldLayout>
</file>

<file path=ppt/slideLayouts/slideLayout2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761606"/>
      </p:ext>
    </p:extLst>
  </p:cSld>
  <p:clrMapOvr>
    <a:masterClrMapping/>
  </p:clrMapOvr>
</p:sldLayout>
</file>

<file path=ppt/slideLayouts/slideLayout2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19849953"/>
      </p:ext>
    </p:extLst>
  </p:cSld>
  <p:clrMapOvr>
    <a:masterClrMapping/>
  </p:clrMapOvr>
</p:sldLayout>
</file>

<file path=ppt/slideLayouts/slideLayout2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647355"/>
      </p:ext>
    </p:extLst>
  </p:cSld>
  <p:clrMapOvr>
    <a:masterClrMapping/>
  </p:clrMapOvr>
</p:sldLayout>
</file>

<file path=ppt/slideLayouts/slideLayout2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002850"/>
      </p:ext>
    </p:extLst>
  </p:cSld>
  <p:clrMapOvr>
    <a:masterClrMapping/>
  </p:clrMapOvr>
</p:sldLayout>
</file>

<file path=ppt/slideLayouts/slideLayout2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55757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9" name="Google Shape;1569;p15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70" name="Google Shape;1570;p15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1" name="Google Shape;1571;p15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72" name="Google Shape;1572;p15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3" name="Google Shape;1573;p15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4" name="Google Shape;1574;p15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75" name="Google Shape;1575;p15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76" name="Google Shape;1576;p1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41972956"/>
      </p:ext>
    </p:extLst>
  </p:cSld>
  <p:clrMapOvr>
    <a:masterClrMapping/>
  </p:clrMapOvr>
</p:sldLayout>
</file>

<file path=ppt/slideLayouts/slideLayout2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492819"/>
      </p:ext>
    </p:extLst>
  </p:cSld>
  <p:clrMapOvr>
    <a:masterClrMapping/>
  </p:clrMapOvr>
</p:sldLayout>
</file>

<file path=ppt/slideLayouts/slideLayout2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2633952"/>
      </p:ext>
    </p:extLst>
  </p:cSld>
  <p:clrMapOvr>
    <a:masterClrMapping/>
  </p:clrMapOvr>
</p:sldLayout>
</file>

<file path=ppt/slideLayouts/slideLayout2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3008214"/>
      </p:ext>
    </p:extLst>
  </p:cSld>
  <p:clrMapOvr>
    <a:masterClrMapping/>
  </p:clrMapOvr>
</p:sldLayout>
</file>

<file path=ppt/slideLayouts/slideLayout2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51078"/>
      </p:ext>
    </p:extLst>
  </p:cSld>
  <p:clrMapOvr>
    <a:masterClrMapping/>
  </p:clrMapOvr>
</p:sldLayout>
</file>

<file path=ppt/slideLayouts/slideLayout2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9308259"/>
      </p:ext>
    </p:extLst>
  </p:cSld>
  <p:clrMapOvr>
    <a:masterClrMapping/>
  </p:clrMapOvr>
</p:sldLayout>
</file>

<file path=ppt/slideLayouts/slideLayout21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371645"/>
      </p:ext>
    </p:extLst>
  </p:cSld>
  <p:clrMapOvr>
    <a:masterClrMapping/>
  </p:clrMapOvr>
</p:sldLayout>
</file>

<file path=ppt/slideLayouts/slideLayout2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71195448"/>
      </p:ext>
    </p:extLst>
  </p:cSld>
  <p:clrMapOvr>
    <a:masterClrMapping/>
  </p:clrMapOvr>
</p:sldLayout>
</file>

<file path=ppt/slideLayouts/slideLayout2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75880081"/>
      </p:ext>
    </p:extLst>
  </p:cSld>
  <p:clrMapOvr>
    <a:masterClrMapping/>
  </p:clrMapOvr>
</p:sldLayout>
</file>

<file path=ppt/slideLayouts/slideLayout2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40375586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8" name="Google Shape;1578;p1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9" name="Google Shape;1579;p1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0" name="Google Shape;1580;p1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81" name="Google Shape;1581;p1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2" name="Google Shape;1582;p15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3" name="Google Shape;1583;p1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84" name="Google Shape;1584;p1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5" name="Google Shape;1585;p1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1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59648572"/>
      </p:ext>
    </p:extLst>
  </p:cSld>
  <p:clrMapOvr>
    <a:masterClrMapping/>
  </p:clrMapOvr>
</p:sldLayout>
</file>

<file path=ppt/slideLayouts/slideLayout2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6361374"/>
      </p:ext>
    </p:extLst>
  </p:cSld>
  <p:clrMapOvr>
    <a:masterClrMapping/>
  </p:clrMapOvr>
</p:sldLayout>
</file>

<file path=ppt/slideLayouts/slideLayout2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54330116"/>
      </p:ext>
    </p:extLst>
  </p:cSld>
  <p:clrMapOvr>
    <a:masterClrMapping/>
  </p:clrMapOvr>
</p:sldLayout>
</file>

<file path=ppt/slideLayouts/slideLayout2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2439953"/>
      </p:ext>
    </p:extLst>
  </p:cSld>
  <p:clrMapOvr>
    <a:masterClrMapping/>
  </p:clrMapOvr>
</p:sldLayout>
</file>

<file path=ppt/slideLayouts/slideLayout2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91935098"/>
      </p:ext>
    </p:extLst>
  </p:cSld>
  <p:clrMapOvr>
    <a:masterClrMapping/>
  </p:clrMapOvr>
</p:sldLayout>
</file>

<file path=ppt/slideLayouts/slideLayout2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286397"/>
      </p:ext>
    </p:extLst>
  </p:cSld>
  <p:clrMapOvr>
    <a:masterClrMapping/>
  </p:clrMapOvr>
</p:sldLayout>
</file>

<file path=ppt/slideLayouts/slideLayout2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60256915"/>
      </p:ext>
    </p:extLst>
  </p:cSld>
  <p:clrMapOvr>
    <a:masterClrMapping/>
  </p:clrMapOvr>
</p:sldLayout>
</file>

<file path=ppt/slideLayouts/slideLayout21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88721800"/>
      </p:ext>
    </p:extLst>
  </p:cSld>
  <p:clrMapOvr>
    <a:masterClrMapping/>
  </p:clrMapOvr>
</p:sldLayout>
</file>

<file path=ppt/slideLayouts/slideLayout2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00373765"/>
      </p:ext>
    </p:extLst>
  </p:cSld>
  <p:clrMapOvr>
    <a:masterClrMapping/>
  </p:clrMapOvr>
</p:sldLayout>
</file>

<file path=ppt/slideLayouts/slideLayout2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38457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Google Shape;1587;p160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88" name="Google Shape;1588;p16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89" name="Google Shape;1589;p160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590" name="Google Shape;1590;p160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91" name="Google Shape;1591;p160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592" name="Google Shape;1592;p16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3" name="Google Shape;1593;p160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4" name="Google Shape;1594;p16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5" name="Google Shape;1595;p16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348905"/>
      </p:ext>
    </p:extLst>
  </p:cSld>
  <p:clrMapOvr>
    <a:masterClrMapping/>
  </p:clrMapOvr>
</p:sldLayout>
</file>

<file path=ppt/slideLayouts/slideLayout21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6908602"/>
      </p:ext>
    </p:extLst>
  </p:cSld>
  <p:clrMapOvr>
    <a:masterClrMapping/>
  </p:clrMapOvr>
</p:sldLayout>
</file>

<file path=ppt/slideLayouts/slideLayout21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82527718"/>
      </p:ext>
    </p:extLst>
  </p:cSld>
  <p:clrMapOvr>
    <a:masterClrMapping/>
  </p:clrMapOvr>
</p:sldLayout>
</file>

<file path=ppt/slideLayouts/slideLayout2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401936"/>
      </p:ext>
    </p:extLst>
  </p:cSld>
  <p:clrMapOvr>
    <a:masterClrMapping/>
  </p:clrMapOvr>
</p:sldLayout>
</file>

<file path=ppt/slideLayouts/slideLayout21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571329"/>
      </p:ext>
    </p:extLst>
  </p:cSld>
  <p:clrMapOvr>
    <a:masterClrMapping/>
  </p:clrMapOvr>
</p:sldLayout>
</file>

<file path=ppt/slideLayouts/slideLayout2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146802"/>
      </p:ext>
    </p:extLst>
  </p:cSld>
  <p:clrMapOvr>
    <a:masterClrMapping/>
  </p:clrMapOvr>
</p:sldLayout>
</file>

<file path=ppt/slideLayouts/slideLayout2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8951415"/>
      </p:ext>
    </p:extLst>
  </p:cSld>
  <p:clrMapOvr>
    <a:masterClrMapping/>
  </p:clrMapOvr>
</p:sldLayout>
</file>

<file path=ppt/slideLayouts/slideLayout2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3632661"/>
      </p:ext>
    </p:extLst>
  </p:cSld>
  <p:clrMapOvr>
    <a:masterClrMapping/>
  </p:clrMapOvr>
</p:sldLayout>
</file>

<file path=ppt/slideLayouts/slideLayout2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64211468"/>
      </p:ext>
    </p:extLst>
  </p:cSld>
  <p:clrMapOvr>
    <a:masterClrMapping/>
  </p:clrMapOvr>
</p:sldLayout>
</file>

<file path=ppt/slideLayouts/slideLayout2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89587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" name="Google Shape;195;p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" name="Google Shape;198;p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" name="Google Shape;199;p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0" name="Google Shape;200;p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1" name="Google Shape;201;p2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2" name="Google Shape;202;p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3" name="Google Shape;203;p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204;p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5" name="Google Shape;205;p2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Google Shape;1587;p160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88" name="Google Shape;1588;p16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89" name="Google Shape;1589;p160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590" name="Google Shape;1590;p160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91" name="Google Shape;1591;p160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592" name="Google Shape;1592;p16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3" name="Google Shape;1593;p160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4" name="Google Shape;1594;p16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5" name="Google Shape;1595;p16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687282"/>
      </p:ext>
    </p:extLst>
  </p:cSld>
  <p:clrMapOvr>
    <a:masterClrMapping/>
  </p:clrMapOvr>
</p:sldLayout>
</file>

<file path=ppt/slideLayouts/slideLayout2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07692738"/>
      </p:ext>
    </p:extLst>
  </p:cSld>
  <p:clrMapOvr>
    <a:masterClrMapping/>
  </p:clrMapOvr>
</p:sldLayout>
</file>

<file path=ppt/slideLayouts/slideLayout2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96226250"/>
      </p:ext>
    </p:extLst>
  </p:cSld>
  <p:clrMapOvr>
    <a:masterClrMapping/>
  </p:clrMapOvr>
</p:sldLayout>
</file>

<file path=ppt/slideLayouts/slideLayout2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56417963"/>
      </p:ext>
    </p:extLst>
  </p:cSld>
  <p:clrMapOvr>
    <a:masterClrMapping/>
  </p:clrMapOvr>
</p:sldLayout>
</file>

<file path=ppt/slideLayouts/slideLayout2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28769517"/>
      </p:ext>
    </p:extLst>
  </p:cSld>
  <p:clrMapOvr>
    <a:masterClrMapping/>
  </p:clrMapOvr>
</p:sldLayout>
</file>

<file path=ppt/slideLayouts/slideLayout2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352574"/>
      </p:ext>
    </p:extLst>
  </p:cSld>
  <p:clrMapOvr>
    <a:masterClrMapping/>
  </p:clrMapOvr>
</p:sldLayout>
</file>

<file path=ppt/slideLayouts/slideLayout2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96092594"/>
      </p:ext>
    </p:extLst>
  </p:cSld>
  <p:clrMapOvr>
    <a:masterClrMapping/>
  </p:clrMapOvr>
</p:sldLayout>
</file>

<file path=ppt/slideLayouts/slideLayout2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92333948"/>
      </p:ext>
    </p:extLst>
  </p:cSld>
  <p:clrMapOvr>
    <a:masterClrMapping/>
  </p:clrMapOvr>
</p:sldLayout>
</file>

<file path=ppt/slideLayouts/slideLayout2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74586204"/>
      </p:ext>
    </p:extLst>
  </p:cSld>
  <p:clrMapOvr>
    <a:masterClrMapping/>
  </p:clrMapOvr>
</p:sldLayout>
</file>

<file path=ppt/slideLayouts/slideLayout2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16720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Google Shape;1587;p160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88" name="Google Shape;1588;p16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89" name="Google Shape;1589;p160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590" name="Google Shape;1590;p160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91" name="Google Shape;1591;p160"/>
            <p:cNvPicPr preferRelativeResize="0"/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592" name="Google Shape;1592;p16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3" name="Google Shape;1593;p160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4" name="Google Shape;1594;p16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5" name="Google Shape;1595;p16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400960"/>
      </p:ext>
    </p:extLst>
  </p:cSld>
  <p:clrMapOvr>
    <a:masterClrMapping/>
  </p:clrMapOvr>
</p:sldLayout>
</file>

<file path=ppt/slideLayouts/slideLayout22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45925424"/>
      </p:ext>
    </p:extLst>
  </p:cSld>
  <p:clrMapOvr>
    <a:masterClrMapping/>
  </p:clrMapOvr>
</p:sldLayout>
</file>

<file path=ppt/slideLayouts/slideLayout22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98257268"/>
      </p:ext>
    </p:extLst>
  </p:cSld>
  <p:clrMapOvr>
    <a:masterClrMapping/>
  </p:clrMapOvr>
</p:sldLayout>
</file>

<file path=ppt/slideLayouts/slideLayout22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9839212"/>
      </p:ext>
    </p:extLst>
  </p:cSld>
  <p:clrMapOvr>
    <a:masterClrMapping/>
  </p:clrMapOvr>
</p:sldLayout>
</file>

<file path=ppt/slideLayouts/slideLayout22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07457189"/>
      </p:ext>
    </p:extLst>
  </p:cSld>
  <p:clrMapOvr>
    <a:masterClrMapping/>
  </p:clrMapOvr>
</p:sldLayout>
</file>

<file path=ppt/slideLayouts/slideLayout2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798010"/>
      </p:ext>
    </p:extLst>
  </p:cSld>
  <p:clrMapOvr>
    <a:masterClrMapping/>
  </p:clrMapOvr>
</p:sldLayout>
</file>

<file path=ppt/slideLayouts/slideLayout22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62646868"/>
      </p:ext>
    </p:extLst>
  </p:cSld>
  <p:clrMapOvr>
    <a:masterClrMapping/>
  </p:clrMapOvr>
</p:sldLayout>
</file>

<file path=ppt/slideLayouts/slideLayout22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469352"/>
      </p:ext>
    </p:extLst>
  </p:cSld>
  <p:clrMapOvr>
    <a:masterClrMapping/>
  </p:clrMapOvr>
</p:sldLayout>
</file>

<file path=ppt/slideLayouts/slideLayout22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348809"/>
      </p:ext>
    </p:extLst>
  </p:cSld>
  <p:clrMapOvr>
    <a:masterClrMapping/>
  </p:clrMapOvr>
</p:sldLayout>
</file>

<file path=ppt/slideLayouts/slideLayout2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577424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p161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8" name="Google Shape;1598;p161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9" name="Google Shape;1599;p161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0" name="Google Shape;1600;p161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1" name="Google Shape;1601;p1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02" name="Google Shape;1602;p161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07628"/>
      </p:ext>
    </p:extLst>
  </p:cSld>
  <p:clrMapOvr>
    <a:masterClrMapping/>
  </p:clrMapOvr>
</p:sldLayout>
</file>

<file path=ppt/slideLayouts/slideLayout22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271641795"/>
      </p:ext>
    </p:extLst>
  </p:cSld>
  <p:clrMapOvr>
    <a:masterClrMapping/>
  </p:clrMapOvr>
</p:sldLayout>
</file>

<file path=ppt/slideLayouts/slideLayout22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85961"/>
      </p:ext>
    </p:extLst>
  </p:cSld>
  <p:clrMapOvr>
    <a:masterClrMapping/>
  </p:clrMapOvr>
</p:sldLayout>
</file>

<file path=ppt/slideLayouts/slideLayout22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1014488"/>
      </p:ext>
    </p:extLst>
  </p:cSld>
  <p:clrMapOvr>
    <a:masterClrMapping/>
  </p:clrMapOvr>
</p:sldLayout>
</file>

<file path=ppt/slideLayouts/slideLayout22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461606"/>
      </p:ext>
    </p:extLst>
  </p:cSld>
  <p:clrMapOvr>
    <a:masterClrMapping/>
  </p:clrMapOvr>
</p:sldLayout>
</file>

<file path=ppt/slideLayouts/slideLayout22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699909008"/>
      </p:ext>
    </p:extLst>
  </p:cSld>
  <p:clrMapOvr>
    <a:masterClrMapping/>
  </p:clrMapOvr>
</p:sldLayout>
</file>

<file path=ppt/slideLayouts/slideLayout222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667243"/>
      </p:ext>
    </p:extLst>
  </p:cSld>
  <p:clrMapOvr>
    <a:masterClrMapping/>
  </p:clrMapOvr>
</p:sldLayout>
</file>

<file path=ppt/slideLayouts/slideLayout2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831232"/>
      </p:ext>
    </p:extLst>
  </p:cSld>
  <p:clrMapOvr>
    <a:masterClrMapping/>
  </p:clrMapOvr>
</p:sldLayout>
</file>

<file path=ppt/slideLayouts/slideLayout2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777563"/>
      </p:ext>
    </p:extLst>
  </p:cSld>
  <p:clrMapOvr>
    <a:masterClrMapping/>
  </p:clrMapOvr>
</p:sldLayout>
</file>

<file path=ppt/slideLayouts/slideLayout22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26396774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1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4" name="Google Shape;1604;p16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5" name="Google Shape;1605;p16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6" name="Google Shape;1606;p16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07" name="Google Shape;1607;p1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8" name="Google Shape;1608;p1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09" name="Google Shape;1609;p16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0" name="Google Shape;1610;p16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1" name="Google Shape;1611;p16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12" name="Google Shape;1612;p16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754415"/>
      </p:ext>
    </p:extLst>
  </p:cSld>
  <p:clrMapOvr>
    <a:masterClrMapping/>
  </p:clrMapOvr>
</p:sldLayout>
</file>

<file path=ppt/slideLayouts/slideLayout2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3783449"/>
      </p:ext>
    </p:extLst>
  </p:cSld>
  <p:clrMapOvr>
    <a:masterClrMapping/>
  </p:clrMapOvr>
</p:sldLayout>
</file>

<file path=ppt/slideLayouts/slideLayout2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188393"/>
      </p:ext>
    </p:extLst>
  </p:cSld>
  <p:clrMapOvr>
    <a:masterClrMapping/>
  </p:clrMapOvr>
</p:sldLayout>
</file>

<file path=ppt/slideLayouts/slideLayout2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648571"/>
      </p:ext>
    </p:extLst>
  </p:cSld>
  <p:clrMapOvr>
    <a:masterClrMapping/>
  </p:clrMapOvr>
</p:sldLayout>
</file>

<file path=ppt/slideLayouts/slideLayout22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05641636"/>
      </p:ext>
    </p:extLst>
  </p:cSld>
  <p:clrMapOvr>
    <a:masterClrMapping/>
  </p:clrMapOvr>
</p:sldLayout>
</file>

<file path=ppt/slideLayouts/slideLayout22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632526"/>
      </p:ext>
    </p:extLst>
  </p:cSld>
  <p:clrMapOvr>
    <a:masterClrMapping/>
  </p:clrMapOvr>
</p:sldLayout>
</file>

<file path=ppt/slideLayouts/slideLayout2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69557"/>
      </p:ext>
    </p:extLst>
  </p:cSld>
  <p:clrMapOvr>
    <a:masterClrMapping/>
  </p:clrMapOvr>
</p:sldLayout>
</file>

<file path=ppt/slideLayouts/slideLayout2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4315576"/>
      </p:ext>
    </p:extLst>
  </p:cSld>
  <p:clrMapOvr>
    <a:masterClrMapping/>
  </p:clrMapOvr>
</p:sldLayout>
</file>

<file path=ppt/slideLayouts/slideLayout22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40523436"/>
      </p:ext>
    </p:extLst>
  </p:cSld>
  <p:clrMapOvr>
    <a:masterClrMapping/>
  </p:clrMapOvr>
</p:sldLayout>
</file>

<file path=ppt/slideLayouts/slideLayout22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7093372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">
    <p:spTree>
      <p:nvGrpSpPr>
        <p:cNvPr id="1" name="Shape 1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4" name="Google Shape;1614;p16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15" name="Google Shape;1615;p16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16" name="Google Shape;1616;p16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17" name="Google Shape;1617;p16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18" name="Google Shape;1618;p163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19" name="Google Shape;1619;p16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0" name="Google Shape;1620;p16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1" name="Google Shape;1621;p16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2" name="Google Shape;1622;p16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368280"/>
      </p:ext>
    </p:extLst>
  </p:cSld>
  <p:clrMapOvr>
    <a:masterClrMapping/>
  </p:clrMapOvr>
</p:sldLayout>
</file>

<file path=ppt/slideLayouts/slideLayout22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687519091"/>
      </p:ext>
    </p:extLst>
  </p:cSld>
  <p:clrMapOvr>
    <a:masterClrMapping/>
  </p:clrMapOvr>
</p:sldLayout>
</file>

<file path=ppt/slideLayouts/slideLayout22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2576813"/>
      </p:ext>
    </p:extLst>
  </p:cSld>
  <p:clrMapOvr>
    <a:masterClrMapping/>
  </p:clrMapOvr>
</p:sldLayout>
</file>

<file path=ppt/slideLayouts/slideLayout2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4670759"/>
      </p:ext>
    </p:extLst>
  </p:cSld>
  <p:clrMapOvr>
    <a:masterClrMapping/>
  </p:clrMapOvr>
</p:sldLayout>
</file>

<file path=ppt/slideLayouts/slideLayout2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82393500"/>
      </p:ext>
    </p:extLst>
  </p:cSld>
  <p:clrMapOvr>
    <a:masterClrMapping/>
  </p:clrMapOvr>
</p:sldLayout>
</file>

<file path=ppt/slideLayouts/slideLayout2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525350"/>
      </p:ext>
    </p:extLst>
  </p:cSld>
  <p:clrMapOvr>
    <a:masterClrMapping/>
  </p:clrMapOvr>
</p:sldLayout>
</file>

<file path=ppt/slideLayouts/slideLayout22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0208111"/>
      </p:ext>
    </p:extLst>
  </p:cSld>
  <p:clrMapOvr>
    <a:masterClrMapping/>
  </p:clrMapOvr>
</p:sldLayout>
</file>

<file path=ppt/slideLayouts/slideLayout2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93303691"/>
      </p:ext>
    </p:extLst>
  </p:cSld>
  <p:clrMapOvr>
    <a:masterClrMapping/>
  </p:clrMapOvr>
</p:sldLayout>
</file>

<file path=ppt/slideLayouts/slideLayout2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52186511"/>
      </p:ext>
    </p:extLst>
  </p:cSld>
  <p:clrMapOvr>
    <a:masterClrMapping/>
  </p:clrMapOvr>
</p:sldLayout>
</file>

<file path=ppt/slideLayouts/slideLayout22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1986702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1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4" name="Google Shape;1624;p164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5" name="Google Shape;1625;p164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6" name="Google Shape;1626;p164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7" name="Google Shape;1627;p164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8" name="Google Shape;1628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29" name="Google Shape;1629;p164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89137654"/>
      </p:ext>
    </p:extLst>
  </p:cSld>
  <p:clrMapOvr>
    <a:masterClrMapping/>
  </p:clrMapOvr>
</p:sldLayout>
</file>

<file path=ppt/slideLayouts/slideLayout2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468385"/>
      </p:ext>
    </p:extLst>
  </p:cSld>
  <p:clrMapOvr>
    <a:masterClrMapping/>
  </p:clrMapOvr>
</p:sldLayout>
</file>

<file path=ppt/slideLayouts/slideLayout22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77703679"/>
      </p:ext>
    </p:extLst>
  </p:cSld>
  <p:clrMapOvr>
    <a:masterClrMapping/>
  </p:clrMapOvr>
</p:sldLayout>
</file>

<file path=ppt/slideLayouts/slideLayout2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48236343"/>
      </p:ext>
    </p:extLst>
  </p:cSld>
  <p:clrMapOvr>
    <a:masterClrMapping/>
  </p:clrMapOvr>
</p:sldLayout>
</file>

<file path=ppt/slideLayouts/slideLayout2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39740653"/>
      </p:ext>
    </p:extLst>
  </p:cSld>
  <p:clrMapOvr>
    <a:masterClrMapping/>
  </p:clrMapOvr>
</p:sldLayout>
</file>

<file path=ppt/slideLayouts/slideLayout2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550186"/>
      </p:ext>
    </p:extLst>
  </p:cSld>
  <p:clrMapOvr>
    <a:masterClrMapping/>
  </p:clrMapOvr>
</p:sldLayout>
</file>

<file path=ppt/slideLayouts/slideLayout2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204089"/>
      </p:ext>
    </p:extLst>
  </p:cSld>
  <p:clrMapOvr>
    <a:masterClrMapping/>
  </p:clrMapOvr>
</p:sldLayout>
</file>

<file path=ppt/slideLayouts/slideLayout2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32436169"/>
      </p:ext>
    </p:extLst>
  </p:cSld>
  <p:clrMapOvr>
    <a:masterClrMapping/>
  </p:clrMapOvr>
</p:sldLayout>
</file>

<file path=ppt/slideLayouts/slideLayout2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68079031"/>
      </p:ext>
    </p:extLst>
  </p:cSld>
  <p:clrMapOvr>
    <a:masterClrMapping/>
  </p:clrMapOvr>
</p:sldLayout>
</file>

<file path=ppt/slideLayouts/slideLayout2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6248207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" name="Google Shape;1631;p16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2" name="Google Shape;1632;p16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3" name="Google Shape;1633;p16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4" name="Google Shape;1634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5" name="Google Shape;1635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6" name="Google Shape;1636;p16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7" name="Google Shape;1637;p16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8" name="Google Shape;1638;p16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39" name="Google Shape;1639;p16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16686053"/>
      </p:ext>
    </p:extLst>
  </p:cSld>
  <p:clrMapOvr>
    <a:masterClrMapping/>
  </p:clrMapOvr>
</p:sldLayout>
</file>

<file path=ppt/slideLayouts/slideLayout2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495329"/>
      </p:ext>
    </p:extLst>
  </p:cSld>
  <p:clrMapOvr>
    <a:masterClrMapping/>
  </p:clrMapOvr>
</p:sldLayout>
</file>

<file path=ppt/slideLayouts/slideLayout22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9683616"/>
      </p:ext>
    </p:extLst>
  </p:cSld>
  <p:clrMapOvr>
    <a:masterClrMapping/>
  </p:clrMapOvr>
</p:sldLayout>
</file>

<file path=ppt/slideLayouts/slideLayout2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9369523"/>
      </p:ext>
    </p:extLst>
  </p:cSld>
  <p:clrMapOvr>
    <a:masterClrMapping/>
  </p:clrMapOvr>
</p:sldLayout>
</file>

<file path=ppt/slideLayouts/slideLayout22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7478570"/>
      </p:ext>
    </p:extLst>
  </p:cSld>
  <p:clrMapOvr>
    <a:masterClrMapping/>
  </p:clrMapOvr>
</p:sldLayout>
</file>

<file path=ppt/slideLayouts/slideLayout2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819036"/>
      </p:ext>
    </p:extLst>
  </p:cSld>
  <p:clrMapOvr>
    <a:masterClrMapping/>
  </p:clrMapOvr>
</p:sldLayout>
</file>

<file path=ppt/slideLayouts/slideLayout22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55194440"/>
      </p:ext>
    </p:extLst>
  </p:cSld>
  <p:clrMapOvr>
    <a:masterClrMapping/>
  </p:clrMapOvr>
</p:sldLayout>
</file>

<file path=ppt/slideLayouts/slideLayout2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17217355"/>
      </p:ext>
    </p:extLst>
  </p:cSld>
  <p:clrMapOvr>
    <a:masterClrMapping/>
  </p:clrMapOvr>
</p:sldLayout>
</file>

<file path=ppt/slideLayouts/slideLayout2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9746672"/>
      </p:ext>
    </p:extLst>
  </p:cSld>
  <p:clrMapOvr>
    <a:masterClrMapping/>
  </p:clrMapOvr>
</p:sldLayout>
</file>

<file path=ppt/slideLayouts/slideLayout22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534345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1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1" name="Google Shape;1641;p16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2" name="Google Shape;1642;p16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3" name="Google Shape;1643;p16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4" name="Google Shape;1644;p16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45" name="Google Shape;1645;p16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59726292"/>
      </p:ext>
    </p:extLst>
  </p:cSld>
  <p:clrMapOvr>
    <a:masterClrMapping/>
  </p:clrMapOvr>
</p:sldLayout>
</file>

<file path=ppt/slideLayouts/slideLayout2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2681843"/>
      </p:ext>
    </p:extLst>
  </p:cSld>
  <p:clrMapOvr>
    <a:masterClrMapping/>
  </p:clrMapOvr>
</p:sldLayout>
</file>

<file path=ppt/slideLayouts/slideLayout2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1900025"/>
      </p:ext>
    </p:extLst>
  </p:cSld>
  <p:clrMapOvr>
    <a:masterClrMapping/>
  </p:clrMapOvr>
</p:sldLayout>
</file>

<file path=ppt/slideLayouts/slideLayout2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20331345"/>
      </p:ext>
    </p:extLst>
  </p:cSld>
  <p:clrMapOvr>
    <a:masterClrMapping/>
  </p:clrMapOvr>
</p:sldLayout>
</file>

<file path=ppt/slideLayouts/slideLayout2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975327"/>
      </p:ext>
    </p:extLst>
  </p:cSld>
  <p:clrMapOvr>
    <a:masterClrMapping/>
  </p:clrMapOvr>
</p:sldLayout>
</file>

<file path=ppt/slideLayouts/slideLayout22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8181"/>
      </p:ext>
    </p:extLst>
  </p:cSld>
  <p:clrMapOvr>
    <a:masterClrMapping/>
  </p:clrMapOvr>
</p:sldLayout>
</file>

<file path=ppt/slideLayouts/slideLayout22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8895829"/>
      </p:ext>
    </p:extLst>
  </p:cSld>
  <p:clrMapOvr>
    <a:masterClrMapping/>
  </p:clrMapOvr>
</p:sldLayout>
</file>

<file path=ppt/slideLayouts/slideLayout2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24533453"/>
      </p:ext>
    </p:extLst>
  </p:cSld>
  <p:clrMapOvr>
    <a:masterClrMapping/>
  </p:clrMapOvr>
</p:sldLayout>
</file>

<file path=ppt/slideLayouts/slideLayout227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63896924"/>
      </p:ext>
    </p:extLst>
  </p:cSld>
  <p:clrMapOvr>
    <a:masterClrMapping/>
  </p:clrMapOvr>
</p:sldLayout>
</file>

<file path=ppt/slideLayouts/slideLayout227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9151761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16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7" name="Google Shape;1647;p16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48" name="Google Shape;1648;p16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49" name="Google Shape;1649;p16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0" name="Google Shape;1650;p16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1" name="Google Shape;1651;p16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2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1435493"/>
      </p:ext>
    </p:extLst>
  </p:cSld>
  <p:clrMapOvr>
    <a:masterClrMapping/>
  </p:clrMapOvr>
</p:sldLayout>
</file>

<file path=ppt/slideLayouts/slideLayout2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546470"/>
      </p:ext>
    </p:extLst>
  </p:cSld>
  <p:clrMapOvr>
    <a:masterClrMapping/>
  </p:clrMapOvr>
</p:sldLayout>
</file>

<file path=ppt/slideLayouts/slideLayout22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73942794"/>
      </p:ext>
    </p:extLst>
  </p:cSld>
  <p:clrMapOvr>
    <a:masterClrMapping/>
  </p:clrMapOvr>
</p:sldLayout>
</file>

<file path=ppt/slideLayouts/slideLayout2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9994521"/>
      </p:ext>
    </p:extLst>
  </p:cSld>
  <p:clrMapOvr>
    <a:masterClrMapping/>
  </p:clrMapOvr>
</p:sldLayout>
</file>

<file path=ppt/slideLayouts/slideLayout22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oogle Shape;15;p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" name="Google Shape;16;p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" name="Google Shape;17;p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" name="Google Shape;18;p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;p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" name="Google Shape;20;p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" name="Google Shape;23;p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" name="Google Shape;24;p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53122542"/>
      </p:ext>
    </p:extLst>
  </p:cSld>
  <p:clrMapOvr>
    <a:masterClrMapping/>
  </p:clrMapOvr>
</p:sldLayout>
</file>

<file path=ppt/slideLayouts/slideLayout2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1_Title and Conten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oogle Shape;15;p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" name="Google Shape;16;p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" name="Google Shape;17;p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" name="Google Shape;18;p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;p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" name="Google Shape;20;p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" name="Google Shape;23;p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" name="Google Shape;24;p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53739671"/>
      </p:ext>
    </p:extLst>
  </p:cSld>
  <p:clrMapOvr>
    <a:masterClrMapping/>
  </p:clrMapOvr>
</p:sldLayout>
</file>

<file path=ppt/slideLayouts/slideLayout2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27;p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" name="Google Shape;29;p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0" name="Google Shape;30;p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1" name="Google Shape;31;p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2;p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3" name="Google Shape;33;p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524831189"/>
      </p:ext>
    </p:extLst>
  </p:cSld>
  <p:clrMapOvr>
    <a:masterClrMapping/>
  </p:clrMapOvr>
</p:sldLayout>
</file>

<file path=ppt/slideLayouts/slideLayout2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oogle Shape;35;p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" name="Google Shape;36;p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" name="Google Shape;37;p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" name="Google Shape;38;p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" name="Google Shape;40;p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" name="Google Shape;43;p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" name="Google Shape;44;p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1283527"/>
      </p:ext>
    </p:extLst>
  </p:cSld>
  <p:clrMapOvr>
    <a:masterClrMapping/>
  </p:clrMapOvr>
</p:sldLayout>
</file>

<file path=ppt/slideLayouts/slideLayout2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8" name="Google Shape;48;p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" name="Google Shape;49;p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" name="Google Shape;50;p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" name="Google Shape;51;p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" name="Google Shape;52;p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" name="Google Shape;53;p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" name="Google Shape;55;p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" name="Google Shape;56;p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6976176"/>
      </p:ext>
    </p:extLst>
  </p:cSld>
  <p:clrMapOvr>
    <a:masterClrMapping/>
  </p:clrMapOvr>
</p:sldLayout>
</file>

<file path=ppt/slideLayouts/slideLayout2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0300952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1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3" name="Google Shape;1653;p16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4" name="Google Shape;1654;p16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5" name="Google Shape;1655;p16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6" name="Google Shape;1656;p16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7" name="Google Shape;1657;p16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58" name="Google Shape;1658;p16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790340"/>
      </p:ext>
    </p:extLst>
  </p:cSld>
  <p:clrMapOvr>
    <a:masterClrMapping/>
  </p:clrMapOvr>
</p:sldLayout>
</file>

<file path=ppt/slideLayouts/slideLayout2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oogle Shape;81;p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" name="Google Shape;82;p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" name="Google Shape;83;p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4" name="Google Shape;84;p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" name="Google Shape;86;p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" name="Google Shape;89;p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" name="Google Shape;90;p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14616479"/>
      </p:ext>
    </p:extLst>
  </p:cSld>
  <p:clrMapOvr>
    <a:masterClrMapping/>
  </p:clrMapOvr>
</p:sldLayout>
</file>

<file path=ppt/slideLayouts/slideLayout2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" name="Google Shape;93;p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" name="Google Shape;94;p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" name="Google Shape;95;p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" name="Google Shape;96;p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" name="Google Shape;97;p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" name="Google Shape;98;p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46360411"/>
      </p:ext>
    </p:extLst>
  </p:cSld>
  <p:clrMapOvr>
    <a:masterClrMapping/>
  </p:clrMapOvr>
</p:sldLayout>
</file>

<file path=ppt/slideLayouts/slideLayout2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oogle Shape;101;p1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2" name="Google Shape;102;p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103;p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104;p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5" name="Google Shape;105;p1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" name="Google Shape;106;p1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1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74511457"/>
      </p:ext>
    </p:extLst>
  </p:cSld>
  <p:clrMapOvr>
    <a:masterClrMapping/>
  </p:clrMapOvr>
</p:sldLayout>
</file>

<file path=ppt/slideLayouts/slideLayout2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99542144"/>
      </p:ext>
    </p:extLst>
  </p:cSld>
  <p:clrMapOvr>
    <a:masterClrMapping/>
  </p:clrMapOvr>
</p:sldLayout>
</file>

<file path=ppt/slideLayouts/slideLayout2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oogle Shape;117;p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" name="Google Shape;118;p1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" name="Google Shape;119;p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" name="Google Shape;120;p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2" name="Google Shape;122;p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" name="Google Shape;125;p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6" name="Google Shape;126;p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60687265"/>
      </p:ext>
    </p:extLst>
  </p:cSld>
  <p:clrMapOvr>
    <a:masterClrMapping/>
  </p:clrMapOvr>
</p:sldLayout>
</file>

<file path=ppt/slideLayouts/slideLayout2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" name="Google Shape;128;p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" name="Google Shape;129;p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" name="Google Shape;130;p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" name="Google Shape;131;p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3" name="Google Shape;133;p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" name="Google Shape;136;p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" name="Google Shape;137;p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2608969"/>
      </p:ext>
    </p:extLst>
  </p:cSld>
  <p:clrMapOvr>
    <a:masterClrMapping/>
  </p:clrMapOvr>
</p:sldLayout>
</file>

<file path=ppt/slideLayouts/slideLayout22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" name="Google Shape;128;p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" name="Google Shape;129;p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" name="Google Shape;130;p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" name="Google Shape;131;p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3" name="Google Shape;133;p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" name="Google Shape;136;p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" name="Google Shape;137;p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99904980"/>
      </p:ext>
    </p:extLst>
  </p:cSld>
  <p:clrMapOvr>
    <a:masterClrMapping/>
  </p:clrMapOvr>
</p:sldLayout>
</file>

<file path=ppt/slideLayouts/slideLayout22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" name="Google Shape;139;p1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0" name="Google Shape;140;p1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3" name="Google Shape;143;p1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4" name="Google Shape;144;p1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1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92730189"/>
      </p:ext>
    </p:extLst>
  </p:cSld>
  <p:clrMapOvr>
    <a:masterClrMapping/>
  </p:clrMapOvr>
</p:sldLayout>
</file>

<file path=ppt/slideLayouts/slideLayout22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" name="Google Shape;147;p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8" name="Google Shape;148;p1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" name="Google Shape;149;p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" name="Google Shape;150;p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" name="Google Shape;152;p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" name="Google Shape;153;p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5" name="Google Shape;155;p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" name="Google Shape;156;p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2718695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7" name="Google Shape;207;p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8" name="Google Shape;208;p2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9" name="Google Shape;209;p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0" name="Google Shape;210;p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" name="Google Shape;213;p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" name="Google Shape;214;p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5" name="Google Shape;215;p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" name="Google Shape;216;p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">
    <p:spTree>
      <p:nvGrpSpPr>
        <p:cNvPr id="1" name="Shape 1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4" name="Google Shape;1614;p16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15" name="Google Shape;1615;p16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16" name="Google Shape;1616;p16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17" name="Google Shape;1617;p16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18" name="Google Shape;1618;p163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19" name="Google Shape;1619;p16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0" name="Google Shape;1620;p16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1" name="Google Shape;1621;p16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2" name="Google Shape;1622;p16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Google Shape;158;p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9" name="Google Shape;159;p1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" name="Google Shape;160;p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" name="Google Shape;161;p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" name="Google Shape;163;p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" name="Google Shape;166;p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" name="Google Shape;167;p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07651202"/>
      </p:ext>
    </p:extLst>
  </p:cSld>
  <p:clrMapOvr>
    <a:masterClrMapping/>
  </p:clrMapOvr>
</p:sldLayout>
</file>

<file path=ppt/slideLayouts/slideLayout23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1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" name="Google Shape;170;p1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1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2" name="Google Shape;172;p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3" name="Google Shape;173;p1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4" name="Google Shape;174;p1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6" name="Google Shape;176;p1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090034978"/>
      </p:ext>
    </p:extLst>
  </p:cSld>
  <p:clrMapOvr>
    <a:masterClrMapping/>
  </p:clrMapOvr>
</p:sldLayout>
</file>

<file path=ppt/slideLayouts/slideLayout23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" name="Google Shape;178;p1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9" name="Google Shape;179;p1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2" name="Google Shape;182;p1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3" name="Google Shape;183;p1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1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75764625"/>
      </p:ext>
    </p:extLst>
  </p:cSld>
  <p:clrMapOvr>
    <a:masterClrMapping/>
  </p:clrMapOvr>
</p:sldLayout>
</file>

<file path=ppt/slideLayouts/slideLayout23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7" name="Google Shape;187;p1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8" name="Google Shape;188;p1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9" name="Google Shape;189;p1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1" name="Google Shape;191;p1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92" name="Google Shape;192;p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33739863"/>
      </p:ext>
    </p:extLst>
  </p:cSld>
  <p:clrMapOvr>
    <a:masterClrMapping/>
  </p:clrMapOvr>
</p:sldLayout>
</file>

<file path=ppt/slideLayouts/slideLayout23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" name="Google Shape;195;p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" name="Google Shape;198;p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" name="Google Shape;199;p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0" name="Google Shape;200;p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1" name="Google Shape;201;p2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2" name="Google Shape;202;p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3" name="Google Shape;203;p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204;p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5" name="Google Shape;205;p2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75978706"/>
      </p:ext>
    </p:extLst>
  </p:cSld>
  <p:clrMapOvr>
    <a:masterClrMapping/>
  </p:clrMapOvr>
</p:sldLayout>
</file>

<file path=ppt/slideLayouts/slideLayout23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7" name="Google Shape;207;p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8" name="Google Shape;208;p2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9" name="Google Shape;209;p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0" name="Google Shape;210;p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" name="Google Shape;213;p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" name="Google Shape;214;p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5" name="Google Shape;215;p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" name="Google Shape;216;p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919934"/>
      </p:ext>
    </p:extLst>
  </p:cSld>
  <p:clrMapOvr>
    <a:masterClrMapping/>
  </p:clrMapOvr>
</p:sldLayout>
</file>

<file path=ppt/slideLayouts/slideLayout23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" name="Google Shape;219;p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0" name="Google Shape;220;p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1" name="Google Shape;221;p2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p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" name="Google Shape;223;p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5" name="Google Shape;225;p2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" name="Google Shape;226;p2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7" name="Google Shape;227;p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8" name="Google Shape;228;p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97224287"/>
      </p:ext>
    </p:extLst>
  </p:cSld>
  <p:clrMapOvr>
    <a:masterClrMapping/>
  </p:clrMapOvr>
</p:sldLayout>
</file>

<file path=ppt/slideLayouts/slideLayout23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0" name="Google Shape;230;p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1" name="Google Shape;231;p2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2" name="Google Shape;232;p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3" name="Google Shape;233;p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5" name="Google Shape;235;p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" name="Google Shape;236;p2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7" name="Google Shape;237;p2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" name="Google Shape;238;p2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9" name="Google Shape;239;p2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" name="Google Shape;240;p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1" name="Google Shape;241;p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2" name="Google Shape;242;p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01798496"/>
      </p:ext>
    </p:extLst>
  </p:cSld>
  <p:clrMapOvr>
    <a:masterClrMapping/>
  </p:clrMapOvr>
</p:sldLayout>
</file>

<file path=ppt/slideLayouts/slideLayout23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4" name="Google Shape;244;p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5" name="Google Shape;245;p2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6" name="Google Shape;246;p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7" name="Google Shape;247;p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9" name="Google Shape;249;p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" name="Google Shape;250;p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" name="Google Shape;251;p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2" name="Google Shape;252;p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17726485"/>
      </p:ext>
    </p:extLst>
  </p:cSld>
  <p:clrMapOvr>
    <a:masterClrMapping/>
  </p:clrMapOvr>
</p:sldLayout>
</file>

<file path=ppt/slideLayouts/slideLayout23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4" name="Google Shape;254;p2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5" name="Google Shape;255;p2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2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7" name="Google Shape;257;p2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258;p2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" name="Google Shape;259;p2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0" name="Google Shape;260;p2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1" name="Google Shape;261;p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162395886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" name="Google Shape;1631;p16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2" name="Google Shape;1632;p16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3" name="Google Shape;1633;p16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4" name="Google Shape;1634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5" name="Google Shape;1635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6" name="Google Shape;1636;p16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7" name="Google Shape;1637;p16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8" name="Google Shape;1638;p16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39" name="Google Shape;1639;p16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" name="Google Shape;264;p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" name="Google Shape;265;p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6" name="Google Shape;266;p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7" name="Google Shape;267;p2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8" name="Google Shape;268;p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9" name="Google Shape;269;p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" name="Google Shape;270;p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45467476"/>
      </p:ext>
    </p:extLst>
  </p:cSld>
  <p:clrMapOvr>
    <a:masterClrMapping/>
  </p:clrMapOvr>
</p:sldLayout>
</file>

<file path=ppt/slideLayouts/slideLayout23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" name="Google Shape;273;p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6" name="Google Shape;276;p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8" name="Google Shape;278;p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9" name="Google Shape;279;p2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0" name="Google Shape;280;p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1" name="Google Shape;281;p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282;p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3" name="Google Shape;283;p2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7347655"/>
      </p:ext>
    </p:extLst>
  </p:cSld>
  <p:clrMapOvr>
    <a:masterClrMapping/>
  </p:clrMapOvr>
</p:sldLayout>
</file>

<file path=ppt/slideLayouts/slideLayout23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1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" name="Google Shape;170;p1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1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2" name="Google Shape;172;p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3" name="Google Shape;173;p1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4" name="Google Shape;174;p1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6" name="Google Shape;176;p1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427094910"/>
      </p:ext>
    </p:extLst>
  </p:cSld>
  <p:clrMapOvr>
    <a:masterClrMapping/>
  </p:clrMapOvr>
</p:sldLayout>
</file>

<file path=ppt/slideLayouts/slideLayout23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" name="Google Shape;178;p1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9" name="Google Shape;179;p1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2" name="Google Shape;182;p1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3" name="Google Shape;183;p1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1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80002351"/>
      </p:ext>
    </p:extLst>
  </p:cSld>
  <p:clrMapOvr>
    <a:masterClrMapping/>
  </p:clrMapOvr>
</p:sldLayout>
</file>

<file path=ppt/slideLayouts/slideLayout23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7" name="Google Shape;187;p1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8" name="Google Shape;188;p1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9" name="Google Shape;189;p1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1" name="Google Shape;191;p1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92" name="Google Shape;192;p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84115935"/>
      </p:ext>
    </p:extLst>
  </p:cSld>
  <p:clrMapOvr>
    <a:masterClrMapping/>
  </p:clrMapOvr>
</p:sldLayout>
</file>

<file path=ppt/slideLayouts/slideLayout23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" name="Google Shape;195;p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" name="Google Shape;198;p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" name="Google Shape;199;p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0" name="Google Shape;200;p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1" name="Google Shape;201;p2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2" name="Google Shape;202;p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3" name="Google Shape;203;p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204;p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5" name="Google Shape;205;p2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95595604"/>
      </p:ext>
    </p:extLst>
  </p:cSld>
  <p:clrMapOvr>
    <a:masterClrMapping/>
  </p:clrMapOvr>
</p:sldLayout>
</file>

<file path=ppt/slideLayouts/slideLayout2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7" name="Google Shape;207;p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8" name="Google Shape;208;p2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9" name="Google Shape;209;p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0" name="Google Shape;210;p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" name="Google Shape;213;p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" name="Google Shape;214;p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5" name="Google Shape;215;p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" name="Google Shape;216;p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98189222"/>
      </p:ext>
    </p:extLst>
  </p:cSld>
  <p:clrMapOvr>
    <a:masterClrMapping/>
  </p:clrMapOvr>
</p:sldLayout>
</file>

<file path=ppt/slideLayouts/slideLayout23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" name="Google Shape;219;p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0" name="Google Shape;220;p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1" name="Google Shape;221;p2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p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" name="Google Shape;223;p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5" name="Google Shape;225;p2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" name="Google Shape;226;p2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7" name="Google Shape;227;p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8" name="Google Shape;228;p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21119151"/>
      </p:ext>
    </p:extLst>
  </p:cSld>
  <p:clrMapOvr>
    <a:masterClrMapping/>
  </p:clrMapOvr>
</p:sldLayout>
</file>

<file path=ppt/slideLayouts/slideLayout23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1_Comparison"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0" name="Google Shape;230;p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1" name="Google Shape;231;p2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2" name="Google Shape;232;p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3" name="Google Shape;233;p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5" name="Google Shape;235;p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" name="Google Shape;236;p2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7" name="Google Shape;237;p2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" name="Google Shape;238;p2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9" name="Google Shape;239;p2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" name="Google Shape;240;p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1" name="Google Shape;241;p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2" name="Google Shape;242;p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36169952"/>
      </p:ext>
    </p:extLst>
  </p:cSld>
  <p:clrMapOvr>
    <a:masterClrMapping/>
  </p:clrMapOvr>
</p:sldLayout>
</file>

<file path=ppt/slideLayouts/slideLayout23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1_Title Only"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4" name="Google Shape;244;p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5" name="Google Shape;245;p2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6" name="Google Shape;246;p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7" name="Google Shape;247;p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9" name="Google Shape;249;p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" name="Google Shape;250;p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" name="Google Shape;251;p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2" name="Google Shape;252;p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75819407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">
    <p:spTree>
      <p:nvGrpSpPr>
        <p:cNvPr id="1" name="Shape 1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4" name="Google Shape;1614;p16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15" name="Google Shape;1615;p16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16" name="Google Shape;1616;p16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17" name="Google Shape;1617;p16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18" name="Google Shape;1618;p163"/>
            <p:cNvPicPr preferRelativeResize="0"/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19" name="Google Shape;1619;p16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0" name="Google Shape;1620;p16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1" name="Google Shape;1621;p16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2" name="Google Shape;1622;p16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4" name="Google Shape;254;p2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5" name="Google Shape;255;p2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2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7" name="Google Shape;257;p2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258;p2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" name="Google Shape;259;p2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0" name="Google Shape;260;p2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1" name="Google Shape;261;p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067737413"/>
      </p:ext>
    </p:extLst>
  </p:cSld>
  <p:clrMapOvr>
    <a:masterClrMapping/>
  </p:clrMapOvr>
</p:sldLayout>
</file>

<file path=ppt/slideLayouts/slideLayout23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" name="Google Shape;264;p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" name="Google Shape;265;p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6" name="Google Shape;266;p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7" name="Google Shape;267;p2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8" name="Google Shape;268;p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9" name="Google Shape;269;p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" name="Google Shape;270;p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33038414"/>
      </p:ext>
    </p:extLst>
  </p:cSld>
  <p:clrMapOvr>
    <a:masterClrMapping/>
  </p:clrMapOvr>
</p:sldLayout>
</file>

<file path=ppt/slideLayouts/slideLayout23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" name="Google Shape;273;p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6" name="Google Shape;276;p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8" name="Google Shape;278;p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9" name="Google Shape;279;p2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0" name="Google Shape;280;p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1" name="Google Shape;281;p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282;p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3" name="Google Shape;283;p2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72832554"/>
      </p:ext>
    </p:extLst>
  </p:cSld>
  <p:clrMapOvr>
    <a:masterClrMapping/>
  </p:clrMapOvr>
</p:sldLayout>
</file>

<file path=ppt/slideLayouts/slideLayout23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2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" name="Google Shape;286;p2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2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88" name="Google Shape;288;p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89" name="Google Shape;289;p2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90" name="Google Shape;290;p2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91;p2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2" name="Google Shape;292;p2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132204272"/>
      </p:ext>
    </p:extLst>
  </p:cSld>
  <p:clrMapOvr>
    <a:masterClrMapping/>
  </p:clrMapOvr>
</p:sldLayout>
</file>

<file path=ppt/slideLayouts/slideLayout23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4" name="Google Shape;294;p2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95" name="Google Shape;295;p2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96;p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97;p2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8" name="Google Shape;298;p2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9" name="Google Shape;299;p2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0" name="Google Shape;300;p2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55481547"/>
      </p:ext>
    </p:extLst>
  </p:cSld>
  <p:clrMapOvr>
    <a:masterClrMapping/>
  </p:clrMapOvr>
</p:sldLayout>
</file>

<file path=ppt/slideLayouts/slideLayout23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p3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03" name="Google Shape;303;p3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4" name="Google Shape;304;p3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05" name="Google Shape;305;p3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306;p3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7" name="Google Shape;307;p3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08" name="Google Shape;308;p30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73124733"/>
      </p:ext>
    </p:extLst>
  </p:cSld>
  <p:clrMapOvr>
    <a:masterClrMapping/>
  </p:clrMapOvr>
</p:sldLayout>
</file>

<file path=ppt/slideLayouts/slideLayout2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311;p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" name="Google Shape;313;p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4" name="Google Shape;314;p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5" name="Google Shape;315;p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6" name="Google Shape;316;p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7" name="Google Shape;317;p3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8" name="Google Shape;318;p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9" name="Google Shape;319;p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1" name="Google Shape;321;p3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76122843"/>
      </p:ext>
    </p:extLst>
  </p:cSld>
  <p:clrMapOvr>
    <a:masterClrMapping/>
  </p:clrMapOvr>
</p:sldLayout>
</file>

<file path=ppt/slideLayouts/slideLayout2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311;p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" name="Google Shape;313;p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4" name="Google Shape;314;p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5" name="Google Shape;315;p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6" name="Google Shape;316;p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7" name="Google Shape;317;p3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8" name="Google Shape;318;p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9" name="Google Shape;319;p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1" name="Google Shape;321;p3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519386"/>
      </p:ext>
    </p:extLst>
  </p:cSld>
  <p:clrMapOvr>
    <a:masterClrMapping/>
  </p:clrMapOvr>
</p:sldLayout>
</file>

<file path=ppt/slideLayouts/slideLayout23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4" name="Google Shape;324;p3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25" name="Google Shape;325;p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6" name="Google Shape;326;p3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7" name="Google Shape;327;p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8" name="Google Shape;328;p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0" name="Google Shape;330;p3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" name="Google Shape;331;p3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2" name="Google Shape;332;p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3" name="Google Shape;333;p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49061474"/>
      </p:ext>
    </p:extLst>
  </p:cSld>
  <p:clrMapOvr>
    <a:masterClrMapping/>
  </p:clrMapOvr>
</p:sldLayout>
</file>

<file path=ppt/slideLayouts/slideLayout23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5" name="Google Shape;335;p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6" name="Google Shape;336;p3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7" name="Google Shape;337;p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8" name="Google Shape;338;p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9" name="Google Shape;339;p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0" name="Google Shape;340;p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1" name="Google Shape;341;p3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2" name="Google Shape;342;p3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3" name="Google Shape;343;p3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4" name="Google Shape;344;p3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5" name="Google Shape;345;p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6" name="Google Shape;346;p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7" name="Google Shape;347;p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08795769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6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0" name="Google Shape;1660;p169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1" name="Google Shape;1661;p169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662" name="Google Shape;1662;p16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63" name="Google Shape;1663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4" name="Google Shape;1664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3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9" name="Google Shape;349;p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0" name="Google Shape;350;p3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1" name="Google Shape;351;p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2" name="Google Shape;352;p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3" name="Google Shape;353;p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4" name="Google Shape;354;p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5" name="Google Shape;355;p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6" name="Google Shape;356;p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7" name="Google Shape;357;p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26065375"/>
      </p:ext>
    </p:extLst>
  </p:cSld>
  <p:clrMapOvr>
    <a:masterClrMapping/>
  </p:clrMapOvr>
</p:sldLayout>
</file>

<file path=ppt/slideLayouts/slideLayout23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9" name="Google Shape;359;p3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60" name="Google Shape;360;p3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3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2" name="Google Shape;362;p3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3" name="Google Shape;363;p3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4" name="Google Shape;364;p3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65" name="Google Shape;365;p3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66" name="Google Shape;366;p3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045866019"/>
      </p:ext>
    </p:extLst>
  </p:cSld>
  <p:clrMapOvr>
    <a:masterClrMapping/>
  </p:clrMapOvr>
</p:sldLayout>
</file>

<file path=ppt/slideLayouts/slideLayout23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3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" name="Google Shape;369;p3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p3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" name="Google Shape;371;p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2" name="Google Shape;372;p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3" name="Google Shape;373;p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4" name="Google Shape;374;p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5" name="Google Shape;375;p3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6" name="Google Shape;376;p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7" name="Google Shape;377;p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8" name="Google Shape;378;p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9" name="Google Shape;379;p3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04701448"/>
      </p:ext>
    </p:extLst>
  </p:cSld>
  <p:clrMapOvr>
    <a:masterClrMapping/>
  </p:clrMapOvr>
</p:sldLayout>
</file>

<file path=ppt/slideLayouts/slideLayout23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Google Shape;381;p3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" name="Google Shape;382;p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" name="Google Shape;383;p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" name="Google Shape;384;p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5" name="Google Shape;385;p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6" name="Google Shape;386;p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87" name="Google Shape;387;p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8" name="Google Shape;388;p3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" name="Google Shape;389;p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0" name="Google Shape;390;p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2" name="Google Shape;392;p3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5216179"/>
      </p:ext>
    </p:extLst>
  </p:cSld>
  <p:clrMapOvr>
    <a:masterClrMapping/>
  </p:clrMapOvr>
</p:sldLayout>
</file>

<file path=ppt/slideLayouts/slideLayout23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4_Quotation"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3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" name="Google Shape;369;p3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p3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" name="Google Shape;371;p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2" name="Google Shape;372;p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3" name="Google Shape;373;p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4" name="Google Shape;374;p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5" name="Google Shape;375;p3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6" name="Google Shape;376;p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7" name="Google Shape;377;p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8" name="Google Shape;378;p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9" name="Google Shape;379;p3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42047867"/>
      </p:ext>
    </p:extLst>
  </p:cSld>
  <p:clrMapOvr>
    <a:masterClrMapping/>
  </p:clrMapOvr>
</p:sldLayout>
</file>

<file path=ppt/slideLayouts/slideLayout2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4_Quotation"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Google Shape;381;p3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" name="Google Shape;382;p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" name="Google Shape;383;p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" name="Google Shape;384;p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5" name="Google Shape;385;p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6" name="Google Shape;386;p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87" name="Google Shape;387;p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8" name="Google Shape;388;p3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" name="Google Shape;389;p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0" name="Google Shape;390;p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2" name="Google Shape;392;p3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02851257"/>
      </p:ext>
    </p:extLst>
  </p:cSld>
  <p:clrMapOvr>
    <a:masterClrMapping/>
  </p:clrMapOvr>
</p:sldLayout>
</file>

<file path=ppt/slideLayouts/slideLayout2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Google Shape;394;p3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5" name="Google Shape;395;p3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6" name="Google Shape;396;p3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97" name="Google Shape;397;p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98" name="Google Shape;398;p3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99" name="Google Shape;399;p3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400;p3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1" name="Google Shape;401;p3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038324430"/>
      </p:ext>
    </p:extLst>
  </p:cSld>
  <p:clrMapOvr>
    <a:masterClrMapping/>
  </p:clrMapOvr>
</p:sldLayout>
</file>

<file path=ppt/slideLayouts/slideLayout2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" name="Google Shape;403;p3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04" name="Google Shape;404;p3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5" name="Google Shape;405;p3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406;p3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7" name="Google Shape;407;p3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08" name="Google Shape;408;p3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9" name="Google Shape;409;p3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5832085"/>
      </p:ext>
    </p:extLst>
  </p:cSld>
  <p:clrMapOvr>
    <a:masterClrMapping/>
  </p:clrMapOvr>
</p:sldLayout>
</file>

<file path=ppt/slideLayouts/slideLayout2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p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12" name="Google Shape;412;p4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13" name="Google Shape;413;p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14" name="Google Shape;414;p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16" name="Google Shape;416;p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17" name="Google Shape;417;p40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4482197"/>
      </p:ext>
    </p:extLst>
  </p:cSld>
  <p:clrMapOvr>
    <a:masterClrMapping/>
  </p:clrMapOvr>
</p:sldLayout>
</file>

<file path=ppt/slideLayouts/slideLayout23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0" name="Google Shape;420;p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1" name="Google Shape;421;p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2" name="Google Shape;422;p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3" name="Google Shape;423;p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4" name="Google Shape;424;p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25" name="Google Shape;425;p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6" name="Google Shape;426;p4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7" name="Google Shape;427;p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8" name="Google Shape;428;p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9" name="Google Shape;429;p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30" name="Google Shape;430;p4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9538909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6" name="Google Shape;1666;p170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7" name="Google Shape;1667;p170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668" name="Google Shape;1668;p170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669" name="Google Shape;1669;p17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70" name="Google Shape;1670;p1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1" name="Google Shape;1671;p1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3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0" name="Google Shape;420;p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1" name="Google Shape;421;p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2" name="Google Shape;422;p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3" name="Google Shape;423;p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4" name="Google Shape;424;p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25" name="Google Shape;425;p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6" name="Google Shape;426;p4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7" name="Google Shape;427;p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8" name="Google Shape;428;p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9" name="Google Shape;429;p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30" name="Google Shape;430;p4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44560262"/>
      </p:ext>
    </p:extLst>
  </p:cSld>
  <p:clrMapOvr>
    <a:masterClrMapping/>
  </p:clrMapOvr>
</p:sldLayout>
</file>

<file path=ppt/slideLayouts/slideLayout23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2" name="Google Shape;432;p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3" name="Google Shape;433;p4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4" name="Google Shape;434;p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5" name="Google Shape;435;p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7" name="Google Shape;437;p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" name="Google Shape;438;p4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9" name="Google Shape;439;p4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0" name="Google Shape;440;p4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41" name="Google Shape;441;p4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2" name="Google Shape;442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3" name="Google Shape;443;p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4" name="Google Shape;444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44193658"/>
      </p:ext>
    </p:extLst>
  </p:cSld>
  <p:clrMapOvr>
    <a:masterClrMapping/>
  </p:clrMapOvr>
</p:sldLayout>
</file>

<file path=ppt/slideLayouts/slideLayout23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6" name="Google Shape;446;p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7" name="Google Shape;447;p4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8" name="Google Shape;448;p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9" name="Google Shape;449;p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1" name="Google Shape;451;p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2" name="Google Shape;452;p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3" name="Google Shape;453;p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4" name="Google Shape;454;p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47597031"/>
      </p:ext>
    </p:extLst>
  </p:cSld>
  <p:clrMapOvr>
    <a:masterClrMapping/>
  </p:clrMapOvr>
</p:sldLayout>
</file>

<file path=ppt/slideLayouts/slideLayout23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4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4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4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9" name="Google Shape;459;p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60" name="Google Shape;460;p4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61" name="Google Shape;461;p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2" name="Google Shape;462;p4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3" name="Google Shape;463;p4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083525307"/>
      </p:ext>
    </p:extLst>
  </p:cSld>
  <p:clrMapOvr>
    <a:masterClrMapping/>
  </p:clrMapOvr>
</p:sldLayout>
</file>

<file path=ppt/slideLayouts/slideLayout23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5" name="Google Shape;465;p4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66" name="Google Shape;466;p4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" name="Google Shape;467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8" name="Google Shape;468;p4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9" name="Google Shape;469;p4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70" name="Google Shape;470;p4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1" name="Google Shape;471;p4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49829832"/>
      </p:ext>
    </p:extLst>
  </p:cSld>
  <p:clrMapOvr>
    <a:masterClrMapping/>
  </p:clrMapOvr>
</p:sldLayout>
</file>

<file path=ppt/slideLayouts/slideLayout23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Google Shape;473;p4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4" name="Google Shape;474;p4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5" name="Google Shape;475;p4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6" name="Google Shape;476;p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8" name="Google Shape;478;p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9" name="Google Shape;479;p4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46481920"/>
      </p:ext>
    </p:extLst>
  </p:cSld>
  <p:clrMapOvr>
    <a:masterClrMapping/>
  </p:clrMapOvr>
</p:sldLayout>
</file>

<file path=ppt/slideLayouts/slideLayout23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" name="Google Shape;481;p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2" name="Google Shape;482;p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3" name="Google Shape;483;p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" name="Google Shape;484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5" name="Google Shape;485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6" name="Google Shape;486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7" name="Google Shape;487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8" name="Google Shape;488;p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9" name="Google Shape;489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0" name="Google Shape;490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1" name="Google Shape;491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2" name="Google Shape;492;p4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75175829"/>
      </p:ext>
    </p:extLst>
  </p:cSld>
  <p:clrMapOvr>
    <a:masterClrMapping/>
  </p:clrMapOvr>
</p:sldLayout>
</file>

<file path=ppt/slideLayouts/slideLayout23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4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5" name="Google Shape;495;p4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6" name="Google Shape;496;p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7" name="Google Shape;497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8" name="Google Shape;498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9" name="Google Shape;499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00" name="Google Shape;500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1" name="Google Shape;501;p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2" name="Google Shape;502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3" name="Google Shape;503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5" name="Google Shape;505;p4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5027560"/>
      </p:ext>
    </p:extLst>
  </p:cSld>
  <p:clrMapOvr>
    <a:masterClrMapping/>
  </p:clrMapOvr>
</p:sldLayout>
</file>

<file path=ppt/slideLayouts/slideLayout23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09" name="Google Shape;509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0" name="Google Shape;510;p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1" name="Google Shape;511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2" name="Google Shape;512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4" name="Google Shape;514;p4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4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" name="Google Shape;516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" name="Google Shape;517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64427153"/>
      </p:ext>
    </p:extLst>
  </p:cSld>
  <p:clrMapOvr>
    <a:masterClrMapping/>
  </p:clrMapOvr>
</p:sldLayout>
</file>

<file path=ppt/slideLayouts/slideLayout23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9" name="Google Shape;519;p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0" name="Google Shape;520;p5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1" name="Google Shape;521;p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2" name="Google Shape;522;p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3" name="Google Shape;523;p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4" name="Google Shape;524;p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" name="Google Shape;525;p5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6" name="Google Shape;526;p5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7" name="Google Shape;527;p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8" name="Google Shape;528;p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9" name="Google Shape;529;p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0" name="Google Shape;530;p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1" name="Google Shape;531;p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7543126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6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3" name="Google Shape;1673;p171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4" name="Google Shape;1674;p171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75" name="Google Shape;1675;p171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6" name="Google Shape;1676;p171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77" name="Google Shape;1677;p171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8" name="Google Shape;1678;p171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79" name="Google Shape;1679;p171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0" name="Google Shape;1680;p171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81" name="Google Shape;1681;p17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3" name="Google Shape;533;p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4" name="Google Shape;534;p5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5" name="Google Shape;535;p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6" name="Google Shape;536;p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7" name="Google Shape;537;p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8" name="Google Shape;538;p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p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0" name="Google Shape;540;p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1" name="Google Shape;541;p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80173156"/>
      </p:ext>
    </p:extLst>
  </p:cSld>
  <p:clrMapOvr>
    <a:masterClrMapping/>
  </p:clrMapOvr>
</p:sldLayout>
</file>

<file path=ppt/slideLayouts/slideLayout23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3" name="Google Shape;543;p5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44" name="Google Shape;544;p5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5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6" name="Google Shape;546;p5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7" name="Google Shape;547;p5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8" name="Google Shape;548;p5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49" name="Google Shape;549;p5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50" name="Google Shape;550;p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877271297"/>
      </p:ext>
    </p:extLst>
  </p:cSld>
  <p:clrMapOvr>
    <a:masterClrMapping/>
  </p:clrMapOvr>
</p:sldLayout>
</file>

<file path=ppt/slideLayouts/slideLayout23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3" name="Google Shape;553;p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4" name="Google Shape;554;p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5" name="Google Shape;555;p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6" name="Google Shape;556;p5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7" name="Google Shape;557;p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8" name="Google Shape;558;p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15697143"/>
      </p:ext>
    </p:extLst>
  </p:cSld>
  <p:clrMapOvr>
    <a:masterClrMapping/>
  </p:clrMapOvr>
</p:sldLayout>
</file>

<file path=ppt/slideLayouts/slideLayout23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" name="Google Shape;561;p54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2" name="Google Shape;562;p54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63" name="Google Shape;563;p54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64" name="Google Shape;564;p54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5" name="Google Shape;565;p54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66" name="Google Shape;566;p5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3950119"/>
      </p:ext>
    </p:extLst>
  </p:cSld>
  <p:clrMapOvr>
    <a:masterClrMapping/>
  </p:clrMapOvr>
</p:sldLayout>
</file>

<file path=ppt/slideLayouts/slideLayout23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4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4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4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9" name="Google Shape;459;p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60" name="Google Shape;460;p4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61" name="Google Shape;461;p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2" name="Google Shape;462;p4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3" name="Google Shape;463;p4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129347710"/>
      </p:ext>
    </p:extLst>
  </p:cSld>
  <p:clrMapOvr>
    <a:masterClrMapping/>
  </p:clrMapOvr>
</p:sldLayout>
</file>

<file path=ppt/slideLayouts/slideLayout23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5" name="Google Shape;465;p4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66" name="Google Shape;466;p4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" name="Google Shape;467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8" name="Google Shape;468;p4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9" name="Google Shape;469;p4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70" name="Google Shape;470;p4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1" name="Google Shape;471;p4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76766745"/>
      </p:ext>
    </p:extLst>
  </p:cSld>
  <p:clrMapOvr>
    <a:masterClrMapping/>
  </p:clrMapOvr>
</p:sldLayout>
</file>

<file path=ppt/slideLayouts/slideLayout23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Google Shape;473;p4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4" name="Google Shape;474;p4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5" name="Google Shape;475;p4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6" name="Google Shape;476;p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8" name="Google Shape;478;p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9" name="Google Shape;479;p4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26509278"/>
      </p:ext>
    </p:extLst>
  </p:cSld>
  <p:clrMapOvr>
    <a:masterClrMapping/>
  </p:clrMapOvr>
</p:sldLayout>
</file>

<file path=ppt/slideLayouts/slideLayout23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" name="Google Shape;481;p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2" name="Google Shape;482;p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3" name="Google Shape;483;p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" name="Google Shape;484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5" name="Google Shape;485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6" name="Google Shape;486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7" name="Google Shape;487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8" name="Google Shape;488;p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9" name="Google Shape;489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0" name="Google Shape;490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1" name="Google Shape;491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2" name="Google Shape;492;p4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61291479"/>
      </p:ext>
    </p:extLst>
  </p:cSld>
  <p:clrMapOvr>
    <a:masterClrMapping/>
  </p:clrMapOvr>
</p:sldLayout>
</file>

<file path=ppt/slideLayouts/slideLayout23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4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5" name="Google Shape;495;p4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6" name="Google Shape;496;p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7" name="Google Shape;497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8" name="Google Shape;498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9" name="Google Shape;499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00" name="Google Shape;500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1" name="Google Shape;501;p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2" name="Google Shape;502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3" name="Google Shape;503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5" name="Google Shape;505;p4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61255507"/>
      </p:ext>
    </p:extLst>
  </p:cSld>
  <p:clrMapOvr>
    <a:masterClrMapping/>
  </p:clrMapOvr>
</p:sldLayout>
</file>

<file path=ppt/slideLayouts/slideLayout23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09" name="Google Shape;509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0" name="Google Shape;510;p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1" name="Google Shape;511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2" name="Google Shape;512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4" name="Google Shape;514;p4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4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" name="Google Shape;516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" name="Google Shape;517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71068620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3" name="Google Shape;1683;p1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4" name="Google Shape;1684;p1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5" name="Google Shape;1685;p1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6" name="Google Shape;1686;p1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7" name="Google Shape;1687;p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8" name="Google Shape;1688;p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89" name="Google Shape;1689;p1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90" name="Google Shape;1690;p17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1" name="Google Shape;1691;p1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2" name="Google Shape;1692;p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3" name="Google Shape;1693;p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94" name="Google Shape;1694;p17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9" name="Google Shape;519;p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0" name="Google Shape;520;p5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1" name="Google Shape;521;p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2" name="Google Shape;522;p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3" name="Google Shape;523;p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4" name="Google Shape;524;p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" name="Google Shape;525;p5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6" name="Google Shape;526;p5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7" name="Google Shape;527;p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8" name="Google Shape;528;p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9" name="Google Shape;529;p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0" name="Google Shape;530;p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1" name="Google Shape;531;p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92313318"/>
      </p:ext>
    </p:extLst>
  </p:cSld>
  <p:clrMapOvr>
    <a:masterClrMapping/>
  </p:clrMapOvr>
</p:sldLayout>
</file>

<file path=ppt/slideLayouts/slideLayout23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3" name="Google Shape;533;p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4" name="Google Shape;534;p5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5" name="Google Shape;535;p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6" name="Google Shape;536;p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7" name="Google Shape;537;p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8" name="Google Shape;538;p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p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0" name="Google Shape;540;p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1" name="Google Shape;541;p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14699296"/>
      </p:ext>
    </p:extLst>
  </p:cSld>
  <p:clrMapOvr>
    <a:masterClrMapping/>
  </p:clrMapOvr>
</p:sldLayout>
</file>

<file path=ppt/slideLayouts/slideLayout23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3" name="Google Shape;543;p5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44" name="Google Shape;544;p5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5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6" name="Google Shape;546;p5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7" name="Google Shape;547;p5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8" name="Google Shape;548;p5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49" name="Google Shape;549;p5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50" name="Google Shape;550;p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704303263"/>
      </p:ext>
    </p:extLst>
  </p:cSld>
  <p:clrMapOvr>
    <a:masterClrMapping/>
  </p:clrMapOvr>
</p:sldLayout>
</file>

<file path=ppt/slideLayouts/slideLayout23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3" name="Google Shape;553;p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4" name="Google Shape;554;p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5" name="Google Shape;555;p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6" name="Google Shape;556;p5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7" name="Google Shape;557;p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8" name="Google Shape;558;p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7325607"/>
      </p:ext>
    </p:extLst>
  </p:cSld>
  <p:clrMapOvr>
    <a:masterClrMapping/>
  </p:clrMapOvr>
</p:sldLayout>
</file>

<file path=ppt/slideLayouts/slideLayout23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8" name="Google Shape;568;p5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69" name="Google Shape;569;p5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0" name="Google Shape;570;p5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1" name="Google Shape;571;p5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2" name="Google Shape;572;p5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73" name="Google Shape;573;p5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5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41273925"/>
      </p:ext>
    </p:extLst>
  </p:cSld>
  <p:clrMapOvr>
    <a:masterClrMapping/>
  </p:clrMapOvr>
</p:sldLayout>
</file>

<file path=ppt/slideLayouts/slideLayout23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" name="Google Shape;576;p5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77" name="Google Shape;577;p5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78" name="Google Shape;578;p5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79" name="Google Shape;579;p5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5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81" name="Google Shape;581;p5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82" name="Google Shape;582;p5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86370023"/>
      </p:ext>
    </p:extLst>
  </p:cSld>
  <p:clrMapOvr>
    <a:masterClrMapping/>
  </p:clrMapOvr>
</p:sldLayout>
</file>

<file path=ppt/slideLayouts/slideLayout23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4" name="Google Shape;584;p5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5" name="Google Shape;585;p5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6" name="Google Shape;586;p5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87" name="Google Shape;587;p5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88" name="Google Shape;588;p5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89" name="Google Shape;589;p5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0" name="Google Shape;590;p5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1" name="Google Shape;591;p5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887907974"/>
      </p:ext>
    </p:extLst>
  </p:cSld>
  <p:clrMapOvr>
    <a:masterClrMapping/>
  </p:clrMapOvr>
</p:sldLayout>
</file>

<file path=ppt/slideLayouts/slideLayout23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3" name="Google Shape;593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4" name="Google Shape;594;p5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5" name="Google Shape;595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6" name="Google Shape;596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7" name="Google Shape;597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8" name="Google Shape;598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" name="Google Shape;599;p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0" name="Google Shape;600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1" name="Google Shape;601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2" name="Google Shape;602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63080557"/>
      </p:ext>
    </p:extLst>
  </p:cSld>
  <p:clrMapOvr>
    <a:masterClrMapping/>
  </p:clrMapOvr>
</p:sldLayout>
</file>

<file path=ppt/slideLayouts/slideLayout23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" name="Google Shape;604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p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06" name="Google Shape;606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7" name="Google Shape;607;p5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8" name="Google Shape;608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9" name="Google Shape;609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0" name="Google Shape;610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1" name="Google Shape;611;p5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2" name="Google Shape;612;p5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3" name="Google Shape;613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4" name="Google Shape;614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33597056"/>
      </p:ext>
    </p:extLst>
  </p:cSld>
  <p:clrMapOvr>
    <a:masterClrMapping/>
  </p:clrMapOvr>
</p:sldLayout>
</file>

<file path=ppt/slideLayouts/slideLayout23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6" name="Google Shape;616;p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7" name="Google Shape;617;p6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8" name="Google Shape;618;p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9" name="Google Shape;619;p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0" name="Google Shape;620;p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1" name="Google Shape;621;p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2" name="Google Shape;622;p6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23" name="Google Shape;623;p6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4" name="Google Shape;624;p6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25" name="Google Shape;625;p6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6" name="Google Shape;626;p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7" name="Google Shape;627;p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8" name="Google Shape;628;p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5328901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1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6" name="Google Shape;1696;p17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7" name="Google Shape;1697;p17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98" name="Google Shape;1698;p17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9" name="Google Shape;1699;p17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00" name="Google Shape;1700;p17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1" name="Google Shape;1701;p17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2" name="Google Shape;1702;p17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3" name="Google Shape;1703;p17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04" name="Google Shape;1704;p17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3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6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" name="Google Shape;631;p6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6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3" name="Google Shape;633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4" name="Google Shape;634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5" name="Google Shape;635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36" name="Google Shape;636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7" name="Google Shape;637;p6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8" name="Google Shape;638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9" name="Google Shape;639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0" name="Google Shape;640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1" name="Google Shape;641;p6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77249771"/>
      </p:ext>
    </p:extLst>
  </p:cSld>
  <p:clrMapOvr>
    <a:masterClrMapping/>
  </p:clrMapOvr>
</p:sldLayout>
</file>

<file path=ppt/slideLayouts/slideLayout23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6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" name="Google Shape;631;p6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6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3" name="Google Shape;633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4" name="Google Shape;634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5" name="Google Shape;635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36" name="Google Shape;636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7" name="Google Shape;637;p6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8" name="Google Shape;638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9" name="Google Shape;639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0" name="Google Shape;640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1" name="Google Shape;641;p6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33498352"/>
      </p:ext>
    </p:extLst>
  </p:cSld>
  <p:clrMapOvr>
    <a:masterClrMapping/>
  </p:clrMapOvr>
</p:sldLayout>
</file>

<file path=ppt/slideLayouts/slideLayout23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3" name="Google Shape;643;p6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44" name="Google Shape;644;p6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5" name="Google Shape;645;p6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6" name="Google Shape;646;p6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Google Shape;647;p6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8" name="Google Shape;648;p6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49" name="Google Shape;649;p6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50" name="Google Shape;650;p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979437383"/>
      </p:ext>
    </p:extLst>
  </p:cSld>
  <p:clrMapOvr>
    <a:masterClrMapping/>
  </p:clrMapOvr>
</p:sldLayout>
</file>

<file path=ppt/slideLayouts/slideLayout23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2" name="Google Shape;652;p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3" name="Google Shape;653;p6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4" name="Google Shape;654;p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5" name="Google Shape;655;p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6" name="Google Shape;656;p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7" name="Google Shape;657;p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8" name="Google Shape;658;p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9" name="Google Shape;659;p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0" name="Google Shape;660;p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03231279"/>
      </p:ext>
    </p:extLst>
  </p:cSld>
  <p:clrMapOvr>
    <a:masterClrMapping/>
  </p:clrMapOvr>
</p:sldLayout>
</file>

<file path=ppt/slideLayouts/slideLayout23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2" name="Google Shape;662;p6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63" name="Google Shape;663;p6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4" name="Google Shape;664;p6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65" name="Google Shape;665;p6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6" name="Google Shape;666;p6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7" name="Google Shape;667;p6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68" name="Google Shape;668;p64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69" name="Google Shape;669;p6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034506516"/>
      </p:ext>
    </p:extLst>
  </p:cSld>
  <p:clrMapOvr>
    <a:masterClrMapping/>
  </p:clrMapOvr>
</p:sldLayout>
</file>

<file path=ppt/slideLayouts/slideLayout23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2" name="Google Shape;672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3" name="Google Shape;673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74" name="Google Shape;674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5" name="Google Shape;675;p6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" name="Google Shape;676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7" name="Google Shape;677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" name="Google Shape;678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17380723"/>
      </p:ext>
    </p:extLst>
  </p:cSld>
  <p:clrMapOvr>
    <a:masterClrMapping/>
  </p:clrMapOvr>
</p:sldLayout>
</file>

<file path=ppt/slideLayouts/slideLayout23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Google Shape;680;p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1" name="Google Shape;681;p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2" name="Google Shape;682;p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3" name="Google Shape;683;p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4" name="Google Shape;684;p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5" name="Google Shape;685;p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86" name="Google Shape;686;p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7" name="Google Shape;687;p6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8" name="Google Shape;688;p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9" name="Google Shape;689;p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0" name="Google Shape;690;p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1" name="Google Shape;691;p6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91416275"/>
      </p:ext>
    </p:extLst>
  </p:cSld>
  <p:clrMapOvr>
    <a:masterClrMapping/>
  </p:clrMapOvr>
</p:sldLayout>
</file>

<file path=ppt/slideLayouts/slideLayout23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Google Shape;680;p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1" name="Google Shape;681;p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2" name="Google Shape;682;p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3" name="Google Shape;683;p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4" name="Google Shape;684;p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5" name="Google Shape;685;p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86" name="Google Shape;686;p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7" name="Google Shape;687;p6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8" name="Google Shape;688;p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9" name="Google Shape;689;p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0" name="Google Shape;690;p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1" name="Google Shape;691;p6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5926526"/>
      </p:ext>
    </p:extLst>
  </p:cSld>
  <p:clrMapOvr>
    <a:masterClrMapping/>
  </p:clrMapOvr>
</p:sldLayout>
</file>

<file path=ppt/slideLayouts/slideLayout23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3" name="Google Shape;693;p6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4" name="Google Shape;694;p6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5" name="Google Shape;695;p6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96" name="Google Shape;696;p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97" name="Google Shape;697;p6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98" name="Google Shape;698;p6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" name="Google Shape;699;p6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0" name="Google Shape;700;p6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926583188"/>
      </p:ext>
    </p:extLst>
  </p:cSld>
  <p:clrMapOvr>
    <a:masterClrMapping/>
  </p:clrMapOvr>
</p:sldLayout>
</file>

<file path=ppt/slideLayouts/slideLayout23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2" name="Google Shape;702;p6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03" name="Google Shape;703;p6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4" name="Google Shape;704;p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5" name="Google Shape;705;p6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6" name="Google Shape;706;p6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07" name="Google Shape;707;p6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" name="Google Shape;708;p6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6498505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17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7" name="Google Shape;1707;p17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8" name="Google Shape;1708;p17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09" name="Google Shape;1709;p17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10" name="Google Shape;1710;p17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11" name="Google Shape;1711;p1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2" name="Google Shape;1712;p17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3" name="Google Shape;1713;p17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3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p6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11" name="Google Shape;711;p6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12" name="Google Shape;712;p6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13" name="Google Shape;713;p6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4" name="Google Shape;714;p6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5" name="Google Shape;715;p6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16" name="Google Shape;716;p69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3791"/>
      </p:ext>
    </p:extLst>
  </p:cSld>
  <p:clrMapOvr>
    <a:masterClrMapping/>
  </p:clrMapOvr>
</p:sldLayout>
</file>

<file path=ppt/slideLayouts/slideLayout23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8" name="Google Shape;718;p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9" name="Google Shape;719;p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0" name="Google Shape;720;p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1" name="Google Shape;721;p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2" name="Google Shape;722;p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3" name="Google Shape;723;p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24" name="Google Shape;724;p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5" name="Google Shape;725;p7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6" name="Google Shape;726;p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7" name="Google Shape;727;p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" name="Google Shape;728;p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9" name="Google Shape;729;p7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4065821"/>
      </p:ext>
    </p:extLst>
  </p:cSld>
  <p:clrMapOvr>
    <a:masterClrMapping/>
  </p:clrMapOvr>
</p:sldLayout>
</file>

<file path=ppt/slideLayouts/slideLayout23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1" name="Google Shape;731;p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2" name="Google Shape;732;p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3" name="Google Shape;733;p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4" name="Google Shape;734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5" name="Google Shape;735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6" name="Google Shape;736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7" name="Google Shape;737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8" name="Google Shape;738;p7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9" name="Google Shape;739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0" name="Google Shape;740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1" name="Google Shape;741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42" name="Google Shape;742;p7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14597825"/>
      </p:ext>
    </p:extLst>
  </p:cSld>
  <p:clrMapOvr>
    <a:masterClrMapping/>
  </p:clrMapOvr>
</p:sldLayout>
</file>

<file path=ppt/slideLayouts/slideLayout23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8" name="Google Shape;718;p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9" name="Google Shape;719;p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0" name="Google Shape;720;p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1" name="Google Shape;721;p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2" name="Google Shape;722;p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3" name="Google Shape;723;p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24" name="Google Shape;724;p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5" name="Google Shape;725;p7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6" name="Google Shape;726;p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7" name="Google Shape;727;p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" name="Google Shape;728;p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9" name="Google Shape;729;p7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06386727"/>
      </p:ext>
    </p:extLst>
  </p:cSld>
  <p:clrMapOvr>
    <a:masterClrMapping/>
  </p:clrMapOvr>
</p:sldLayout>
</file>

<file path=ppt/slideLayouts/slideLayout23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1" name="Google Shape;731;p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2" name="Google Shape;732;p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3" name="Google Shape;733;p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4" name="Google Shape;734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5" name="Google Shape;735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6" name="Google Shape;736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7" name="Google Shape;737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8" name="Google Shape;738;p7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9" name="Google Shape;739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0" name="Google Shape;740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1" name="Google Shape;741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42" name="Google Shape;742;p7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74554296"/>
      </p:ext>
    </p:extLst>
  </p:cSld>
  <p:clrMapOvr>
    <a:masterClrMapping/>
  </p:clrMapOvr>
</p:sldLayout>
</file>

<file path=ppt/slideLayouts/slideLayout23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4" name="Google Shape;744;p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5" name="Google Shape;745;p7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6" name="Google Shape;746;p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7" name="Google Shape;747;p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8" name="Google Shape;748;p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9" name="Google Shape;749;p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0" name="Google Shape;750;p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1" name="Google Shape;751;p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52" name="Google Shape;752;p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53" name="Google Shape;753;p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85897912"/>
      </p:ext>
    </p:extLst>
  </p:cSld>
  <p:clrMapOvr>
    <a:masterClrMapping/>
  </p:clrMapOvr>
</p:sldLayout>
</file>

<file path=ppt/slideLayouts/slideLayout23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" name="Google Shape;755;p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6" name="Google Shape;756;p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57" name="Google Shape;757;p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58" name="Google Shape;758;p7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59" name="Google Shape;759;p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60" name="Google Shape;760;p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1" name="Google Shape;761;p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2" name="Google Shape;762;p7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3" name="Google Shape;763;p7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4" name="Google Shape;764;p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5" name="Google Shape;765;p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31351772"/>
      </p:ext>
    </p:extLst>
  </p:cSld>
  <p:clrMapOvr>
    <a:masterClrMapping/>
  </p:clrMapOvr>
</p:sldLayout>
</file>

<file path=ppt/slideLayouts/slideLayout23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7" name="Google Shape;767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68" name="Google Shape;768;p7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9" name="Google Shape;769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0" name="Google Shape;770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1" name="Google Shape;771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2" name="Google Shape;772;p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3" name="Google Shape;773;p7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74" name="Google Shape;774;p7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5" name="Google Shape;775;p7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76" name="Google Shape;776;p7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7" name="Google Shape;777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8" name="Google Shape;778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9" name="Google Shape;779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10008793"/>
      </p:ext>
    </p:extLst>
  </p:cSld>
  <p:clrMapOvr>
    <a:masterClrMapping/>
  </p:clrMapOvr>
</p:sldLayout>
</file>

<file path=ppt/slideLayouts/slideLayout23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1" name="Google Shape;781;p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2" name="Google Shape;782;p7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3" name="Google Shape;783;p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4" name="Google Shape;784;p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5" name="Google Shape;785;p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6" name="Google Shape;786;p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7" name="Google Shape;787;p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8" name="Google Shape;788;p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89" name="Google Shape;789;p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2912197"/>
      </p:ext>
    </p:extLst>
  </p:cSld>
  <p:clrMapOvr>
    <a:masterClrMapping/>
  </p:clrMapOvr>
</p:sldLayout>
</file>

<file path=ppt/slideLayouts/slideLayout23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1" name="Google Shape;791;p7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92" name="Google Shape;792;p7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3" name="Google Shape;793;p7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94" name="Google Shape;794;p7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5" name="Google Shape;795;p7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6" name="Google Shape;796;p7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97" name="Google Shape;797;p7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98" name="Google Shape;798;p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4125071703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7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5" name="Google Shape;1715;p1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16" name="Google Shape;1716;p1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7" name="Google Shape;1717;p1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8" name="Google Shape;1718;p1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9" name="Google Shape;1719;p17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20" name="Google Shape;1720;p1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1" name="Google Shape;1721;p1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3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" name="Google Shape;800;p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1" name="Google Shape;801;p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2" name="Google Shape;802;p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03" name="Google Shape;803;p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4" name="Google Shape;804;p7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5" name="Google Shape;805;p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6" name="Google Shape;806;p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7" name="Google Shape;807;p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52324275"/>
      </p:ext>
    </p:extLst>
  </p:cSld>
  <p:clrMapOvr>
    <a:masterClrMapping/>
  </p:clrMapOvr>
</p:sldLayout>
</file>

<file path=ppt/slideLayouts/slideLayout23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" name="Google Shape;809;p7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0" name="Google Shape;810;p7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1" name="Google Shape;811;p7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12" name="Google Shape;812;p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13" name="Google Shape;813;p7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14" name="Google Shape;814;p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5" name="Google Shape;815;p7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6" name="Google Shape;816;p7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972873467"/>
      </p:ext>
    </p:extLst>
  </p:cSld>
  <p:clrMapOvr>
    <a:masterClrMapping/>
  </p:clrMapOvr>
</p:sldLayout>
</file>

<file path=ppt/slideLayouts/slideLayout23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8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8" name="Google Shape;818;p7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19" name="Google Shape;819;p7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0" name="Google Shape;820;p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1" name="Google Shape;821;p7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2" name="Google Shape;822;p7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23" name="Google Shape;823;p7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7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19692674"/>
      </p:ext>
    </p:extLst>
  </p:cSld>
  <p:clrMapOvr>
    <a:masterClrMapping/>
  </p:clrMapOvr>
</p:sldLayout>
</file>

<file path=ppt/slideLayouts/slideLayout23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" name="Google Shape;826;p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" name="Google Shape;828;p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9" name="Google Shape;829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0" name="Google Shape;830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1" name="Google Shape;831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32" name="Google Shape;832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" name="Google Shape;833;p8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4" name="Google Shape;834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" name="Google Shape;835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" name="Google Shape;836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37" name="Google Shape;837;p8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24721724"/>
      </p:ext>
    </p:extLst>
  </p:cSld>
  <p:clrMapOvr>
    <a:masterClrMapping/>
  </p:clrMapOvr>
</p:sldLayout>
</file>

<file path=ppt/slideLayouts/slideLayout23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" name="Google Shape;826;p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" name="Google Shape;828;p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9" name="Google Shape;829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0" name="Google Shape;830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1" name="Google Shape;831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32" name="Google Shape;832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" name="Google Shape;833;p8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4" name="Google Shape;834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" name="Google Shape;835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" name="Google Shape;836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37" name="Google Shape;837;p8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01876500"/>
      </p:ext>
    </p:extLst>
  </p:cSld>
  <p:clrMapOvr>
    <a:masterClrMapping/>
  </p:clrMapOvr>
</p:sldLayout>
</file>

<file path=ppt/slideLayouts/slideLayout23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9" name="Google Shape;839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40" name="Google Shape;840;p8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1" name="Google Shape;841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42" name="Google Shape;842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3" name="Google Shape;843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4" name="Google Shape;844;p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5" name="Google Shape;845;p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6" name="Google Shape;846;p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7" name="Google Shape;847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8" name="Google Shape;848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72521780"/>
      </p:ext>
    </p:extLst>
  </p:cSld>
  <p:clrMapOvr>
    <a:masterClrMapping/>
  </p:clrMapOvr>
</p:sldLayout>
</file>

<file path=ppt/slideLayouts/slideLayout23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8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0" name="Google Shape;850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" name="Google Shape;851;p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52" name="Google Shape;852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3" name="Google Shape;853;p8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4" name="Google Shape;854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5" name="Google Shape;855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6" name="Google Shape;856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57" name="Google Shape;857;p8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8" name="Google Shape;858;p8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9" name="Google Shape;859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0" name="Google Shape;860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75402700"/>
      </p:ext>
    </p:extLst>
  </p:cSld>
  <p:clrMapOvr>
    <a:masterClrMapping/>
  </p:clrMapOvr>
</p:sldLayout>
</file>

<file path=ppt/slideLayouts/slideLayout23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8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2" name="Google Shape;862;p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3" name="Google Shape;863;p8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4" name="Google Shape;864;p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5" name="Google Shape;865;p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6" name="Google Shape;866;p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7" name="Google Shape;867;p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8" name="Google Shape;868;p8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69" name="Google Shape;869;p8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0" name="Google Shape;870;p8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71" name="Google Shape;871;p8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2" name="Google Shape;872;p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3" name="Google Shape;873;p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4" name="Google Shape;874;p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60519787"/>
      </p:ext>
    </p:extLst>
  </p:cSld>
  <p:clrMapOvr>
    <a:masterClrMapping/>
  </p:clrMapOvr>
</p:sldLayout>
</file>

<file path=ppt/slideLayouts/slideLayout23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6" name="Google Shape;876;p8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7" name="Google Shape;877;p8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78" name="Google Shape;878;p8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79" name="Google Shape;879;p8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0" name="Google Shape;880;p8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1" name="Google Shape;881;p8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82" name="Google Shape;882;p84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95182334"/>
      </p:ext>
    </p:extLst>
  </p:cSld>
  <p:clrMapOvr>
    <a:masterClrMapping/>
  </p:clrMapOvr>
</p:sldLayout>
</file>

<file path=ppt/slideLayouts/slideLayout23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4" name="Google Shape;884;p8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85" name="Google Shape;885;p8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6" name="Google Shape;886;p8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7" name="Google Shape;887;p8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8" name="Google Shape;888;p8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9" name="Google Shape;889;p8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90" name="Google Shape;890;p8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0820904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" name="Google Shape;219;p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0" name="Google Shape;220;p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1" name="Google Shape;221;p2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p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" name="Google Shape;223;p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5" name="Google Shape;225;p2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" name="Google Shape;226;p2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7" name="Google Shape;227;p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8" name="Google Shape;228;p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3" name="Google Shape;1723;p17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24" name="Google Shape;1724;p17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25" name="Google Shape;1725;p17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26" name="Google Shape;1726;p1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7" name="Google Shape;1727;p1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28" name="Google Shape;1728;p1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29" name="Google Shape;1729;p17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3" name="Google Shape;893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4" name="Google Shape;894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5" name="Google Shape;895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96" name="Google Shape;896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7" name="Google Shape;897;p8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8" name="Google Shape;898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9" name="Google Shape;899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0" name="Google Shape;900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49961831"/>
      </p:ext>
    </p:extLst>
  </p:cSld>
  <p:clrMapOvr>
    <a:masterClrMapping/>
  </p:clrMapOvr>
</p:sldLayout>
</file>

<file path=ppt/slideLayouts/slideLayout24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2" name="Google Shape;902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3" name="Google Shape;903;p8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4" name="Google Shape;904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5" name="Google Shape;905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6" name="Google Shape;906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7" name="Google Shape;907;p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8" name="Google Shape;908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9" name="Google Shape;909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0" name="Google Shape;910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32912502"/>
      </p:ext>
    </p:extLst>
  </p:cSld>
  <p:clrMapOvr>
    <a:masterClrMapping/>
  </p:clrMapOvr>
</p:sldLayout>
</file>

<file path=ppt/slideLayouts/slideLayout24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1_Cover B">
    <p:spTree>
      <p:nvGrpSpPr>
        <p:cNvPr id="1" name="Shape 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2" name="Google Shape;912;p88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3" name="Google Shape;913;p88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914" name="Google Shape;914;p88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915" name="Google Shape;915;p88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6" name="Google Shape;916;p88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917" name="Google Shape;917;p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95649423"/>
      </p:ext>
    </p:extLst>
  </p:cSld>
  <p:clrMapOvr>
    <a:masterClrMapping/>
  </p:clrMapOvr>
</p:sldLayout>
</file>

<file path=ppt/slideLayouts/slideLayout24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0" name="Google Shape;920;p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1" name="Google Shape;921;p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2" name="Google Shape;922;p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3" name="Google Shape;923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4" name="Google Shape;924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5" name="Google Shape;925;p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6" name="Google Shape;926;p8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" name="Google Shape;927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8" name="Google Shape;928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" name="Google Shape;929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0" name="Google Shape;930;p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90762949"/>
      </p:ext>
    </p:extLst>
  </p:cSld>
  <p:clrMapOvr>
    <a:masterClrMapping/>
  </p:clrMapOvr>
</p:sldLayout>
</file>

<file path=ppt/slideLayouts/slideLayout24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4_Quotation">
    <p:spTree>
      <p:nvGrpSpPr>
        <p:cNvPr id="1" name="Shape 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2" name="Google Shape;932;p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3" name="Google Shape;933;p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4" name="Google Shape;934;p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" name="Google Shape;935;p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6" name="Google Shape;936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7" name="Google Shape;937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8" name="Google Shape;938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9" name="Google Shape;939;p9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0" name="Google Shape;940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1" name="Google Shape;941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2" name="Google Shape;942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3" name="Google Shape;943;p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57161579"/>
      </p:ext>
    </p:extLst>
  </p:cSld>
  <p:clrMapOvr>
    <a:masterClrMapping/>
  </p:clrMapOvr>
</p:sldLayout>
</file>

<file path=ppt/slideLayouts/slideLayout24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" name="Google Shape;945;p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6" name="Google Shape;946;p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" name="Google Shape;947;p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" name="Google Shape;948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9" name="Google Shape;949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0" name="Google Shape;950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1" name="Google Shape;951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2" name="Google Shape;952;p9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3" name="Google Shape;953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4" name="Google Shape;954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5" name="Google Shape;955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6" name="Google Shape;956;p9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00650357"/>
      </p:ext>
    </p:extLst>
  </p:cSld>
  <p:clrMapOvr>
    <a:masterClrMapping/>
  </p:clrMapOvr>
</p:sldLayout>
</file>

<file path=ppt/slideLayouts/slideLayout24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0" name="Google Shape;920;p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1" name="Google Shape;921;p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2" name="Google Shape;922;p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3" name="Google Shape;923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4" name="Google Shape;924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5" name="Google Shape;925;p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6" name="Google Shape;926;p8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" name="Google Shape;927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8" name="Google Shape;928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" name="Google Shape;929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0" name="Google Shape;930;p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59216284"/>
      </p:ext>
    </p:extLst>
  </p:cSld>
  <p:clrMapOvr>
    <a:masterClrMapping/>
  </p:clrMapOvr>
</p:sldLayout>
</file>

<file path=ppt/slideLayouts/slideLayout24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4_Quotation">
    <p:spTree>
      <p:nvGrpSpPr>
        <p:cNvPr id="1" name="Shape 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2" name="Google Shape;932;p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3" name="Google Shape;933;p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4" name="Google Shape;934;p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" name="Google Shape;935;p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6" name="Google Shape;936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7" name="Google Shape;937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8" name="Google Shape;938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9" name="Google Shape;939;p9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0" name="Google Shape;940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1" name="Google Shape;941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2" name="Google Shape;942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3" name="Google Shape;943;p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71995021"/>
      </p:ext>
    </p:extLst>
  </p:cSld>
  <p:clrMapOvr>
    <a:masterClrMapping/>
  </p:clrMapOvr>
</p:sldLayout>
</file>

<file path=ppt/slideLayouts/slideLayout24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" name="Google Shape;945;p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6" name="Google Shape;946;p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" name="Google Shape;947;p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" name="Google Shape;948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9" name="Google Shape;949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0" name="Google Shape;950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1" name="Google Shape;951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2" name="Google Shape;952;p9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3" name="Google Shape;953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4" name="Google Shape;954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5" name="Google Shape;955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6" name="Google Shape;956;p9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4222433"/>
      </p:ext>
    </p:extLst>
  </p:cSld>
  <p:clrMapOvr>
    <a:masterClrMapping/>
  </p:clrMapOvr>
</p:sldLayout>
</file>

<file path=ppt/slideLayouts/slideLayout24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" name="Google Shape;958;p9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9" name="Google Shape;959;p92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60" name="Google Shape;960;p9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61" name="Google Shape;961;p92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62" name="Google Shape;962;p92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63" name="Google Shape;963;p92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4" name="Google Shape;964;p92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5" name="Google Shape;965;p92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6" name="Google Shape;966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7" name="Google Shape;967;p9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68" name="Google Shape;968;p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831382541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3" name="Google Shape;1683;p1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4" name="Google Shape;1684;p1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5" name="Google Shape;1685;p1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6" name="Google Shape;1686;p1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7" name="Google Shape;1687;p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8" name="Google Shape;1688;p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89" name="Google Shape;1689;p1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90" name="Google Shape;1690;p17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1" name="Google Shape;1691;p1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2" name="Google Shape;1692;p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3" name="Google Shape;1693;p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94" name="Google Shape;1694;p17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4_Quotation">
    <p:spTree>
      <p:nvGrpSpPr>
        <p:cNvPr id="1" name="Shape 9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" name="Google Shape;970;p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1" name="Google Shape;971;p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2" name="Google Shape;972;p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" name="Google Shape;973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" name="Google Shape;974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" name="Google Shape;975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" name="Google Shape;976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7" name="Google Shape;977;p9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8" name="Google Shape;978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9" name="Google Shape;979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0" name="Google Shape;980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1" name="Google Shape;981;p9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59549556"/>
      </p:ext>
    </p:extLst>
  </p:cSld>
  <p:clrMapOvr>
    <a:masterClrMapping/>
  </p:clrMapOvr>
</p:sldLayout>
</file>

<file path=ppt/slideLayouts/slideLayout24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4_Quotation">
    <p:spTree>
      <p:nvGrpSpPr>
        <p:cNvPr id="1" name="Shape 9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" name="Google Shape;970;p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1" name="Google Shape;971;p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2" name="Google Shape;972;p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" name="Google Shape;973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" name="Google Shape;974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" name="Google Shape;975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" name="Google Shape;976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7" name="Google Shape;977;p9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8" name="Google Shape;978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9" name="Google Shape;979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0" name="Google Shape;980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1" name="Google Shape;981;p9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94385604"/>
      </p:ext>
    </p:extLst>
  </p:cSld>
  <p:clrMapOvr>
    <a:masterClrMapping/>
  </p:clrMapOvr>
</p:sldLayout>
</file>

<file path=ppt/slideLayouts/slideLayout24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Google Shape;983;p9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" name="Google Shape;984;p9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" name="Google Shape;985;p9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86" name="Google Shape;986;p9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87" name="Google Shape;987;p9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88" name="Google Shape;988;p9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9" name="Google Shape;989;p9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90" name="Google Shape;990;p9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795552961"/>
      </p:ext>
    </p:extLst>
  </p:cSld>
  <p:clrMapOvr>
    <a:masterClrMapping/>
  </p:clrMapOvr>
</p:sldLayout>
</file>

<file path=ppt/slideLayouts/slideLayout24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2" name="Google Shape;992;p9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93" name="Google Shape;993;p9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4" name="Google Shape;994;p9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5" name="Google Shape;995;p9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96" name="Google Shape;996;p9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97" name="Google Shape;997;p9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" name="Google Shape;998;p9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82131855"/>
      </p:ext>
    </p:extLst>
  </p:cSld>
  <p:clrMapOvr>
    <a:masterClrMapping/>
  </p:clrMapOvr>
</p:sldLayout>
</file>

<file path=ppt/slideLayouts/slideLayout24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" name="Google Shape;1000;p9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01" name="Google Shape;1001;p9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02" name="Google Shape;1002;p9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03" name="Google Shape;1003;p9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4" name="Google Shape;1004;p9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05" name="Google Shape;1005;p9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06" name="Google Shape;1006;p9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19617885"/>
      </p:ext>
    </p:extLst>
  </p:cSld>
  <p:clrMapOvr>
    <a:masterClrMapping/>
  </p:clrMapOvr>
</p:sldLayout>
</file>

<file path=ppt/slideLayouts/slideLayout24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9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9" name="Google Shape;1009;p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0" name="Google Shape;1010;p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1" name="Google Shape;1011;p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2" name="Google Shape;1012;p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3" name="Google Shape;1013;p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4" name="Google Shape;1014;p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5" name="Google Shape;1015;p9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6" name="Google Shape;1016;p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7" name="Google Shape;1017;p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8" name="Google Shape;1018;p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19" name="Google Shape;1019;p9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8714069"/>
      </p:ext>
    </p:extLst>
  </p:cSld>
  <p:clrMapOvr>
    <a:masterClrMapping/>
  </p:clrMapOvr>
</p:sldLayout>
</file>

<file path=ppt/slideLayouts/slideLayout24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9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9" name="Google Shape;1009;p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0" name="Google Shape;1010;p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1" name="Google Shape;1011;p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2" name="Google Shape;1012;p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3" name="Google Shape;1013;p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4" name="Google Shape;1014;p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5" name="Google Shape;1015;p9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6" name="Google Shape;1016;p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7" name="Google Shape;1017;p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8" name="Google Shape;1018;p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19" name="Google Shape;1019;p9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01599969"/>
      </p:ext>
    </p:extLst>
  </p:cSld>
  <p:clrMapOvr>
    <a:masterClrMapping/>
  </p:clrMapOvr>
</p:sldLayout>
</file>

<file path=ppt/slideLayouts/slideLayout24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0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1" name="Google Shape;1021;p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2" name="Google Shape;1022;p9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3" name="Google Shape;1023;p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4" name="Google Shape;1024;p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5" name="Google Shape;1025;p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6" name="Google Shape;1026;p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7" name="Google Shape;1027;p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" name="Google Shape;1028;p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9" name="Google Shape;1029;p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" name="Google Shape;1030;p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21043051"/>
      </p:ext>
    </p:extLst>
  </p:cSld>
  <p:clrMapOvr>
    <a:masterClrMapping/>
  </p:clrMapOvr>
</p:sldLayout>
</file>

<file path=ppt/slideLayouts/slideLayout24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Google Shape;1032;p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3" name="Google Shape;1033;p9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34" name="Google Shape;1034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5" name="Google Shape;1035;p9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6" name="Google Shape;1036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7" name="Google Shape;1037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8" name="Google Shape;1038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9" name="Google Shape;1039;p9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" name="Google Shape;1040;p9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1" name="Google Shape;1041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2" name="Google Shape;1042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01010830"/>
      </p:ext>
    </p:extLst>
  </p:cSld>
  <p:clrMapOvr>
    <a:masterClrMapping/>
  </p:clrMapOvr>
</p:sldLayout>
</file>

<file path=ppt/slideLayouts/slideLayout24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4" name="Google Shape;1044;p1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5" name="Google Shape;1045;p10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6" name="Google Shape;1046;p1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7" name="Google Shape;1047;p1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8" name="Google Shape;1048;p1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9" name="Google Shape;1049;p1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0" name="Google Shape;1050;p10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1" name="Google Shape;1051;p10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2" name="Google Shape;1052;p10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3" name="Google Shape;1053;p10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4" name="Google Shape;1054;p1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5" name="Google Shape;1055;p1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6" name="Google Shape;1056;p1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40392385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1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6" name="Google Shape;1696;p17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7" name="Google Shape;1697;p17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98" name="Google Shape;1698;p17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9" name="Google Shape;1699;p17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00" name="Google Shape;1700;p17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1" name="Google Shape;1701;p17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2" name="Google Shape;1702;p17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3" name="Google Shape;1703;p17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04" name="Google Shape;1704;p17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8" name="Google Shape;1058;p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9" name="Google Shape;1059;p10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0" name="Google Shape;1060;p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1" name="Google Shape;1061;p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2" name="Google Shape;1062;p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3" name="Google Shape;1063;p1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4" name="Google Shape;1064;p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5" name="Google Shape;1065;p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6" name="Google Shape;1066;p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76286762"/>
      </p:ext>
    </p:extLst>
  </p:cSld>
  <p:clrMapOvr>
    <a:masterClrMapping/>
  </p:clrMapOvr>
</p:sldLayout>
</file>

<file path=ppt/slideLayouts/slideLayout24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10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69" name="Google Shape;1069;p10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0" name="Google Shape;1070;p10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71" name="Google Shape;1071;p10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2" name="Google Shape;1072;p10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" name="Google Shape;1073;p10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74" name="Google Shape;1074;p10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75" name="Google Shape;1075;p10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784337835"/>
      </p:ext>
    </p:extLst>
  </p:cSld>
  <p:clrMapOvr>
    <a:masterClrMapping/>
  </p:clrMapOvr>
</p:sldLayout>
</file>

<file path=ppt/slideLayouts/slideLayout24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7" name="Google Shape;1077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8" name="Google Shape;1078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9" name="Google Shape;1079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0" name="Google Shape;1080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1" name="Google Shape;1081;p10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" name="Google Shape;1082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" name="Google Shape;1083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4" name="Google Shape;1084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65886725"/>
      </p:ext>
    </p:extLst>
  </p:cSld>
  <p:clrMapOvr>
    <a:masterClrMapping/>
  </p:clrMapOvr>
</p:sldLayout>
</file>

<file path=ppt/slideLayouts/slideLayout24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" name="Google Shape;1086;p10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7" name="Google Shape;1087;p10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" name="Google Shape;1088;p10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89" name="Google Shape;1089;p1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0" name="Google Shape;1090;p10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1" name="Google Shape;1091;p1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2" name="Google Shape;1092;p10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3" name="Google Shape;1093;p10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576351712"/>
      </p:ext>
    </p:extLst>
  </p:cSld>
  <p:clrMapOvr>
    <a:masterClrMapping/>
  </p:clrMapOvr>
</p:sldLayout>
</file>

<file path=ppt/slideLayouts/slideLayout24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5" name="Google Shape;1095;p10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96" name="Google Shape;1096;p10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7" name="Google Shape;1097;p10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8" name="Google Shape;1098;p10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9" name="Google Shape;1099;p10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0" name="Google Shape;1100;p10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1" name="Google Shape;1101;p10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18675884"/>
      </p:ext>
    </p:extLst>
  </p:cSld>
  <p:clrMapOvr>
    <a:masterClrMapping/>
  </p:clrMapOvr>
</p:sldLayout>
</file>

<file path=ppt/slideLayouts/slideLayout24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" name="Google Shape;1103;p10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4" name="Google Shape;1104;p10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5" name="Google Shape;1105;p10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6" name="Google Shape;1106;p10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0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8" name="Google Shape;1108;p10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09" name="Google Shape;1109;p10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80151743"/>
      </p:ext>
    </p:extLst>
  </p:cSld>
  <p:clrMapOvr>
    <a:masterClrMapping/>
  </p:clrMapOvr>
</p:sldLayout>
</file>

<file path=ppt/slideLayouts/slideLayout24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1" name="Google Shape;1111;p1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2" name="Google Shape;1112;p1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3" name="Google Shape;1113;p1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4" name="Google Shape;1114;p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5" name="Google Shape;1115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6" name="Google Shape;1116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7" name="Google Shape;1117;p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8" name="Google Shape;1118;p10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9" name="Google Shape;1119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0" name="Google Shape;1120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1" name="Google Shape;1121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22" name="Google Shape;1122;p10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57837799"/>
      </p:ext>
    </p:extLst>
  </p:cSld>
  <p:clrMapOvr>
    <a:masterClrMapping/>
  </p:clrMapOvr>
</p:sldLayout>
</file>

<file path=ppt/slideLayouts/slideLayout24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4" name="Google Shape;1124;p1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5" name="Google Shape;1125;p10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6" name="Google Shape;1126;p1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7" name="Google Shape;1127;p1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8" name="Google Shape;1128;p1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9" name="Google Shape;1129;p1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" name="Google Shape;1130;p1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1" name="Google Shape;1131;p1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2" name="Google Shape;1132;p1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3" name="Google Shape;1133;p1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00537872"/>
      </p:ext>
    </p:extLst>
  </p:cSld>
  <p:clrMapOvr>
    <a:masterClrMapping/>
  </p:clrMapOvr>
</p:sldLayout>
</file>

<file path=ppt/slideLayouts/slideLayout24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" name="Google Shape;1135;p1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1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37" name="Google Shape;1137;p1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8" name="Google Shape;1138;p10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9" name="Google Shape;1139;p1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0" name="Google Shape;1140;p1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1" name="Google Shape;1141;p1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2" name="Google Shape;1142;p1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3" name="Google Shape;1143;p1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4" name="Google Shape;1144;p1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5" name="Google Shape;1145;p1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16801898"/>
      </p:ext>
    </p:extLst>
  </p:cSld>
  <p:clrMapOvr>
    <a:masterClrMapping/>
  </p:clrMapOvr>
</p:sldLayout>
</file>

<file path=ppt/slideLayouts/slideLayout24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" name="Google Shape;1147;p1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" name="Google Shape;1148;p11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" name="Google Shape;1149;p1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" name="Google Shape;1150;p1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" name="Google Shape;1151;p1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" name="Google Shape;1152;p1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" name="Google Shape;1153;p1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4" name="Google Shape;1154;p1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5" name="Google Shape;1155;p1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6" name="Google Shape;1156;p1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" name="Google Shape;1157;p1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" name="Google Shape;1158;p1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9" name="Google Shape;1159;p1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00609317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17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7" name="Google Shape;1707;p17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8" name="Google Shape;1708;p17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09" name="Google Shape;1709;p17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10" name="Google Shape;1710;p17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11" name="Google Shape;1711;p1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2" name="Google Shape;1712;p17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3" name="Google Shape;1713;p17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4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1" name="Google Shape;1161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2" name="Google Shape;1162;p11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3" name="Google Shape;1163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4" name="Google Shape;1164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5" name="Google Shape;1165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6" name="Google Shape;1166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" name="Google Shape;1167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8" name="Google Shape;1168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9" name="Google Shape;1169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28668052"/>
      </p:ext>
    </p:extLst>
  </p:cSld>
  <p:clrMapOvr>
    <a:masterClrMapping/>
  </p:clrMapOvr>
</p:sldLayout>
</file>

<file path=ppt/slideLayouts/slideLayout24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1" name="Google Shape;1171;p1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72" name="Google Shape;1172;p1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3" name="Google Shape;1173;p1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4" name="Google Shape;1174;p1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5" name="Google Shape;1175;p1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6" name="Google Shape;1176;p1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7" name="Google Shape;1177;p1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78" name="Google Shape;1178;p1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85146119"/>
      </p:ext>
    </p:extLst>
  </p:cSld>
  <p:clrMapOvr>
    <a:masterClrMapping/>
  </p:clrMapOvr>
</p:sldLayout>
</file>

<file path=ppt/slideLayouts/slideLayout24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" name="Google Shape;1180;p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" name="Google Shape;1181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" name="Google Shape;1182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3" name="Google Shape;1183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4" name="Google Shape;1184;p1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5" name="Google Shape;1185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6" name="Google Shape;1186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7" name="Google Shape;1187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87239547"/>
      </p:ext>
    </p:extLst>
  </p:cSld>
  <p:clrMapOvr>
    <a:masterClrMapping/>
  </p:clrMapOvr>
</p:sldLayout>
</file>

<file path=ppt/slideLayouts/slideLayout24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4_Quotation">
    <p:spTree>
      <p:nvGrpSpPr>
        <p:cNvPr id="1" name="Shape 1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" name="Google Shape;1189;p1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0" name="Google Shape;1190;p1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1" name="Google Shape;1191;p1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2" name="Google Shape;1192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3" name="Google Shape;1193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4" name="Google Shape;1194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5" name="Google Shape;1195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6" name="Google Shape;1196;p11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7" name="Google Shape;1197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98" name="Google Shape;1198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9" name="Google Shape;1199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00" name="Google Shape;1200;p11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4424316"/>
      </p:ext>
    </p:extLst>
  </p:cSld>
  <p:clrMapOvr>
    <a:masterClrMapping/>
  </p:clrMapOvr>
</p:sldLayout>
</file>

<file path=ppt/slideLayouts/slideLayout24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" name="Google Shape;1086;p10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7" name="Google Shape;1087;p10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" name="Google Shape;1088;p10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89" name="Google Shape;1089;p1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0" name="Google Shape;1090;p10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1" name="Google Shape;1091;p1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2" name="Google Shape;1092;p10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3" name="Google Shape;1093;p10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195380674"/>
      </p:ext>
    </p:extLst>
  </p:cSld>
  <p:clrMapOvr>
    <a:masterClrMapping/>
  </p:clrMapOvr>
</p:sldLayout>
</file>

<file path=ppt/slideLayouts/slideLayout24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5" name="Google Shape;1095;p10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96" name="Google Shape;1096;p10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7" name="Google Shape;1097;p10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8" name="Google Shape;1098;p10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9" name="Google Shape;1099;p10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0" name="Google Shape;1100;p10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1" name="Google Shape;1101;p10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24758575"/>
      </p:ext>
    </p:extLst>
  </p:cSld>
  <p:clrMapOvr>
    <a:masterClrMapping/>
  </p:clrMapOvr>
</p:sldLayout>
</file>

<file path=ppt/slideLayouts/slideLayout24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" name="Google Shape;1103;p10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4" name="Google Shape;1104;p10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5" name="Google Shape;1105;p10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6" name="Google Shape;1106;p10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0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8" name="Google Shape;1108;p10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09" name="Google Shape;1109;p10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14134792"/>
      </p:ext>
    </p:extLst>
  </p:cSld>
  <p:clrMapOvr>
    <a:masterClrMapping/>
  </p:clrMapOvr>
</p:sldLayout>
</file>

<file path=ppt/slideLayouts/slideLayout24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1" name="Google Shape;1111;p1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2" name="Google Shape;1112;p1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3" name="Google Shape;1113;p1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4" name="Google Shape;1114;p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5" name="Google Shape;1115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6" name="Google Shape;1116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7" name="Google Shape;1117;p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8" name="Google Shape;1118;p10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9" name="Google Shape;1119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0" name="Google Shape;1120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1" name="Google Shape;1121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22" name="Google Shape;1122;p10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81472018"/>
      </p:ext>
    </p:extLst>
  </p:cSld>
  <p:clrMapOvr>
    <a:masterClrMapping/>
  </p:clrMapOvr>
</p:sldLayout>
</file>

<file path=ppt/slideLayouts/slideLayout24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4" name="Google Shape;1124;p1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5" name="Google Shape;1125;p10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6" name="Google Shape;1126;p1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7" name="Google Shape;1127;p1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8" name="Google Shape;1128;p1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9" name="Google Shape;1129;p1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" name="Google Shape;1130;p1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1" name="Google Shape;1131;p1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2" name="Google Shape;1132;p1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3" name="Google Shape;1133;p1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73874774"/>
      </p:ext>
    </p:extLst>
  </p:cSld>
  <p:clrMapOvr>
    <a:masterClrMapping/>
  </p:clrMapOvr>
</p:sldLayout>
</file>

<file path=ppt/slideLayouts/slideLayout24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" name="Google Shape;1135;p1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1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37" name="Google Shape;1137;p1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8" name="Google Shape;1138;p10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9" name="Google Shape;1139;p1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0" name="Google Shape;1140;p1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1" name="Google Shape;1141;p1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2" name="Google Shape;1142;p1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3" name="Google Shape;1143;p1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4" name="Google Shape;1144;p1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5" name="Google Shape;1145;p1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1694776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7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5" name="Google Shape;1715;p1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16" name="Google Shape;1716;p1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7" name="Google Shape;1717;p1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8" name="Google Shape;1718;p1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9" name="Google Shape;1719;p17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20" name="Google Shape;1720;p1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1" name="Google Shape;1721;p1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" name="Google Shape;1147;p1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" name="Google Shape;1148;p11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" name="Google Shape;1149;p1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" name="Google Shape;1150;p1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" name="Google Shape;1151;p1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" name="Google Shape;1152;p1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" name="Google Shape;1153;p1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4" name="Google Shape;1154;p1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5" name="Google Shape;1155;p1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6" name="Google Shape;1156;p1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" name="Google Shape;1157;p1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" name="Google Shape;1158;p1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9" name="Google Shape;1159;p1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02406281"/>
      </p:ext>
    </p:extLst>
  </p:cSld>
  <p:clrMapOvr>
    <a:masterClrMapping/>
  </p:clrMapOvr>
</p:sldLayout>
</file>

<file path=ppt/slideLayouts/slideLayout24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1" name="Google Shape;1161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2" name="Google Shape;1162;p11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3" name="Google Shape;1163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4" name="Google Shape;1164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5" name="Google Shape;1165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6" name="Google Shape;1166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" name="Google Shape;1167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8" name="Google Shape;1168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9" name="Google Shape;1169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16177968"/>
      </p:ext>
    </p:extLst>
  </p:cSld>
  <p:clrMapOvr>
    <a:masterClrMapping/>
  </p:clrMapOvr>
</p:sldLayout>
</file>

<file path=ppt/slideLayouts/slideLayout24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1" name="Google Shape;1171;p1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72" name="Google Shape;1172;p1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3" name="Google Shape;1173;p1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4" name="Google Shape;1174;p1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5" name="Google Shape;1175;p1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6" name="Google Shape;1176;p1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7" name="Google Shape;1177;p1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78" name="Google Shape;1178;p1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067996847"/>
      </p:ext>
    </p:extLst>
  </p:cSld>
  <p:clrMapOvr>
    <a:masterClrMapping/>
  </p:clrMapOvr>
</p:sldLayout>
</file>

<file path=ppt/slideLayouts/slideLayout24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" name="Google Shape;1180;p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" name="Google Shape;1181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" name="Google Shape;1182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3" name="Google Shape;1183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4" name="Google Shape;1184;p1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5" name="Google Shape;1185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6" name="Google Shape;1186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7" name="Google Shape;1187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1223547"/>
      </p:ext>
    </p:extLst>
  </p:cSld>
  <p:clrMapOvr>
    <a:masterClrMapping/>
  </p:clrMapOvr>
</p:sldLayout>
</file>

<file path=ppt/slideLayouts/slideLayout24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4_Quotation">
    <p:spTree>
      <p:nvGrpSpPr>
        <p:cNvPr id="1" name="Shape 1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" name="Google Shape;1189;p1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0" name="Google Shape;1190;p1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1" name="Google Shape;1191;p1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2" name="Google Shape;1192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3" name="Google Shape;1193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4" name="Google Shape;1194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5" name="Google Shape;1195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6" name="Google Shape;1196;p11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7" name="Google Shape;1197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98" name="Google Shape;1198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9" name="Google Shape;1199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00" name="Google Shape;1200;p11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72309962"/>
      </p:ext>
    </p:extLst>
  </p:cSld>
  <p:clrMapOvr>
    <a:masterClrMapping/>
  </p:clrMapOvr>
</p:sldLayout>
</file>

<file path=ppt/slideLayouts/slideLayout24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1_Title Slide">
    <p:spTree>
      <p:nvGrpSpPr>
        <p:cNvPr id="1" name="Shape 1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2" name="Google Shape;1202;p115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3" name="Google Shape;1203;p115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04" name="Google Shape;1204;p11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05" name="Google Shape;1205;p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6" name="Google Shape;1206;p1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09218593"/>
      </p:ext>
    </p:extLst>
  </p:cSld>
  <p:clrMapOvr>
    <a:masterClrMapping/>
  </p:clrMapOvr>
</p:sldLayout>
</file>

<file path=ppt/slideLayouts/slideLayout24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" name="Google Shape;1208;p11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9" name="Google Shape;1209;p11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0" name="Google Shape;1210;p11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11" name="Google Shape;1211;p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2" name="Google Shape;1212;p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3" name="Google Shape;1213;p11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4" name="Google Shape;1214;p11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5" name="Google Shape;1215;p11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16" name="Google Shape;1216;p11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19483374"/>
      </p:ext>
    </p:extLst>
  </p:cSld>
  <p:clrMapOvr>
    <a:masterClrMapping/>
  </p:clrMapOvr>
</p:sldLayout>
</file>

<file path=ppt/slideLayouts/slideLayout24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" name="Google Shape;1218;p11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9" name="Google Shape;1219;p11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0" name="Google Shape;1220;p11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21" name="Google Shape;1221;p1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2" name="Google Shape;1222;p1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23" name="Google Shape;1223;p11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4" name="Google Shape;1224;p11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5" name="Google Shape;1225;p11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26" name="Google Shape;1226;p11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10750989"/>
      </p:ext>
    </p:extLst>
  </p:cSld>
  <p:clrMapOvr>
    <a:masterClrMapping/>
  </p:clrMapOvr>
</p:sldLayout>
</file>

<file path=ppt/slideLayouts/slideLayout24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" name="Google Shape;1228;p11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9" name="Google Shape;1229;p11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0" name="Google Shape;1230;p11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1" name="Google Shape;1231;p11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32" name="Google Shape;1232;p11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16551847"/>
      </p:ext>
    </p:extLst>
  </p:cSld>
  <p:clrMapOvr>
    <a:masterClrMapping/>
  </p:clrMapOvr>
</p:sldLayout>
</file>

<file path=ppt/slideLayouts/slideLayout24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" name="Google Shape;1234;p11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35" name="Google Shape;1235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36" name="Google Shape;1236;p11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7" name="Google Shape;1237;p11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8" name="Google Shape;1238;p11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8700949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3" name="Google Shape;1723;p17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24" name="Google Shape;1724;p17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25" name="Google Shape;1725;p17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26" name="Google Shape;1726;p1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7" name="Google Shape;1727;p1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28" name="Google Shape;1728;p1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29" name="Google Shape;1729;p17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12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1" name="Google Shape;1241;p12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2" name="Google Shape;1242;p12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3" name="Google Shape;1243;p12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4" name="Google Shape;1244;p12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45" name="Google Shape;1245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4887166"/>
      </p:ext>
    </p:extLst>
  </p:cSld>
  <p:clrMapOvr>
    <a:masterClrMapping/>
  </p:clrMapOvr>
</p:sldLayout>
</file>

<file path=ppt/slideLayouts/slideLayout24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" name="Google Shape;1247;p12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8" name="Google Shape;1248;p12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9" name="Google Shape;1249;p12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50" name="Google Shape;1250;p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1" name="Google Shape;1251;p1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52" name="Google Shape;1252;p12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3" name="Google Shape;1253;p12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4" name="Google Shape;1254;p12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55" name="Google Shape;1255;p12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33868026"/>
      </p:ext>
    </p:extLst>
  </p:cSld>
  <p:clrMapOvr>
    <a:masterClrMapping/>
  </p:clrMapOvr>
</p:sldLayout>
</file>

<file path=ppt/slideLayouts/slideLayout24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7" name="Google Shape;1257;p12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8" name="Google Shape;1258;p12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9" name="Google Shape;1259;p12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0" name="Google Shape;1260;p12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61" name="Google Shape;1261;p12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50010114"/>
      </p:ext>
    </p:extLst>
  </p:cSld>
  <p:clrMapOvr>
    <a:masterClrMapping/>
  </p:clrMapOvr>
</p:sldLayout>
</file>

<file path=ppt/slideLayouts/slideLayout24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3" name="Google Shape;1263;p12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4" name="Google Shape;1264;p123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65" name="Google Shape;1265;p12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6" name="Google Shape;1266;p12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7" name="Google Shape;1267;p12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80198813"/>
      </p:ext>
    </p:extLst>
  </p:cSld>
  <p:clrMapOvr>
    <a:masterClrMapping/>
  </p:clrMapOvr>
</p:sldLayout>
</file>

<file path=ppt/slideLayouts/slideLayout24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" name="Google Shape;1269;p12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0" name="Google Shape;1270;p12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1" name="Google Shape;1271;p12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2" name="Google Shape;1272;p12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3" name="Google Shape;1273;p12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74" name="Google Shape;1274;p124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49714652"/>
      </p:ext>
    </p:extLst>
  </p:cSld>
  <p:clrMapOvr>
    <a:masterClrMapping/>
  </p:clrMapOvr>
</p:sldLayout>
</file>

<file path=ppt/slideLayouts/slideLayout24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6" name="Google Shape;1276;p12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7" name="Google Shape;1277;p12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8" name="Google Shape;1278;p12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9" name="Google Shape;1279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0" name="Google Shape;1280;p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81" name="Google Shape;1281;p12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2" name="Google Shape;1282;p12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3" name="Google Shape;1283;p12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84" name="Google Shape;1284;p12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40820845"/>
      </p:ext>
    </p:extLst>
  </p:cSld>
  <p:clrMapOvr>
    <a:masterClrMapping/>
  </p:clrMapOvr>
</p:sldLayout>
</file>

<file path=ppt/slideLayouts/slideLayout24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6" name="Google Shape;1286;p12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7" name="Google Shape;1287;p12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8" name="Google Shape;1288;p12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9" name="Google Shape;1289;p12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90" name="Google Shape;1290;p12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8774549"/>
      </p:ext>
    </p:extLst>
  </p:cSld>
  <p:clrMapOvr>
    <a:masterClrMapping/>
  </p:clrMapOvr>
</p:sldLayout>
</file>

<file path=ppt/slideLayouts/slideLayout24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2" name="Google Shape;1292;p12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93" name="Google Shape;1293;p12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94" name="Google Shape;1294;p12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5" name="Google Shape;1295;p12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6" name="Google Shape;1296;p12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57904383"/>
      </p:ext>
    </p:extLst>
  </p:cSld>
  <p:clrMapOvr>
    <a:masterClrMapping/>
  </p:clrMapOvr>
</p:sldLayout>
</file>

<file path=ppt/slideLayouts/slideLayout24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8" name="Google Shape;1298;p12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9" name="Google Shape;1299;p12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0" name="Google Shape;1300;p12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1" name="Google Shape;1301;p12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2" name="Google Shape;1302;p12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03" name="Google Shape;1303;p12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087711"/>
      </p:ext>
    </p:extLst>
  </p:cSld>
  <p:clrMapOvr>
    <a:masterClrMapping/>
  </p:clrMapOvr>
</p:sldLayout>
</file>

<file path=ppt/slideLayouts/slideLayout24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5" name="Google Shape;1305;p12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6" name="Google Shape;1306;p12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7" name="Google Shape;1307;p1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8" name="Google Shape;1308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9" name="Google Shape;1309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10" name="Google Shape;1310;p12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1" name="Google Shape;1311;p12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2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3" name="Google Shape;1313;p12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7162246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p1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32" name="Google Shape;1732;p1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3" name="Google Shape;1733;p1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34" name="Google Shape;1734;p1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35" name="Google Shape;1735;p17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36" name="Google Shape;1736;p1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37" name="Google Shape;1737;p1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8" name="Google Shape;1738;p1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4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" name="Google Shape;1315;p1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6" name="Google Shape;1316;p1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7" name="Google Shape;1317;p1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18" name="Google Shape;1318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" name="Google Shape;1319;p1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20" name="Google Shape;1320;p1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1" name="Google Shape;1321;p1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2" name="Google Shape;1322;p1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3" name="Google Shape;1323;p13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23000811"/>
      </p:ext>
    </p:extLst>
  </p:cSld>
  <p:clrMapOvr>
    <a:masterClrMapping/>
  </p:clrMapOvr>
</p:sldLayout>
</file>

<file path=ppt/slideLayouts/slideLayout24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p1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" name="Google Shape;1326;p1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7" name="Google Shape;1327;p1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8" name="Google Shape;1328;p1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9" name="Google Shape;1329;p13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2642187"/>
      </p:ext>
    </p:extLst>
  </p:cSld>
  <p:clrMapOvr>
    <a:masterClrMapping/>
  </p:clrMapOvr>
</p:sldLayout>
</file>

<file path=ppt/slideLayouts/slideLayout24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" name="Google Shape;1331;p1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32" name="Google Shape;1332;p13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33" name="Google Shape;1333;p1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4" name="Google Shape;1334;p1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5" name="Google Shape;1335;p1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60850262"/>
      </p:ext>
    </p:extLst>
  </p:cSld>
  <p:clrMapOvr>
    <a:masterClrMapping/>
  </p:clrMapOvr>
</p:sldLayout>
</file>

<file path=ppt/slideLayouts/slideLayout24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Google Shape;1337;p1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1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9" name="Google Shape;1339;p1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0" name="Google Shape;1340;p1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1" name="Google Shape;1341;p1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42" name="Google Shape;1342;p13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60885459"/>
      </p:ext>
    </p:extLst>
  </p:cSld>
  <p:clrMapOvr>
    <a:masterClrMapping/>
  </p:clrMapOvr>
</p:sldLayout>
</file>

<file path=ppt/slideLayouts/slideLayout24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4" name="Google Shape;1344;p1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5" name="Google Shape;1345;p1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6" name="Google Shape;1346;p1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7" name="Google Shape;1347;p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8" name="Google Shape;1348;p1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49" name="Google Shape;1349;p1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0" name="Google Shape;1350;p1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1" name="Google Shape;1351;p1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2" name="Google Shape;1352;p13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66860817"/>
      </p:ext>
    </p:extLst>
  </p:cSld>
  <p:clrMapOvr>
    <a:masterClrMapping/>
  </p:clrMapOvr>
</p:sldLayout>
</file>

<file path=ppt/slideLayouts/slideLayout24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5" name="Google Shape;1355;p1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6" name="Google Shape;1356;p1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7" name="Google Shape;1357;p1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8" name="Google Shape;1358;p13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2749554"/>
      </p:ext>
    </p:extLst>
  </p:cSld>
  <p:clrMapOvr>
    <a:masterClrMapping/>
  </p:clrMapOvr>
</p:sldLayout>
</file>

<file path=ppt/slideLayouts/slideLayout24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" name="Google Shape;1360;p1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61" name="Google Shape;1361;p13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62" name="Google Shape;1362;p1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3" name="Google Shape;1363;p1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83140064"/>
      </p:ext>
    </p:extLst>
  </p:cSld>
  <p:clrMapOvr>
    <a:masterClrMapping/>
  </p:clrMapOvr>
</p:sldLayout>
</file>

<file path=ppt/slideLayouts/slideLayout24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6" name="Google Shape;1366;p1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7" name="Google Shape;1367;p1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8" name="Google Shape;1368;p1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9" name="Google Shape;1369;p1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0" name="Google Shape;1370;p1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71" name="Google Shape;1371;p13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9086165"/>
      </p:ext>
    </p:extLst>
  </p:cSld>
  <p:clrMapOvr>
    <a:masterClrMapping/>
  </p:clrMapOvr>
</p:sldLayout>
</file>

<file path=ppt/slideLayouts/slideLayout24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3" name="Google Shape;1373;p13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4" name="Google Shape;1374;p13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5" name="Google Shape;1375;p13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6" name="Google Shape;1376;p13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77" name="Google Shape;1377;p13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4564108"/>
      </p:ext>
    </p:extLst>
  </p:cSld>
  <p:clrMapOvr>
    <a:masterClrMapping/>
  </p:clrMapOvr>
</p:sldLayout>
</file>

<file path=ppt/slideLayouts/slideLayout24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9" name="Google Shape;1379;p13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80" name="Google Shape;1380;p13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81" name="Google Shape;1381;p13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2" name="Google Shape;1382;p13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3" name="Google Shape;1383;p13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09082004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" name="Google Shape;1740;p1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41" name="Google Shape;1741;p1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2" name="Google Shape;1742;p1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3" name="Google Shape;1743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4" name="Google Shape;1744;p1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5" name="Google Shape;1745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46" name="Google Shape;1746;p1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7" name="Google Shape;1747;p17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8" name="Google Shape;1748;p1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49" name="Google Shape;1749;p1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0" name="Google Shape;1750;p1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51" name="Google Shape;1751;p17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4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5" name="Google Shape;1385;p14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6" name="Google Shape;1386;p14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7" name="Google Shape;1387;p14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8" name="Google Shape;1388;p14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9" name="Google Shape;1389;p14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90" name="Google Shape;1390;p14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50169545"/>
      </p:ext>
    </p:extLst>
  </p:cSld>
  <p:clrMapOvr>
    <a:masterClrMapping/>
  </p:clrMapOvr>
</p:sldLayout>
</file>

<file path=ppt/slideLayouts/slideLayout24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5" name="Google Shape;1305;p12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6" name="Google Shape;1306;p12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7" name="Google Shape;1307;p1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8" name="Google Shape;1308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9" name="Google Shape;1309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10" name="Google Shape;1310;p12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1" name="Google Shape;1311;p12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2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3" name="Google Shape;1313;p12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18630088"/>
      </p:ext>
    </p:extLst>
  </p:cSld>
  <p:clrMapOvr>
    <a:masterClrMapping/>
  </p:clrMapOvr>
</p:sldLayout>
</file>

<file path=ppt/slideLayouts/slideLayout24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" name="Google Shape;1315;p1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6" name="Google Shape;1316;p1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7" name="Google Shape;1317;p1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18" name="Google Shape;1318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" name="Google Shape;1319;p1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20" name="Google Shape;1320;p1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1" name="Google Shape;1321;p1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2" name="Google Shape;1322;p1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3" name="Google Shape;1323;p13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57549216"/>
      </p:ext>
    </p:extLst>
  </p:cSld>
  <p:clrMapOvr>
    <a:masterClrMapping/>
  </p:clrMapOvr>
</p:sldLayout>
</file>

<file path=ppt/slideLayouts/slideLayout24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p1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" name="Google Shape;1326;p1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7" name="Google Shape;1327;p1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8" name="Google Shape;1328;p1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9" name="Google Shape;1329;p13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56651315"/>
      </p:ext>
    </p:extLst>
  </p:cSld>
  <p:clrMapOvr>
    <a:masterClrMapping/>
  </p:clrMapOvr>
</p:sldLayout>
</file>

<file path=ppt/slideLayouts/slideLayout24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" name="Google Shape;1331;p1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32" name="Google Shape;1332;p13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33" name="Google Shape;1333;p1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4" name="Google Shape;1334;p1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5" name="Google Shape;1335;p1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28316727"/>
      </p:ext>
    </p:extLst>
  </p:cSld>
  <p:clrMapOvr>
    <a:masterClrMapping/>
  </p:clrMapOvr>
</p:sldLayout>
</file>

<file path=ppt/slideLayouts/slideLayout24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Google Shape;1337;p1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1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9" name="Google Shape;1339;p1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0" name="Google Shape;1340;p1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1" name="Google Shape;1341;p1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42" name="Google Shape;1342;p13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9515516"/>
      </p:ext>
    </p:extLst>
  </p:cSld>
  <p:clrMapOvr>
    <a:masterClrMapping/>
  </p:clrMapOvr>
</p:sldLayout>
</file>

<file path=ppt/slideLayouts/slideLayout24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4" name="Google Shape;1344;p1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5" name="Google Shape;1345;p1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6" name="Google Shape;1346;p1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7" name="Google Shape;1347;p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8" name="Google Shape;1348;p1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49" name="Google Shape;1349;p1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0" name="Google Shape;1350;p1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1" name="Google Shape;1351;p1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2" name="Google Shape;1352;p13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16156049"/>
      </p:ext>
    </p:extLst>
  </p:cSld>
  <p:clrMapOvr>
    <a:masterClrMapping/>
  </p:clrMapOvr>
</p:sldLayout>
</file>

<file path=ppt/slideLayouts/slideLayout24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5" name="Google Shape;1355;p1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6" name="Google Shape;1356;p1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7" name="Google Shape;1357;p1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8" name="Google Shape;1358;p13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44875439"/>
      </p:ext>
    </p:extLst>
  </p:cSld>
  <p:clrMapOvr>
    <a:masterClrMapping/>
  </p:clrMapOvr>
</p:sldLayout>
</file>

<file path=ppt/slideLayouts/slideLayout24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" name="Google Shape;1360;p1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61" name="Google Shape;1361;p13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62" name="Google Shape;1362;p1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3" name="Google Shape;1363;p1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15079744"/>
      </p:ext>
    </p:extLst>
  </p:cSld>
  <p:clrMapOvr>
    <a:masterClrMapping/>
  </p:clrMapOvr>
</p:sldLayout>
</file>

<file path=ppt/slideLayouts/slideLayout24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6" name="Google Shape;1366;p1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7" name="Google Shape;1367;p1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8" name="Google Shape;1368;p1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9" name="Google Shape;1369;p1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0" name="Google Shape;1370;p1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71" name="Google Shape;1371;p13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9655022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3" name="Google Shape;1753;p1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4" name="Google Shape;1754;p17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55" name="Google Shape;1755;p1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6" name="Google Shape;1756;p17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57" name="Google Shape;1757;p1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58" name="Google Shape;1758;p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9" name="Google Shape;1759;p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60" name="Google Shape;1760;p17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1" name="Google Shape;1761;p17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2" name="Google Shape;1762;p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3" name="Google Shape;1763;p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" name="Google Shape;1392;p14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3" name="Google Shape;1393;p14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4" name="Google Shape;1394;p14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95" name="Google Shape;1395;p1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96" name="Google Shape;1396;p14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97" name="Google Shape;1397;p1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8" name="Google Shape;1398;p14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99" name="Google Shape;1399;p14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240748760"/>
      </p:ext>
    </p:extLst>
  </p:cSld>
  <p:clrMapOvr>
    <a:masterClrMapping/>
  </p:clrMapOvr>
</p:sldLayout>
</file>

<file path=ppt/slideLayouts/slideLayout24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1" name="Google Shape;1401;p14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02" name="Google Shape;1402;p14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3" name="Google Shape;1403;p1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4" name="Google Shape;1404;p14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05" name="Google Shape;1405;p14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06" name="Google Shape;1406;p14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7" name="Google Shape;1407;p14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73245840"/>
      </p:ext>
    </p:extLst>
  </p:cSld>
  <p:clrMapOvr>
    <a:masterClrMapping/>
  </p:clrMapOvr>
</p:sldLayout>
</file>

<file path=ppt/slideLayouts/slideLayout24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9" name="Google Shape;1409;p1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10" name="Google Shape;1410;p14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11" name="Google Shape;1411;p1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12" name="Google Shape;1412;p1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3" name="Google Shape;1413;p1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14" name="Google Shape;1414;p1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15" name="Google Shape;1415;p143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16931613"/>
      </p:ext>
    </p:extLst>
  </p:cSld>
  <p:clrMapOvr>
    <a:masterClrMapping/>
  </p:clrMapOvr>
</p:sldLayout>
</file>

<file path=ppt/slideLayouts/slideLayout24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7" name="Google Shape;1417;p1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8" name="Google Shape;1418;p1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9" name="Google Shape;1419;p1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0" name="Google Shape;1420;p1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1" name="Google Shape;1421;p1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2" name="Google Shape;1422;p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23" name="Google Shape;1423;p1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24" name="Google Shape;1424;p1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5" name="Google Shape;1425;p1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6" name="Google Shape;1426;p1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7" name="Google Shape;1427;p1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28" name="Google Shape;1428;p14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6099609"/>
      </p:ext>
    </p:extLst>
  </p:cSld>
  <p:clrMapOvr>
    <a:masterClrMapping/>
  </p:clrMapOvr>
</p:sldLayout>
</file>

<file path=ppt/slideLayouts/slideLayout24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7" name="Google Shape;1417;p1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8" name="Google Shape;1418;p1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9" name="Google Shape;1419;p1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0" name="Google Shape;1420;p1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1" name="Google Shape;1421;p1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2" name="Google Shape;1422;p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23" name="Google Shape;1423;p1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24" name="Google Shape;1424;p1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5" name="Google Shape;1425;p1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6" name="Google Shape;1426;p1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7" name="Google Shape;1427;p1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28" name="Google Shape;1428;p14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32986859"/>
      </p:ext>
    </p:extLst>
  </p:cSld>
  <p:clrMapOvr>
    <a:masterClrMapping/>
  </p:clrMapOvr>
</p:sldLayout>
</file>

<file path=ppt/slideLayouts/slideLayout24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0" name="Google Shape;1430;p1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1" name="Google Shape;1431;p1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32" name="Google Shape;1432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33" name="Google Shape;1433;p14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4" name="Google Shape;1434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35" name="Google Shape;1435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6" name="Google Shape;1436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37" name="Google Shape;1437;p14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8" name="Google Shape;1438;p14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39" name="Google Shape;1439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40" name="Google Shape;1440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5439191"/>
      </p:ext>
    </p:extLst>
  </p:cSld>
  <p:clrMapOvr>
    <a:masterClrMapping/>
  </p:clrMapOvr>
</p:sldLayout>
</file>

<file path=ppt/slideLayouts/slideLayout24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2" name="Google Shape;1442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43" name="Google Shape;1443;p14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44" name="Google Shape;1444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45" name="Google Shape;1445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6" name="Google Shape;1446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47" name="Google Shape;1447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8" name="Google Shape;1448;p14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49" name="Google Shape;1449;p14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0" name="Google Shape;1450;p14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51" name="Google Shape;1451;p14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2" name="Google Shape;1452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53" name="Google Shape;1453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54" name="Google Shape;1454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34989128"/>
      </p:ext>
    </p:extLst>
  </p:cSld>
  <p:clrMapOvr>
    <a:masterClrMapping/>
  </p:clrMapOvr>
</p:sldLayout>
</file>

<file path=ppt/slideLayouts/slideLayout24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6" name="Google Shape;1456;p1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57" name="Google Shape;1457;p14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58" name="Google Shape;1458;p1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59" name="Google Shape;1459;p1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0" name="Google Shape;1460;p1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61" name="Google Shape;1461;p1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2" name="Google Shape;1462;p1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3" name="Google Shape;1463;p1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64" name="Google Shape;1464;p1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61593526"/>
      </p:ext>
    </p:extLst>
  </p:cSld>
  <p:clrMapOvr>
    <a:masterClrMapping/>
  </p:clrMapOvr>
</p:sldLayout>
</file>

<file path=ppt/slideLayouts/slideLayout24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66" name="Google Shape;1466;p14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67" name="Google Shape;1467;p14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8" name="Google Shape;1468;p14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69" name="Google Shape;1469;p14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0" name="Google Shape;1470;p14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1" name="Google Shape;1471;p14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72" name="Google Shape;1472;p14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73" name="Google Shape;1473;p14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263389461"/>
      </p:ext>
    </p:extLst>
  </p:cSld>
  <p:clrMapOvr>
    <a:masterClrMapping/>
  </p:clrMapOvr>
</p:sldLayout>
</file>

<file path=ppt/slideLayouts/slideLayout24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5" name="Google Shape;1475;p1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76" name="Google Shape;1476;p1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7" name="Google Shape;1477;p1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78" name="Google Shape;1478;p1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9" name="Google Shape;1479;p14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0" name="Google Shape;1480;p1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1" name="Google Shape;1481;p1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2" name="Google Shape;1482;p1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58515190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5" name="Google Shape;1765;p1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6" name="Google Shape;1766;p18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7" name="Google Shape;1767;p1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8" name="Google Shape;1768;p1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9" name="Google Shape;1769;p1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70" name="Google Shape;1770;p1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1" name="Google Shape;1771;p18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2" name="Google Shape;1772;p18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3" name="Google Shape;1773;p18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4" name="Google Shape;1774;p18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5" name="Google Shape;1775;p1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76" name="Google Shape;1776;p1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7" name="Google Shape;1777;p1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4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" name="Google Shape;1484;p15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5" name="Google Shape;1485;p15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6" name="Google Shape;1486;p15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87" name="Google Shape;1487;p1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88" name="Google Shape;1488;p15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89" name="Google Shape;1489;p1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0" name="Google Shape;1490;p15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1" name="Google Shape;1491;p15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017829508"/>
      </p:ext>
    </p:extLst>
  </p:cSld>
  <p:clrMapOvr>
    <a:masterClrMapping/>
  </p:clrMapOvr>
</p:sldLayout>
</file>

<file path=ppt/slideLayouts/slideLayout24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3" name="Google Shape;1493;p15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94" name="Google Shape;1494;p15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5" name="Google Shape;1495;p1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6" name="Google Shape;1496;p15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7" name="Google Shape;1497;p15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98" name="Google Shape;1498;p15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9" name="Google Shape;1499;p15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65597842"/>
      </p:ext>
    </p:extLst>
  </p:cSld>
  <p:clrMapOvr>
    <a:masterClrMapping/>
  </p:clrMapOvr>
</p:sldLayout>
</file>

<file path=ppt/slideLayouts/slideLayout24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1" name="Google Shape;1501;p15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02" name="Google Shape;1502;p15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03" name="Google Shape;1503;p15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04" name="Google Shape;1504;p15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5" name="Google Shape;1505;p15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06" name="Google Shape;1506;p15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07" name="Google Shape;1507;p15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94806795"/>
      </p:ext>
    </p:extLst>
  </p:cSld>
  <p:clrMapOvr>
    <a:masterClrMapping/>
  </p:clrMapOvr>
</p:sldLayout>
</file>

<file path=ppt/slideLayouts/slideLayout24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9" name="Google Shape;1509;p15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0" name="Google Shape;1510;p15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1" name="Google Shape;1511;p1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2" name="Google Shape;1512;p1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3" name="Google Shape;1513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4" name="Google Shape;1514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15" name="Google Shape;1515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" name="Google Shape;1516;p15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7" name="Google Shape;1517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" name="Google Shape;1518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" name="Google Shape;1519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20" name="Google Shape;1520;p15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58143973"/>
      </p:ext>
    </p:extLst>
  </p:cSld>
  <p:clrMapOvr>
    <a:masterClrMapping/>
  </p:clrMapOvr>
</p:sldLayout>
</file>

<file path=ppt/slideLayouts/slideLayout24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9" name="Google Shape;1509;p15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0" name="Google Shape;1510;p15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1" name="Google Shape;1511;p1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2" name="Google Shape;1512;p1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3" name="Google Shape;1513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4" name="Google Shape;1514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15" name="Google Shape;1515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" name="Google Shape;1516;p15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7" name="Google Shape;1517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" name="Google Shape;1518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" name="Google Shape;1519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20" name="Google Shape;1520;p15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95905869"/>
      </p:ext>
    </p:extLst>
  </p:cSld>
  <p:clrMapOvr>
    <a:masterClrMapping/>
  </p:clrMapOvr>
</p:sldLayout>
</file>

<file path=ppt/slideLayouts/slideLayout24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2" name="Google Shape;1522;p1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3" name="Google Shape;1523;p15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4" name="Google Shape;1524;p1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5" name="Google Shape;1525;p1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6" name="Google Shape;1526;p1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7" name="Google Shape;1527;p1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8" name="Google Shape;1528;p15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9" name="Google Shape;1529;p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0" name="Google Shape;1530;p1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1" name="Google Shape;1531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25641942"/>
      </p:ext>
    </p:extLst>
  </p:cSld>
  <p:clrMapOvr>
    <a:masterClrMapping/>
  </p:clrMapOvr>
</p:sldLayout>
</file>

<file path=ppt/slideLayouts/slideLayout24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3" name="Google Shape;1533;p1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4" name="Google Shape;1534;p1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35" name="Google Shape;1535;p1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6" name="Google Shape;1536;p15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7" name="Google Shape;1537;p1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8" name="Google Shape;1538;p1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9" name="Google Shape;1539;p1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40" name="Google Shape;1540;p15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1" name="Google Shape;1541;p15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2" name="Google Shape;1542;p1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3" name="Google Shape;1543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14055668"/>
      </p:ext>
    </p:extLst>
  </p:cSld>
  <p:clrMapOvr>
    <a:masterClrMapping/>
  </p:clrMapOvr>
</p:sldLayout>
</file>

<file path=ppt/slideLayouts/slideLayout24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5" name="Google Shape;1545;p1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6" name="Google Shape;1546;p15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7" name="Google Shape;1547;p1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8" name="Google Shape;1548;p1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9" name="Google Shape;1549;p1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50" name="Google Shape;1550;p1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1" name="Google Shape;1551;p15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2" name="Google Shape;1552;p15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3" name="Google Shape;1553;p15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4" name="Google Shape;1554;p15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5" name="Google Shape;1555;p1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56" name="Google Shape;1556;p1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57" name="Google Shape;1557;p1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34415635"/>
      </p:ext>
    </p:extLst>
  </p:cSld>
  <p:clrMapOvr>
    <a:masterClrMapping/>
  </p:clrMapOvr>
</p:sldLayout>
</file>

<file path=ppt/slideLayouts/slideLayout24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9" name="Google Shape;1559;p1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0" name="Google Shape;1560;p15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1" name="Google Shape;1561;p1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2" name="Google Shape;1562;p1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3" name="Google Shape;1563;p1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64" name="Google Shape;1564;p1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5" name="Google Shape;1565;p1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6" name="Google Shape;1566;p1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7" name="Google Shape;1567;p1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15409027"/>
      </p:ext>
    </p:extLst>
  </p:cSld>
  <p:clrMapOvr>
    <a:masterClrMapping/>
  </p:clrMapOvr>
</p:sldLayout>
</file>

<file path=ppt/slideLayouts/slideLayout24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9" name="Google Shape;1569;p15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70" name="Google Shape;1570;p15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1" name="Google Shape;1571;p15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72" name="Google Shape;1572;p15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3" name="Google Shape;1573;p15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4" name="Google Shape;1574;p15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75" name="Google Shape;1575;p15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76" name="Google Shape;1576;p1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8919318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0" name="Google Shape;230;p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1" name="Google Shape;231;p2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2" name="Google Shape;232;p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3" name="Google Shape;233;p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5" name="Google Shape;235;p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" name="Google Shape;236;p2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7" name="Google Shape;237;p2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" name="Google Shape;238;p2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9" name="Google Shape;239;p2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" name="Google Shape;240;p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1" name="Google Shape;241;p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2" name="Google Shape;242;p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9" name="Google Shape;1779;p1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0" name="Google Shape;1780;p18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1" name="Google Shape;1781;p1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2" name="Google Shape;1782;p1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3" name="Google Shape;1783;p1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84" name="Google Shape;1784;p1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5" name="Google Shape;1785;p1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6" name="Google Shape;1786;p1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7" name="Google Shape;1787;p1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8" name="Google Shape;1578;p1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9" name="Google Shape;1579;p1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0" name="Google Shape;1580;p1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81" name="Google Shape;1581;p1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2" name="Google Shape;1582;p15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3" name="Google Shape;1583;p1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84" name="Google Shape;1584;p1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5" name="Google Shape;1585;p1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8415837"/>
      </p:ext>
    </p:extLst>
  </p:cSld>
  <p:clrMapOvr>
    <a:masterClrMapping/>
  </p:clrMapOvr>
</p:sldLayout>
</file>

<file path=ppt/slideLayouts/slideLayout25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Google Shape;1587;p160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88" name="Google Shape;1588;p16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89" name="Google Shape;1589;p160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590" name="Google Shape;1590;p160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91" name="Google Shape;1591;p160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592" name="Google Shape;1592;p16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3" name="Google Shape;1593;p160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4" name="Google Shape;1594;p16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5" name="Google Shape;1595;p16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36960758"/>
      </p:ext>
    </p:extLst>
  </p:cSld>
  <p:clrMapOvr>
    <a:masterClrMapping/>
  </p:clrMapOvr>
</p:sldLayout>
</file>

<file path=ppt/slideLayouts/slideLayout25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2_Title Slide"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Google Shape;1587;p160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88" name="Google Shape;1588;p16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89" name="Google Shape;1589;p160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590" name="Google Shape;1590;p160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91" name="Google Shape;1591;p160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592" name="Google Shape;1592;p16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3" name="Google Shape;1593;p160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4" name="Google Shape;1594;p16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5" name="Google Shape;1595;p16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41966277"/>
      </p:ext>
    </p:extLst>
  </p:cSld>
  <p:clrMapOvr>
    <a:masterClrMapping/>
  </p:clrMapOvr>
</p:sldLayout>
</file>

<file path=ppt/slideLayouts/slideLayout25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2_Title Slide"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Google Shape;1587;p160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88" name="Google Shape;1588;p16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89" name="Google Shape;1589;p160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590" name="Google Shape;1590;p160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91" name="Google Shape;1591;p160"/>
            <p:cNvPicPr preferRelativeResize="0"/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592" name="Google Shape;1592;p16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3" name="Google Shape;1593;p160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4" name="Google Shape;1594;p16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5" name="Google Shape;1595;p16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99413804"/>
      </p:ext>
    </p:extLst>
  </p:cSld>
  <p:clrMapOvr>
    <a:masterClrMapping/>
  </p:clrMapOvr>
</p:sldLayout>
</file>

<file path=ppt/slideLayouts/slideLayout2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p161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8" name="Google Shape;1598;p161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9" name="Google Shape;1599;p161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0" name="Google Shape;1600;p161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1" name="Google Shape;1601;p1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02" name="Google Shape;1602;p161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87079544"/>
      </p:ext>
    </p:extLst>
  </p:cSld>
  <p:clrMapOvr>
    <a:masterClrMapping/>
  </p:clrMapOvr>
</p:sldLayout>
</file>

<file path=ppt/slideLayouts/slideLayout25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4" name="Google Shape;1604;p16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5" name="Google Shape;1605;p16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6" name="Google Shape;1606;p16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07" name="Google Shape;1607;p1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8" name="Google Shape;1608;p1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09" name="Google Shape;1609;p16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0" name="Google Shape;1610;p16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1" name="Google Shape;1611;p16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12" name="Google Shape;1612;p16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8930240"/>
      </p:ext>
    </p:extLst>
  </p:cSld>
  <p:clrMapOvr>
    <a:masterClrMapping/>
  </p:clrMapOvr>
</p:sldLayout>
</file>

<file path=ppt/slideLayouts/slideLayout2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2_Title Slide">
    <p:spTree>
      <p:nvGrpSpPr>
        <p:cNvPr id="1" name="Shape 1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4" name="Google Shape;1614;p16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15" name="Google Shape;1615;p16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16" name="Google Shape;1616;p16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17" name="Google Shape;1617;p16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18" name="Google Shape;1618;p163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19" name="Google Shape;1619;p16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0" name="Google Shape;1620;p16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1" name="Google Shape;1621;p16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2" name="Google Shape;1622;p16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2300585"/>
      </p:ext>
    </p:extLst>
  </p:cSld>
  <p:clrMapOvr>
    <a:masterClrMapping/>
  </p:clrMapOvr>
</p:sldLayout>
</file>

<file path=ppt/slideLayouts/slideLayout2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1_Table of Content">
    <p:spTree>
      <p:nvGrpSpPr>
        <p:cNvPr id="1" name="Shape 1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4" name="Google Shape;1624;p164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5" name="Google Shape;1625;p164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6" name="Google Shape;1626;p164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7" name="Google Shape;1627;p164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8" name="Google Shape;1628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29" name="Google Shape;1629;p164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9916960"/>
      </p:ext>
    </p:extLst>
  </p:cSld>
  <p:clrMapOvr>
    <a:masterClrMapping/>
  </p:clrMapOvr>
</p:sldLayout>
</file>

<file path=ppt/slideLayouts/slideLayout25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" name="Google Shape;1631;p16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2" name="Google Shape;1632;p16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3" name="Google Shape;1633;p16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4" name="Google Shape;1634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5" name="Google Shape;1635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6" name="Google Shape;1636;p16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7" name="Google Shape;1637;p16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8" name="Google Shape;1638;p16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39" name="Google Shape;1639;p16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17050227"/>
      </p:ext>
    </p:extLst>
  </p:cSld>
  <p:clrMapOvr>
    <a:masterClrMapping/>
  </p:clrMapOvr>
</p:sldLayout>
</file>

<file path=ppt/slideLayouts/slideLayout25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1" name="Google Shape;1641;p16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2" name="Google Shape;1642;p16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3" name="Google Shape;1643;p16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4" name="Google Shape;1644;p16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45" name="Google Shape;1645;p16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670439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9" name="Google Shape;1789;p1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90" name="Google Shape;1790;p1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1" name="Google Shape;1791;p1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92" name="Google Shape;1792;p18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93" name="Google Shape;1793;p1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4" name="Google Shape;1794;p1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95" name="Google Shape;1795;p18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96" name="Google Shape;1796;p1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5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6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7" name="Google Shape;1647;p16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48" name="Google Shape;1648;p16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49" name="Google Shape;1649;p16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0" name="Google Shape;1650;p16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1" name="Google Shape;1651;p16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47841036"/>
      </p:ext>
    </p:extLst>
  </p:cSld>
  <p:clrMapOvr>
    <a:masterClrMapping/>
  </p:clrMapOvr>
</p:sldLayout>
</file>

<file path=ppt/slideLayouts/slideLayout25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3" name="Google Shape;1653;p16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4" name="Google Shape;1654;p16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5" name="Google Shape;1655;p16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6" name="Google Shape;1656;p16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7" name="Google Shape;1657;p16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58" name="Google Shape;1658;p16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28786382"/>
      </p:ext>
    </p:extLst>
  </p:cSld>
  <p:clrMapOvr>
    <a:masterClrMapping/>
  </p:clrMapOvr>
</p:sldLayout>
</file>

<file path=ppt/slideLayouts/slideLayout2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2_Title Slide">
    <p:spTree>
      <p:nvGrpSpPr>
        <p:cNvPr id="1" name="Shape 1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4" name="Google Shape;1614;p16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15" name="Google Shape;1615;p16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16" name="Google Shape;1616;p16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17" name="Google Shape;1617;p16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18" name="Google Shape;1618;p163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19" name="Google Shape;1619;p16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0" name="Google Shape;1620;p16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1" name="Google Shape;1621;p16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2" name="Google Shape;1622;p16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00188475"/>
      </p:ext>
    </p:extLst>
  </p:cSld>
  <p:clrMapOvr>
    <a:masterClrMapping/>
  </p:clrMapOvr>
</p:sldLayout>
</file>

<file path=ppt/slideLayouts/slideLayout25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" name="Google Shape;1631;p16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2" name="Google Shape;1632;p16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3" name="Google Shape;1633;p16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4" name="Google Shape;1634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5" name="Google Shape;1635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6" name="Google Shape;1636;p16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7" name="Google Shape;1637;p16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8" name="Google Shape;1638;p16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39" name="Google Shape;1639;p16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42856598"/>
      </p:ext>
    </p:extLst>
  </p:cSld>
  <p:clrMapOvr>
    <a:masterClrMapping/>
  </p:clrMapOvr>
</p:sldLayout>
</file>

<file path=ppt/slideLayouts/slideLayout2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2_Title Slide">
    <p:spTree>
      <p:nvGrpSpPr>
        <p:cNvPr id="1" name="Shape 1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4" name="Google Shape;1614;p16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15" name="Google Shape;1615;p16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16" name="Google Shape;1616;p16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17" name="Google Shape;1617;p16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18" name="Google Shape;1618;p163"/>
            <p:cNvPicPr preferRelativeResize="0"/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19" name="Google Shape;1619;p16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0" name="Google Shape;1620;p16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1" name="Google Shape;1621;p16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2" name="Google Shape;1622;p16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11124883"/>
      </p:ext>
    </p:extLst>
  </p:cSld>
  <p:clrMapOvr>
    <a:masterClrMapping/>
  </p:clrMapOvr>
</p:sldLayout>
</file>

<file path=ppt/slideLayouts/slideLayout25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6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0" name="Google Shape;1660;p169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1" name="Google Shape;1661;p169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662" name="Google Shape;1662;p16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63" name="Google Shape;1663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4" name="Google Shape;1664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61183809"/>
      </p:ext>
    </p:extLst>
  </p:cSld>
  <p:clrMapOvr>
    <a:masterClrMapping/>
  </p:clrMapOvr>
</p:sldLayout>
</file>

<file path=ppt/slideLayouts/slideLayout25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1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6" name="Google Shape;1666;p170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7" name="Google Shape;1667;p170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668" name="Google Shape;1668;p170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669" name="Google Shape;1669;p17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70" name="Google Shape;1670;p1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1" name="Google Shape;1671;p1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749736442"/>
      </p:ext>
    </p:extLst>
  </p:cSld>
  <p:clrMapOvr>
    <a:masterClrMapping/>
  </p:clrMapOvr>
</p:sldLayout>
</file>

<file path=ppt/slideLayouts/slideLayout2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6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3" name="Google Shape;1673;p171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4" name="Google Shape;1674;p171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75" name="Google Shape;1675;p171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6" name="Google Shape;1676;p171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77" name="Google Shape;1677;p171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8" name="Google Shape;1678;p171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79" name="Google Shape;1679;p171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0" name="Google Shape;1680;p171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81" name="Google Shape;1681;p17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37718275"/>
      </p:ext>
    </p:extLst>
  </p:cSld>
  <p:clrMapOvr>
    <a:masterClrMapping/>
  </p:clrMapOvr>
</p:sldLayout>
</file>

<file path=ppt/slideLayouts/slideLayout25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3" name="Google Shape;1683;p1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4" name="Google Shape;1684;p1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5" name="Google Shape;1685;p1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6" name="Google Shape;1686;p1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7" name="Google Shape;1687;p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8" name="Google Shape;1688;p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89" name="Google Shape;1689;p1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90" name="Google Shape;1690;p17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1" name="Google Shape;1691;p1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2" name="Google Shape;1692;p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3" name="Google Shape;1693;p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94" name="Google Shape;1694;p17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4591595"/>
      </p:ext>
    </p:extLst>
  </p:cSld>
  <p:clrMapOvr>
    <a:masterClrMapping/>
  </p:clrMapOvr>
</p:sldLayout>
</file>

<file path=ppt/slideLayouts/slideLayout2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1_EVERYDAY - CONTENT ONLY">
    <p:spTree>
      <p:nvGrpSpPr>
        <p:cNvPr id="1" name="Shape 1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6" name="Google Shape;1696;p17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7" name="Google Shape;1697;p17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98" name="Google Shape;1698;p17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9" name="Google Shape;1699;p17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00" name="Google Shape;1700;p17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1" name="Google Shape;1701;p17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2" name="Google Shape;1702;p17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3" name="Google Shape;1703;p17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04" name="Google Shape;1704;p17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70249814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8" name="Google Shape;1798;p1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9" name="Google Shape;1799;p1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0" name="Google Shape;1800;p1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01" name="Google Shape;1801;p1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02" name="Google Shape;1802;p18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3" name="Google Shape;1803;p1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04" name="Google Shape;1804;p1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5" name="Google Shape;1805;p1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5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17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7" name="Google Shape;1707;p17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8" name="Google Shape;1708;p17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09" name="Google Shape;1709;p17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10" name="Google Shape;1710;p17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11" name="Google Shape;1711;p1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2" name="Google Shape;1712;p17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3" name="Google Shape;1713;p17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094968303"/>
      </p:ext>
    </p:extLst>
  </p:cSld>
  <p:clrMapOvr>
    <a:masterClrMapping/>
  </p:clrMapOvr>
</p:sldLayout>
</file>

<file path=ppt/slideLayouts/slideLayout25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7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5" name="Google Shape;1715;p1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16" name="Google Shape;1716;p1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7" name="Google Shape;1717;p1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8" name="Google Shape;1718;p1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9" name="Google Shape;1719;p17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20" name="Google Shape;1720;p1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1" name="Google Shape;1721;p1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95336615"/>
      </p:ext>
    </p:extLst>
  </p:cSld>
  <p:clrMapOvr>
    <a:masterClrMapping/>
  </p:clrMapOvr>
</p:sldLayout>
</file>

<file path=ppt/slideLayouts/slideLayout25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3" name="Google Shape;1723;p17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24" name="Google Shape;1724;p17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25" name="Google Shape;1725;p17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26" name="Google Shape;1726;p1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7" name="Google Shape;1727;p1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28" name="Google Shape;1728;p1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29" name="Google Shape;1729;p17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10025266"/>
      </p:ext>
    </p:extLst>
  </p:cSld>
  <p:clrMapOvr>
    <a:masterClrMapping/>
  </p:clrMapOvr>
</p:sldLayout>
</file>

<file path=ppt/slideLayouts/slideLayout25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5_Quotation">
    <p:spTree>
      <p:nvGrpSpPr>
        <p:cNvPr id="1" name="Shape 1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3" name="Google Shape;1683;p1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4" name="Google Shape;1684;p1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5" name="Google Shape;1685;p1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6" name="Google Shape;1686;p1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7" name="Google Shape;1687;p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8" name="Google Shape;1688;p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89" name="Google Shape;1689;p1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90" name="Google Shape;1690;p17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1" name="Google Shape;1691;p1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2" name="Google Shape;1692;p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3" name="Google Shape;1693;p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94" name="Google Shape;1694;p17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50846321"/>
      </p:ext>
    </p:extLst>
  </p:cSld>
  <p:clrMapOvr>
    <a:masterClrMapping/>
  </p:clrMapOvr>
</p:sldLayout>
</file>

<file path=ppt/slideLayouts/slideLayout2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1_EVERYDAY - CONTENT ONLY">
    <p:spTree>
      <p:nvGrpSpPr>
        <p:cNvPr id="1" name="Shape 1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6" name="Google Shape;1696;p17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7" name="Google Shape;1697;p17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98" name="Google Shape;1698;p17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9" name="Google Shape;1699;p17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00" name="Google Shape;1700;p17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1" name="Google Shape;1701;p17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2" name="Google Shape;1702;p17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3" name="Google Shape;1703;p17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04" name="Google Shape;1704;p17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38565575"/>
      </p:ext>
    </p:extLst>
  </p:cSld>
  <p:clrMapOvr>
    <a:masterClrMapping/>
  </p:clrMapOvr>
</p:sldLayout>
</file>

<file path=ppt/slideLayouts/slideLayout25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17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7" name="Google Shape;1707;p17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8" name="Google Shape;1708;p17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09" name="Google Shape;1709;p17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10" name="Google Shape;1710;p17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11" name="Google Shape;1711;p1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2" name="Google Shape;1712;p17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3" name="Google Shape;1713;p17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72350897"/>
      </p:ext>
    </p:extLst>
  </p:cSld>
  <p:clrMapOvr>
    <a:masterClrMapping/>
  </p:clrMapOvr>
</p:sldLayout>
</file>

<file path=ppt/slideLayouts/slideLayout25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7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5" name="Google Shape;1715;p1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16" name="Google Shape;1716;p1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7" name="Google Shape;1717;p1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8" name="Google Shape;1718;p1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9" name="Google Shape;1719;p17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20" name="Google Shape;1720;p1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1" name="Google Shape;1721;p1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82702127"/>
      </p:ext>
    </p:extLst>
  </p:cSld>
  <p:clrMapOvr>
    <a:masterClrMapping/>
  </p:clrMapOvr>
</p:sldLayout>
</file>

<file path=ppt/slideLayouts/slideLayout25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3" name="Google Shape;1723;p17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24" name="Google Shape;1724;p17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25" name="Google Shape;1725;p17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26" name="Google Shape;1726;p1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7" name="Google Shape;1727;p1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28" name="Google Shape;1728;p1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29" name="Google Shape;1729;p17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2029244"/>
      </p:ext>
    </p:extLst>
  </p:cSld>
  <p:clrMapOvr>
    <a:masterClrMapping/>
  </p:clrMapOvr>
</p:sldLayout>
</file>

<file path=ppt/slideLayouts/slideLayout25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p1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32" name="Google Shape;1732;p1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3" name="Google Shape;1733;p1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34" name="Google Shape;1734;p1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35" name="Google Shape;1735;p17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36" name="Google Shape;1736;p1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37" name="Google Shape;1737;p1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8" name="Google Shape;1738;p1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8403387"/>
      </p:ext>
    </p:extLst>
  </p:cSld>
  <p:clrMapOvr>
    <a:masterClrMapping/>
  </p:clrMapOvr>
</p:sldLayout>
</file>

<file path=ppt/slideLayouts/slideLayout25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" name="Google Shape;1740;p1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41" name="Google Shape;1741;p1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2" name="Google Shape;1742;p1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3" name="Google Shape;1743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4" name="Google Shape;1744;p1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5" name="Google Shape;1745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46" name="Google Shape;1746;p1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7" name="Google Shape;1747;p17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8" name="Google Shape;1748;p1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49" name="Google Shape;1749;p1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0" name="Google Shape;1750;p1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51" name="Google Shape;1751;p17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1928485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1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7" name="Google Shape;1807;p18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8" name="Google Shape;1808;p18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9" name="Google Shape;1809;p1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1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1" name="Google Shape;1811;p1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2" name="Google Shape;1812;p1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3" name="Google Shape;1813;p1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14" name="Google Shape;1814;p18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15" name="Google Shape;1815;p1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16" name="Google Shape;1816;p1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7" name="Google Shape;1817;p1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18" name="Google Shape;1818;p18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3" name="Google Shape;1753;p1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4" name="Google Shape;1754;p17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55" name="Google Shape;1755;p1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6" name="Google Shape;1756;p17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57" name="Google Shape;1757;p1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58" name="Google Shape;1758;p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9" name="Google Shape;1759;p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60" name="Google Shape;1760;p17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1" name="Google Shape;1761;p17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2" name="Google Shape;1762;p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3" name="Google Shape;1763;p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62636531"/>
      </p:ext>
    </p:extLst>
  </p:cSld>
  <p:clrMapOvr>
    <a:masterClrMapping/>
  </p:clrMapOvr>
</p:sldLayout>
</file>

<file path=ppt/slideLayouts/slideLayout25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5" name="Google Shape;1765;p1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6" name="Google Shape;1766;p18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7" name="Google Shape;1767;p1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8" name="Google Shape;1768;p1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9" name="Google Shape;1769;p1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70" name="Google Shape;1770;p1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1" name="Google Shape;1771;p18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2" name="Google Shape;1772;p18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3" name="Google Shape;1773;p18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4" name="Google Shape;1774;p18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5" name="Google Shape;1775;p1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76" name="Google Shape;1776;p1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7" name="Google Shape;1777;p1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56880425"/>
      </p:ext>
    </p:extLst>
  </p:cSld>
  <p:clrMapOvr>
    <a:masterClrMapping/>
  </p:clrMapOvr>
</p:sldLayout>
</file>

<file path=ppt/slideLayouts/slideLayout25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9" name="Google Shape;1779;p1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0" name="Google Shape;1780;p18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1" name="Google Shape;1781;p1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2" name="Google Shape;1782;p1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3" name="Google Shape;1783;p1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84" name="Google Shape;1784;p1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5" name="Google Shape;1785;p1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6" name="Google Shape;1786;p1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7" name="Google Shape;1787;p1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46172000"/>
      </p:ext>
    </p:extLst>
  </p:cSld>
  <p:clrMapOvr>
    <a:masterClrMapping/>
  </p:clrMapOvr>
</p:sldLayout>
</file>

<file path=ppt/slideLayouts/slideLayout25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9" name="Google Shape;1789;p1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90" name="Google Shape;1790;p1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1" name="Google Shape;1791;p1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92" name="Google Shape;1792;p18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93" name="Google Shape;1793;p1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4" name="Google Shape;1794;p1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95" name="Google Shape;1795;p18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96" name="Google Shape;1796;p1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325245192"/>
      </p:ext>
    </p:extLst>
  </p:cSld>
  <p:clrMapOvr>
    <a:masterClrMapping/>
  </p:clrMapOvr>
</p:sldLayout>
</file>

<file path=ppt/slideLayouts/slideLayout25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8" name="Google Shape;1798;p1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9" name="Google Shape;1799;p1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0" name="Google Shape;1800;p1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01" name="Google Shape;1801;p1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02" name="Google Shape;1802;p18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3" name="Google Shape;1803;p1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04" name="Google Shape;1804;p1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5" name="Google Shape;1805;p1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5141768"/>
      </p:ext>
    </p:extLst>
  </p:cSld>
  <p:clrMapOvr>
    <a:masterClrMapping/>
  </p:clrMapOvr>
</p:sldLayout>
</file>

<file path=ppt/slideLayouts/slideLayout25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5_Quotation">
    <p:spTree>
      <p:nvGrpSpPr>
        <p:cNvPr id="1" name="Shape 1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7" name="Google Shape;1807;p18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8" name="Google Shape;1808;p18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9" name="Google Shape;1809;p1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1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1" name="Google Shape;1811;p1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2" name="Google Shape;1812;p1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3" name="Google Shape;1813;p1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14" name="Google Shape;1814;p18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15" name="Google Shape;1815;p1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16" name="Google Shape;1816;p1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7" name="Google Shape;1817;p1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18" name="Google Shape;1818;p18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07759292"/>
      </p:ext>
    </p:extLst>
  </p:cSld>
  <p:clrMapOvr>
    <a:masterClrMapping/>
  </p:clrMapOvr>
</p:sldLayout>
</file>

<file path=ppt/slideLayouts/slideLayout25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1_Cover B">
    <p:spTree>
      <p:nvGrpSpPr>
        <p:cNvPr id="1" name="Shape 1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0" name="Google Shape;1820;p185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1" name="Google Shape;1821;p185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822" name="Google Shape;1822;p185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823" name="Google Shape;1823;p185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4" name="Google Shape;1824;p185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825" name="Google Shape;1825;p18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9932007"/>
      </p:ext>
    </p:extLst>
  </p:cSld>
  <p:clrMapOvr>
    <a:masterClrMapping/>
  </p:clrMapOvr>
</p:sldLayout>
</file>

<file path=ppt/slideLayouts/slideLayout25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8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7" name="Google Shape;1827;p1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8" name="Google Shape;1828;p1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9" name="Google Shape;1829;p1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30" name="Google Shape;1830;p1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31" name="Google Shape;1831;p1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32" name="Google Shape;1832;p1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3" name="Google Shape;1833;p1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34" name="Google Shape;1834;p18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682406173"/>
      </p:ext>
    </p:extLst>
  </p:cSld>
  <p:clrMapOvr>
    <a:masterClrMapping/>
  </p:clrMapOvr>
</p:sldLayout>
</file>

<file path=ppt/slideLayouts/slideLayout25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6" name="Google Shape;1836;p1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37" name="Google Shape;1837;p1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8" name="Google Shape;1838;p1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9" name="Google Shape;1839;p1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40" name="Google Shape;1840;p18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41" name="Google Shape;1841;p1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2" name="Google Shape;1842;p1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56887191"/>
      </p:ext>
    </p:extLst>
  </p:cSld>
  <p:clrMapOvr>
    <a:masterClrMapping/>
  </p:clrMapOvr>
</p:sldLayout>
</file>

<file path=ppt/slideLayouts/slideLayout25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" name="Google Shape;1844;p1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45" name="Google Shape;1845;p1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46" name="Google Shape;1846;p1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47" name="Google Shape;1847;p1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8" name="Google Shape;1848;p1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49" name="Google Shape;1849;p1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50" name="Google Shape;1850;p1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59737807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3">
    <p:spTree>
      <p:nvGrpSpPr>
        <p:cNvPr id="1" name="Shape 1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0" name="Google Shape;1820;p185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1" name="Google Shape;1821;p185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822" name="Google Shape;1822;p185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823" name="Google Shape;1823;p185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4" name="Google Shape;1824;p185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825" name="Google Shape;1825;p18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p1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3" name="Google Shape;1853;p1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1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5" name="Google Shape;1855;p1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56" name="Google Shape;1856;p1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57" name="Google Shape;1857;p1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58" name="Google Shape;1858;p1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9" name="Google Shape;1859;p18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0" name="Google Shape;1860;p1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61" name="Google Shape;1861;p1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2" name="Google Shape;1862;p1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63" name="Google Shape;1863;p1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37974358"/>
      </p:ext>
    </p:extLst>
  </p:cSld>
  <p:clrMapOvr>
    <a:masterClrMapping/>
  </p:clrMapOvr>
</p:sldLayout>
</file>

<file path=ppt/slideLayouts/slideLayout25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Google Shape;1865;p1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6" name="Google Shape;1866;p1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7" name="Google Shape;1867;p1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8" name="Google Shape;1868;p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69" name="Google Shape;1869;p1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70" name="Google Shape;1870;p1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71" name="Google Shape;1871;p1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2" name="Google Shape;1872;p19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73" name="Google Shape;1873;p1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4" name="Google Shape;1874;p1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5" name="Google Shape;1875;p1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76" name="Google Shape;1876;p1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52783589"/>
      </p:ext>
    </p:extLst>
  </p:cSld>
  <p:clrMapOvr>
    <a:masterClrMapping/>
  </p:clrMapOvr>
</p:sldLayout>
</file>

<file path=ppt/slideLayouts/slideLayout25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78" name="Google Shape;1878;p1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9" name="Google Shape;1879;p19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0" name="Google Shape;1880;p1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1" name="Google Shape;1881;p1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2" name="Google Shape;1882;p1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83" name="Google Shape;1883;p1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4" name="Google Shape;1884;p1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5" name="Google Shape;1885;p1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6" name="Google Shape;1886;p1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7" name="Google Shape;1887;p1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64306314"/>
      </p:ext>
    </p:extLst>
  </p:cSld>
  <p:clrMapOvr>
    <a:masterClrMapping/>
  </p:clrMapOvr>
</p:sldLayout>
</file>

<file path=ppt/slideLayouts/slideLayout25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9" name="Google Shape;1889;p1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0" name="Google Shape;1890;p1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891" name="Google Shape;1891;p1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2" name="Google Shape;1892;p19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3" name="Google Shape;1893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4" name="Google Shape;1894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5" name="Google Shape;1895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6" name="Google Shape;1896;p1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7" name="Google Shape;1897;p1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8" name="Google Shape;1898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9" name="Google Shape;1899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24946935"/>
      </p:ext>
    </p:extLst>
  </p:cSld>
  <p:clrMapOvr>
    <a:masterClrMapping/>
  </p:clrMapOvr>
</p:sldLayout>
</file>

<file path=ppt/slideLayouts/slideLayout25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1" name="Google Shape;1901;p1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2" name="Google Shape;1902;p19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3" name="Google Shape;1903;p1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4" name="Google Shape;1904;p1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5" name="Google Shape;1905;p1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6" name="Google Shape;1906;p1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7" name="Google Shape;1907;p1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08" name="Google Shape;1908;p1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1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10" name="Google Shape;1910;p1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1" name="Google Shape;1911;p1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2" name="Google Shape;1912;p1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3" name="Google Shape;1913;p1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10960783"/>
      </p:ext>
    </p:extLst>
  </p:cSld>
  <p:clrMapOvr>
    <a:masterClrMapping/>
  </p:clrMapOvr>
</p:sldLayout>
</file>

<file path=ppt/slideLayouts/slideLayout25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15" name="Google Shape;1915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6" name="Google Shape;1916;p19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7" name="Google Shape;1917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8" name="Google Shape;1918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9" name="Google Shape;1919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0" name="Google Shape;1920;p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1" name="Google Shape;1921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2" name="Google Shape;1922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3" name="Google Shape;1923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66250596"/>
      </p:ext>
    </p:extLst>
  </p:cSld>
  <p:clrMapOvr>
    <a:masterClrMapping/>
  </p:clrMapOvr>
</p:sldLayout>
</file>

<file path=ppt/slideLayouts/slideLayout25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5" name="Google Shape;1925;p1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26" name="Google Shape;1926;p1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7" name="Google Shape;1927;p1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28" name="Google Shape;1928;p1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9" name="Google Shape;1929;p1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0" name="Google Shape;1930;p1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31" name="Google Shape;1931;p19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32" name="Google Shape;1932;p1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632731482"/>
      </p:ext>
    </p:extLst>
  </p:cSld>
  <p:clrMapOvr>
    <a:masterClrMapping/>
  </p:clrMapOvr>
</p:sldLayout>
</file>

<file path=ppt/slideLayouts/slideLayout25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4" name="Google Shape;1934;p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5" name="Google Shape;1935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6" name="Google Shape;1936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37" name="Google Shape;1937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38" name="Google Shape;1938;p19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39" name="Google Shape;1939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40" name="Google Shape;1940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1" name="Google Shape;1941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3082670"/>
      </p:ext>
    </p:extLst>
  </p:cSld>
  <p:clrMapOvr>
    <a:masterClrMapping/>
  </p:clrMapOvr>
</p:sldLayout>
</file>

<file path=ppt/slideLayouts/slideLayout25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" name="Google Shape;1740;p1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41" name="Google Shape;1741;p1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2" name="Google Shape;1742;p1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3" name="Google Shape;1743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4" name="Google Shape;1744;p1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5" name="Google Shape;1745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46" name="Google Shape;1746;p1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7" name="Google Shape;1747;p17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8" name="Google Shape;1748;p1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49" name="Google Shape;1749;p1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0" name="Google Shape;1750;p1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51" name="Google Shape;1751;p17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68175135"/>
      </p:ext>
    </p:extLst>
  </p:cSld>
  <p:clrMapOvr>
    <a:masterClrMapping/>
  </p:clrMapOvr>
</p:sldLayout>
</file>

<file path=ppt/slideLayouts/slideLayout25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3" name="Google Shape;1753;p1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4" name="Google Shape;1754;p17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55" name="Google Shape;1755;p1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6" name="Google Shape;1756;p17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57" name="Google Shape;1757;p1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58" name="Google Shape;1758;p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9" name="Google Shape;1759;p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60" name="Google Shape;1760;p17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1" name="Google Shape;1761;p17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2" name="Google Shape;1762;p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3" name="Google Shape;1763;p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6621787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8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7" name="Google Shape;1827;p1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8" name="Google Shape;1828;p1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9" name="Google Shape;1829;p1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30" name="Google Shape;1830;p1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31" name="Google Shape;1831;p1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32" name="Google Shape;1832;p1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3" name="Google Shape;1833;p1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34" name="Google Shape;1834;p18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5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5" name="Google Shape;1765;p1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6" name="Google Shape;1766;p18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7" name="Google Shape;1767;p1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8" name="Google Shape;1768;p1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9" name="Google Shape;1769;p1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70" name="Google Shape;1770;p1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1" name="Google Shape;1771;p18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2" name="Google Shape;1772;p18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3" name="Google Shape;1773;p18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4" name="Google Shape;1774;p18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5" name="Google Shape;1775;p1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76" name="Google Shape;1776;p1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7" name="Google Shape;1777;p1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34502438"/>
      </p:ext>
    </p:extLst>
  </p:cSld>
  <p:clrMapOvr>
    <a:masterClrMapping/>
  </p:clrMapOvr>
</p:sldLayout>
</file>

<file path=ppt/slideLayouts/slideLayout25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9" name="Google Shape;1779;p1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0" name="Google Shape;1780;p18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1" name="Google Shape;1781;p1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2" name="Google Shape;1782;p1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3" name="Google Shape;1783;p1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84" name="Google Shape;1784;p1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5" name="Google Shape;1785;p1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6" name="Google Shape;1786;p1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7" name="Google Shape;1787;p1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29234741"/>
      </p:ext>
    </p:extLst>
  </p:cSld>
  <p:clrMapOvr>
    <a:masterClrMapping/>
  </p:clrMapOvr>
</p:sldLayout>
</file>

<file path=ppt/slideLayouts/slideLayout25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9" name="Google Shape;1789;p1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90" name="Google Shape;1790;p1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1" name="Google Shape;1791;p1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92" name="Google Shape;1792;p18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93" name="Google Shape;1793;p1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4" name="Google Shape;1794;p1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95" name="Google Shape;1795;p18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96" name="Google Shape;1796;p1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4119172686"/>
      </p:ext>
    </p:extLst>
  </p:cSld>
  <p:clrMapOvr>
    <a:masterClrMapping/>
  </p:clrMapOvr>
</p:sldLayout>
</file>

<file path=ppt/slideLayouts/slideLayout25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8" name="Google Shape;1798;p1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9" name="Google Shape;1799;p1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0" name="Google Shape;1800;p1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01" name="Google Shape;1801;p1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02" name="Google Shape;1802;p18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3" name="Google Shape;1803;p1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04" name="Google Shape;1804;p1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5" name="Google Shape;1805;p1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43096339"/>
      </p:ext>
    </p:extLst>
  </p:cSld>
  <p:clrMapOvr>
    <a:masterClrMapping/>
  </p:clrMapOvr>
</p:sldLayout>
</file>

<file path=ppt/slideLayouts/slideLayout25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5_Quotation">
    <p:spTree>
      <p:nvGrpSpPr>
        <p:cNvPr id="1" name="Shape 1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7" name="Google Shape;1807;p18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8" name="Google Shape;1808;p18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9" name="Google Shape;1809;p1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1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1" name="Google Shape;1811;p1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2" name="Google Shape;1812;p1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3" name="Google Shape;1813;p1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14" name="Google Shape;1814;p18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15" name="Google Shape;1815;p1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16" name="Google Shape;1816;p1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7" name="Google Shape;1817;p1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18" name="Google Shape;1818;p18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16918575"/>
      </p:ext>
    </p:extLst>
  </p:cSld>
  <p:clrMapOvr>
    <a:masterClrMapping/>
  </p:clrMapOvr>
</p:sldLayout>
</file>

<file path=ppt/slideLayouts/slideLayout25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8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7" name="Google Shape;1827;p1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8" name="Google Shape;1828;p1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9" name="Google Shape;1829;p1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30" name="Google Shape;1830;p1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31" name="Google Shape;1831;p1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32" name="Google Shape;1832;p1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3" name="Google Shape;1833;p1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34" name="Google Shape;1834;p18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66949318"/>
      </p:ext>
    </p:extLst>
  </p:cSld>
  <p:clrMapOvr>
    <a:masterClrMapping/>
  </p:clrMapOvr>
</p:sldLayout>
</file>

<file path=ppt/slideLayouts/slideLayout25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6" name="Google Shape;1836;p1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37" name="Google Shape;1837;p1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8" name="Google Shape;1838;p1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9" name="Google Shape;1839;p1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40" name="Google Shape;1840;p18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41" name="Google Shape;1841;p1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2" name="Google Shape;1842;p1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58647534"/>
      </p:ext>
    </p:extLst>
  </p:cSld>
  <p:clrMapOvr>
    <a:masterClrMapping/>
  </p:clrMapOvr>
</p:sldLayout>
</file>

<file path=ppt/slideLayouts/slideLayout25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" name="Google Shape;1844;p1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45" name="Google Shape;1845;p1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46" name="Google Shape;1846;p1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47" name="Google Shape;1847;p1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8" name="Google Shape;1848;p1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49" name="Google Shape;1849;p1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50" name="Google Shape;1850;p1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28869794"/>
      </p:ext>
    </p:extLst>
  </p:cSld>
  <p:clrMapOvr>
    <a:masterClrMapping/>
  </p:clrMapOvr>
</p:sldLayout>
</file>

<file path=ppt/slideLayouts/slideLayout25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p1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3" name="Google Shape;1853;p1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1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5" name="Google Shape;1855;p1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56" name="Google Shape;1856;p1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57" name="Google Shape;1857;p1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58" name="Google Shape;1858;p1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9" name="Google Shape;1859;p18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0" name="Google Shape;1860;p1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61" name="Google Shape;1861;p1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2" name="Google Shape;1862;p1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63" name="Google Shape;1863;p1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35392949"/>
      </p:ext>
    </p:extLst>
  </p:cSld>
  <p:clrMapOvr>
    <a:masterClrMapping/>
  </p:clrMapOvr>
</p:sldLayout>
</file>

<file path=ppt/slideLayouts/slideLayout25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Google Shape;1865;p1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6" name="Google Shape;1866;p1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7" name="Google Shape;1867;p1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8" name="Google Shape;1868;p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69" name="Google Shape;1869;p1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70" name="Google Shape;1870;p1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71" name="Google Shape;1871;p1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2" name="Google Shape;1872;p19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73" name="Google Shape;1873;p1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4" name="Google Shape;1874;p1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5" name="Google Shape;1875;p1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76" name="Google Shape;1876;p1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243464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1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6" name="Google Shape;1836;p1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37" name="Google Shape;1837;p1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8" name="Google Shape;1838;p1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9" name="Google Shape;1839;p1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40" name="Google Shape;1840;p18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41" name="Google Shape;1841;p1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2" name="Google Shape;1842;p1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5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78" name="Google Shape;1878;p1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9" name="Google Shape;1879;p19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0" name="Google Shape;1880;p1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1" name="Google Shape;1881;p1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2" name="Google Shape;1882;p1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83" name="Google Shape;1883;p1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4" name="Google Shape;1884;p1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5" name="Google Shape;1885;p1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6" name="Google Shape;1886;p1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7" name="Google Shape;1887;p1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03733078"/>
      </p:ext>
    </p:extLst>
  </p:cSld>
  <p:clrMapOvr>
    <a:masterClrMapping/>
  </p:clrMapOvr>
</p:sldLayout>
</file>

<file path=ppt/slideLayouts/slideLayout25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9" name="Google Shape;1889;p1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0" name="Google Shape;1890;p1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891" name="Google Shape;1891;p1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2" name="Google Shape;1892;p19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3" name="Google Shape;1893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4" name="Google Shape;1894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5" name="Google Shape;1895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6" name="Google Shape;1896;p1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7" name="Google Shape;1897;p1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8" name="Google Shape;1898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9" name="Google Shape;1899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05211937"/>
      </p:ext>
    </p:extLst>
  </p:cSld>
  <p:clrMapOvr>
    <a:masterClrMapping/>
  </p:clrMapOvr>
</p:sldLayout>
</file>

<file path=ppt/slideLayouts/slideLayout25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1" name="Google Shape;1901;p1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2" name="Google Shape;1902;p19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3" name="Google Shape;1903;p1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4" name="Google Shape;1904;p1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5" name="Google Shape;1905;p1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6" name="Google Shape;1906;p1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7" name="Google Shape;1907;p1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08" name="Google Shape;1908;p1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1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10" name="Google Shape;1910;p1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1" name="Google Shape;1911;p1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2" name="Google Shape;1912;p1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3" name="Google Shape;1913;p1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81757875"/>
      </p:ext>
    </p:extLst>
  </p:cSld>
  <p:clrMapOvr>
    <a:masterClrMapping/>
  </p:clrMapOvr>
</p:sldLayout>
</file>

<file path=ppt/slideLayouts/slideLayout25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15" name="Google Shape;1915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6" name="Google Shape;1916;p19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7" name="Google Shape;1917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8" name="Google Shape;1918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9" name="Google Shape;1919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0" name="Google Shape;1920;p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1" name="Google Shape;1921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2" name="Google Shape;1922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3" name="Google Shape;1923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99783490"/>
      </p:ext>
    </p:extLst>
  </p:cSld>
  <p:clrMapOvr>
    <a:masterClrMapping/>
  </p:clrMapOvr>
</p:sldLayout>
</file>

<file path=ppt/slideLayouts/slideLayout25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5" name="Google Shape;1925;p1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26" name="Google Shape;1926;p1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7" name="Google Shape;1927;p1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28" name="Google Shape;1928;p1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9" name="Google Shape;1929;p1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0" name="Google Shape;1930;p1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31" name="Google Shape;1931;p19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32" name="Google Shape;1932;p1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858100342"/>
      </p:ext>
    </p:extLst>
  </p:cSld>
  <p:clrMapOvr>
    <a:masterClrMapping/>
  </p:clrMapOvr>
</p:sldLayout>
</file>

<file path=ppt/slideLayouts/slideLayout25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4" name="Google Shape;1934;p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5" name="Google Shape;1935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6" name="Google Shape;1936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37" name="Google Shape;1937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38" name="Google Shape;1938;p19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39" name="Google Shape;1939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40" name="Google Shape;1940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1" name="Google Shape;1941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35190940"/>
      </p:ext>
    </p:extLst>
  </p:cSld>
  <p:clrMapOvr>
    <a:masterClrMapping/>
  </p:clrMapOvr>
</p:sldLayout>
</file>

<file path=ppt/slideLayouts/slideLayout2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2_Title Slide">
    <p:bg>
      <p:bgPr>
        <a:solidFill>
          <a:schemeClr val="lt1"/>
        </a:solidFill>
        <a:effectLst/>
      </p:bgPr>
    </p:bg>
    <p:spTree>
      <p:nvGrpSpPr>
        <p:cNvPr id="1" name="Shape 19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3" name="Google Shape;1943;p197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4" name="Google Shape;1944;p19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5" name="Google Shape;1945;p19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946" name="Google Shape;1946;p197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7" name="Google Shape;1947;p197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948" name="Google Shape;1948;p197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9" name="Google Shape;1949;p197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0" name="Google Shape;1950;p197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1" name="Google Shape;1951;p1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2" name="Google Shape;1952;p19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53" name="Google Shape;1953;p1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07725653"/>
      </p:ext>
    </p:extLst>
  </p:cSld>
  <p:clrMapOvr>
    <a:masterClrMapping/>
  </p:clrMapOvr>
</p:sldLayout>
</file>

<file path=ppt/slideLayouts/slideLayout25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5_Quotation"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19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19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7" name="Google Shape;1957;p19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8" name="Google Shape;1958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9" name="Google Shape;1959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0" name="Google Shape;1960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1" name="Google Shape;1961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2" name="Google Shape;1962;p19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3" name="Google Shape;1963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64" name="Google Shape;1964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5" name="Google Shape;1965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66" name="Google Shape;1966;p19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56849476"/>
      </p:ext>
    </p:extLst>
  </p:cSld>
  <p:clrMapOvr>
    <a:masterClrMapping/>
  </p:clrMapOvr>
</p:sldLayout>
</file>

<file path=ppt/slideLayouts/slideLayout25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5_Quotation"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19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19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7" name="Google Shape;1957;p19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8" name="Google Shape;1958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9" name="Google Shape;1959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0" name="Google Shape;1960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1" name="Google Shape;1961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2" name="Google Shape;1962;p19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3" name="Google Shape;1963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64" name="Google Shape;1964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5" name="Google Shape;1965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66" name="Google Shape;1966;p19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97376082"/>
      </p:ext>
    </p:extLst>
  </p:cSld>
  <p:clrMapOvr>
    <a:masterClrMapping/>
  </p:clrMapOvr>
</p:sldLayout>
</file>

<file path=ppt/slideLayouts/slideLayout25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9"/>
          <p:cNvSpPr/>
          <p:nvPr/>
        </p:nvSpPr>
        <p:spPr>
          <a:xfrm flipH="1">
            <a:off x="-17261" y="2735667"/>
            <a:ext cx="12226784" cy="4153423"/>
          </a:xfrm>
          <a:custGeom>
            <a:avLst/>
            <a:gdLst/>
            <a:ahLst/>
            <a:cxnLst/>
            <a:rect l="l" t="t" r="r" b="b"/>
            <a:pathLst>
              <a:path w="285317" h="115437" extrusionOk="0">
                <a:moveTo>
                  <a:pt x="1114" y="1"/>
                </a:moveTo>
                <a:cubicBezTo>
                  <a:pt x="743" y="1"/>
                  <a:pt x="371" y="4"/>
                  <a:pt x="0" y="10"/>
                </a:cubicBezTo>
                <a:lnTo>
                  <a:pt x="0" y="115437"/>
                </a:lnTo>
                <a:lnTo>
                  <a:pt x="285316" y="115437"/>
                </a:lnTo>
                <a:lnTo>
                  <a:pt x="285316" y="16649"/>
                </a:lnTo>
                <a:cubicBezTo>
                  <a:pt x="275981" y="17517"/>
                  <a:pt x="266737" y="22219"/>
                  <a:pt x="260505" y="29363"/>
                </a:cubicBezTo>
                <a:cubicBezTo>
                  <a:pt x="255233" y="35366"/>
                  <a:pt x="250873" y="43355"/>
                  <a:pt x="243067" y="45021"/>
                </a:cubicBezTo>
                <a:cubicBezTo>
                  <a:pt x="241949" y="45253"/>
                  <a:pt x="240817" y="45339"/>
                  <a:pt x="239680" y="45339"/>
                </a:cubicBezTo>
                <a:cubicBezTo>
                  <a:pt x="237914" y="45339"/>
                  <a:pt x="236134" y="45133"/>
                  <a:pt x="234370" y="44952"/>
                </a:cubicBezTo>
                <a:cubicBezTo>
                  <a:pt x="231734" y="44685"/>
                  <a:pt x="229019" y="44498"/>
                  <a:pt x="226316" y="44498"/>
                </a:cubicBezTo>
                <a:cubicBezTo>
                  <a:pt x="219329" y="44498"/>
                  <a:pt x="212416" y="45750"/>
                  <a:pt x="207117" y="50111"/>
                </a:cubicBezTo>
                <a:cubicBezTo>
                  <a:pt x="200087" y="55886"/>
                  <a:pt x="197850" y="65495"/>
                  <a:pt x="194997" y="74169"/>
                </a:cubicBezTo>
                <a:cubicBezTo>
                  <a:pt x="192166" y="82842"/>
                  <a:pt x="187168" y="92178"/>
                  <a:pt x="178288" y="94255"/>
                </a:cubicBezTo>
                <a:cubicBezTo>
                  <a:pt x="177041" y="94543"/>
                  <a:pt x="175796" y="94669"/>
                  <a:pt x="174551" y="94669"/>
                </a:cubicBezTo>
                <a:cubicBezTo>
                  <a:pt x="165708" y="94669"/>
                  <a:pt x="156917" y="88301"/>
                  <a:pt x="148045" y="88301"/>
                </a:cubicBezTo>
                <a:cubicBezTo>
                  <a:pt x="146875" y="88301"/>
                  <a:pt x="145703" y="88412"/>
                  <a:pt x="144530" y="88663"/>
                </a:cubicBezTo>
                <a:cubicBezTo>
                  <a:pt x="141060" y="89393"/>
                  <a:pt x="137956" y="91333"/>
                  <a:pt x="134646" y="92612"/>
                </a:cubicBezTo>
                <a:cubicBezTo>
                  <a:pt x="131720" y="93737"/>
                  <a:pt x="128631" y="94264"/>
                  <a:pt x="125532" y="94264"/>
                </a:cubicBezTo>
                <a:cubicBezTo>
                  <a:pt x="113985" y="94264"/>
                  <a:pt x="102305" y="86940"/>
                  <a:pt x="98400" y="75926"/>
                </a:cubicBezTo>
                <a:cubicBezTo>
                  <a:pt x="97190" y="72525"/>
                  <a:pt x="96642" y="68873"/>
                  <a:pt x="94930" y="65678"/>
                </a:cubicBezTo>
                <a:cubicBezTo>
                  <a:pt x="90993" y="58324"/>
                  <a:pt x="81998" y="55419"/>
                  <a:pt x="73534" y="55419"/>
                </a:cubicBezTo>
                <a:cubicBezTo>
                  <a:pt x="72724" y="55419"/>
                  <a:pt x="71919" y="55446"/>
                  <a:pt x="71124" y="55498"/>
                </a:cubicBezTo>
                <a:cubicBezTo>
                  <a:pt x="62016" y="56114"/>
                  <a:pt x="53160" y="59195"/>
                  <a:pt x="44030" y="59264"/>
                </a:cubicBezTo>
                <a:cubicBezTo>
                  <a:pt x="43906" y="59265"/>
                  <a:pt x="43782" y="59266"/>
                  <a:pt x="43658" y="59266"/>
                </a:cubicBezTo>
                <a:cubicBezTo>
                  <a:pt x="41834" y="59266"/>
                  <a:pt x="39970" y="59093"/>
                  <a:pt x="38347" y="58260"/>
                </a:cubicBezTo>
                <a:cubicBezTo>
                  <a:pt x="34261" y="56205"/>
                  <a:pt x="33120" y="50727"/>
                  <a:pt x="33964" y="46208"/>
                </a:cubicBezTo>
                <a:cubicBezTo>
                  <a:pt x="34809" y="41688"/>
                  <a:pt x="37091" y="37557"/>
                  <a:pt x="37958" y="33038"/>
                </a:cubicBezTo>
                <a:cubicBezTo>
                  <a:pt x="40241" y="21169"/>
                  <a:pt x="31864" y="9117"/>
                  <a:pt x="20908" y="3981"/>
                </a:cubicBezTo>
                <a:cubicBezTo>
                  <a:pt x="14632" y="1016"/>
                  <a:pt x="7904" y="1"/>
                  <a:pt x="1114" y="1"/>
                </a:cubicBezTo>
                <a:close/>
              </a:path>
            </a:pathLst>
          </a:custGeom>
          <a:solidFill>
            <a:schemeClr val="lt1">
              <a:alpha val="4024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50" name="Google Shape;150;p9"/>
          <p:cNvSpPr txBox="1">
            <a:spLocks noGrp="1"/>
          </p:cNvSpPr>
          <p:nvPr>
            <p:ph type="title"/>
          </p:nvPr>
        </p:nvSpPr>
        <p:spPr>
          <a:xfrm>
            <a:off x="2540033" y="1086200"/>
            <a:ext cx="7112000" cy="112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6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1" name="Google Shape;151;p9"/>
          <p:cNvSpPr txBox="1">
            <a:spLocks noGrp="1"/>
          </p:cNvSpPr>
          <p:nvPr>
            <p:ph type="subTitle" idx="1"/>
          </p:nvPr>
        </p:nvSpPr>
        <p:spPr>
          <a:xfrm>
            <a:off x="2893867" y="2208600"/>
            <a:ext cx="6404400" cy="178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" name="Google Shape;152;p9"/>
          <p:cNvSpPr/>
          <p:nvPr/>
        </p:nvSpPr>
        <p:spPr>
          <a:xfrm flipH="1">
            <a:off x="279689" y="2690400"/>
            <a:ext cx="273520" cy="273520"/>
          </a:xfrm>
          <a:custGeom>
            <a:avLst/>
            <a:gdLst/>
            <a:ahLst/>
            <a:cxnLst/>
            <a:rect l="l" t="t" r="r" b="b"/>
            <a:pathLst>
              <a:path w="7602" h="7602" extrusionOk="0">
                <a:moveTo>
                  <a:pt x="2648" y="1"/>
                </a:moveTo>
                <a:cubicBezTo>
                  <a:pt x="2420" y="1"/>
                  <a:pt x="2237" y="183"/>
                  <a:pt x="2237" y="434"/>
                </a:cubicBezTo>
                <a:lnTo>
                  <a:pt x="2237" y="1804"/>
                </a:lnTo>
                <a:cubicBezTo>
                  <a:pt x="2237" y="2032"/>
                  <a:pt x="2032" y="2215"/>
                  <a:pt x="1804" y="2215"/>
                </a:cubicBezTo>
                <a:lnTo>
                  <a:pt x="434" y="2215"/>
                </a:lnTo>
                <a:cubicBezTo>
                  <a:pt x="206" y="2215"/>
                  <a:pt x="0" y="2420"/>
                  <a:pt x="0" y="2648"/>
                </a:cubicBezTo>
                <a:lnTo>
                  <a:pt x="0" y="4954"/>
                </a:lnTo>
                <a:cubicBezTo>
                  <a:pt x="0" y="5182"/>
                  <a:pt x="206" y="5387"/>
                  <a:pt x="434" y="5387"/>
                </a:cubicBezTo>
                <a:lnTo>
                  <a:pt x="1804" y="5387"/>
                </a:lnTo>
                <a:cubicBezTo>
                  <a:pt x="2032" y="5387"/>
                  <a:pt x="2237" y="5570"/>
                  <a:pt x="2237" y="5798"/>
                </a:cubicBezTo>
                <a:lnTo>
                  <a:pt x="2237" y="7168"/>
                </a:lnTo>
                <a:cubicBezTo>
                  <a:pt x="2237" y="7419"/>
                  <a:pt x="2420" y="7601"/>
                  <a:pt x="2648" y="7601"/>
                </a:cubicBezTo>
                <a:lnTo>
                  <a:pt x="4976" y="7601"/>
                </a:lnTo>
                <a:cubicBezTo>
                  <a:pt x="5205" y="7601"/>
                  <a:pt x="5387" y="7419"/>
                  <a:pt x="5387" y="7168"/>
                </a:cubicBezTo>
                <a:lnTo>
                  <a:pt x="5387" y="5798"/>
                </a:lnTo>
                <a:cubicBezTo>
                  <a:pt x="5387" y="5570"/>
                  <a:pt x="5570" y="5387"/>
                  <a:pt x="5798" y="5387"/>
                </a:cubicBezTo>
                <a:lnTo>
                  <a:pt x="7190" y="5387"/>
                </a:lnTo>
                <a:cubicBezTo>
                  <a:pt x="7419" y="5387"/>
                  <a:pt x="7601" y="5182"/>
                  <a:pt x="7601" y="4954"/>
                </a:cubicBezTo>
                <a:lnTo>
                  <a:pt x="7601" y="2648"/>
                </a:lnTo>
                <a:cubicBezTo>
                  <a:pt x="7601" y="2420"/>
                  <a:pt x="7419" y="2215"/>
                  <a:pt x="7190" y="2215"/>
                </a:cubicBezTo>
                <a:lnTo>
                  <a:pt x="5798" y="2215"/>
                </a:lnTo>
                <a:cubicBezTo>
                  <a:pt x="5570" y="2215"/>
                  <a:pt x="5387" y="2032"/>
                  <a:pt x="5387" y="1804"/>
                </a:cubicBezTo>
                <a:lnTo>
                  <a:pt x="5387" y="434"/>
                </a:lnTo>
                <a:cubicBezTo>
                  <a:pt x="5387" y="183"/>
                  <a:pt x="5205" y="1"/>
                  <a:pt x="4976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53" name="Google Shape;153;p9"/>
          <p:cNvSpPr/>
          <p:nvPr/>
        </p:nvSpPr>
        <p:spPr>
          <a:xfrm flipH="1">
            <a:off x="11819097" y="3465518"/>
            <a:ext cx="598743" cy="2244684"/>
          </a:xfrm>
          <a:custGeom>
            <a:avLst/>
            <a:gdLst/>
            <a:ahLst/>
            <a:cxnLst/>
            <a:rect l="l" t="t" r="r" b="b"/>
            <a:pathLst>
              <a:path w="16641" h="62387" extrusionOk="0">
                <a:moveTo>
                  <a:pt x="5438" y="1"/>
                </a:moveTo>
                <a:cubicBezTo>
                  <a:pt x="5170" y="1"/>
                  <a:pt x="4901" y="24"/>
                  <a:pt x="4634" y="73"/>
                </a:cubicBezTo>
                <a:cubicBezTo>
                  <a:pt x="2831" y="415"/>
                  <a:pt x="1393" y="1853"/>
                  <a:pt x="708" y="3543"/>
                </a:cubicBezTo>
                <a:cubicBezTo>
                  <a:pt x="0" y="5232"/>
                  <a:pt x="0" y="7103"/>
                  <a:pt x="274" y="8906"/>
                </a:cubicBezTo>
                <a:cubicBezTo>
                  <a:pt x="959" y="13152"/>
                  <a:pt x="3173" y="16964"/>
                  <a:pt x="4839" y="20913"/>
                </a:cubicBezTo>
                <a:cubicBezTo>
                  <a:pt x="6483" y="24884"/>
                  <a:pt x="7579" y="29472"/>
                  <a:pt x="5912" y="33421"/>
                </a:cubicBezTo>
                <a:cubicBezTo>
                  <a:pt x="5136" y="35224"/>
                  <a:pt x="3858" y="36776"/>
                  <a:pt x="3196" y="38602"/>
                </a:cubicBezTo>
                <a:cubicBezTo>
                  <a:pt x="2078" y="41752"/>
                  <a:pt x="2945" y="45267"/>
                  <a:pt x="3972" y="48440"/>
                </a:cubicBezTo>
                <a:cubicBezTo>
                  <a:pt x="4520" y="50083"/>
                  <a:pt x="5091" y="51727"/>
                  <a:pt x="5227" y="53461"/>
                </a:cubicBezTo>
                <a:cubicBezTo>
                  <a:pt x="5433" y="56566"/>
                  <a:pt x="4109" y="59556"/>
                  <a:pt x="2831" y="62386"/>
                </a:cubicBezTo>
                <a:cubicBezTo>
                  <a:pt x="7738" y="57889"/>
                  <a:pt x="9975" y="51110"/>
                  <a:pt x="9359" y="44560"/>
                </a:cubicBezTo>
                <a:cubicBezTo>
                  <a:pt x="9199" y="42802"/>
                  <a:pt x="8834" y="40999"/>
                  <a:pt x="9222" y="39264"/>
                </a:cubicBezTo>
                <a:cubicBezTo>
                  <a:pt x="9633" y="37392"/>
                  <a:pt x="10843" y="35817"/>
                  <a:pt x="11824" y="34174"/>
                </a:cubicBezTo>
                <a:cubicBezTo>
                  <a:pt x="16640" y="26117"/>
                  <a:pt x="15887" y="15777"/>
                  <a:pt x="12577" y="7012"/>
                </a:cubicBezTo>
                <a:cubicBezTo>
                  <a:pt x="11915" y="5209"/>
                  <a:pt x="11116" y="3406"/>
                  <a:pt x="9793" y="2036"/>
                </a:cubicBezTo>
                <a:cubicBezTo>
                  <a:pt x="8658" y="842"/>
                  <a:pt x="7053" y="1"/>
                  <a:pt x="5438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grpSp>
        <p:nvGrpSpPr>
          <p:cNvPr id="154" name="Google Shape;154;p9"/>
          <p:cNvGrpSpPr/>
          <p:nvPr/>
        </p:nvGrpSpPr>
        <p:grpSpPr>
          <a:xfrm flipH="1">
            <a:off x="11305841" y="2311747"/>
            <a:ext cx="1166040" cy="1974763"/>
            <a:chOff x="-117729" y="1733810"/>
            <a:chExt cx="874530" cy="1481072"/>
          </a:xfrm>
        </p:grpSpPr>
        <p:sp>
          <p:nvSpPr>
            <p:cNvPr id="155" name="Google Shape;155;p9"/>
            <p:cNvSpPr/>
            <p:nvPr/>
          </p:nvSpPr>
          <p:spPr>
            <a:xfrm>
              <a:off x="21973" y="1733810"/>
              <a:ext cx="518652" cy="505591"/>
            </a:xfrm>
            <a:custGeom>
              <a:avLst/>
              <a:gdLst/>
              <a:ahLst/>
              <a:cxnLst/>
              <a:rect l="l" t="t" r="r" b="b"/>
              <a:pathLst>
                <a:path w="19220" h="18736" extrusionOk="0">
                  <a:moveTo>
                    <a:pt x="9145" y="0"/>
                  </a:moveTo>
                  <a:cubicBezTo>
                    <a:pt x="9095" y="0"/>
                    <a:pt x="9044" y="1"/>
                    <a:pt x="8994" y="2"/>
                  </a:cubicBezTo>
                  <a:cubicBezTo>
                    <a:pt x="7190" y="48"/>
                    <a:pt x="5410" y="824"/>
                    <a:pt x="4132" y="2079"/>
                  </a:cubicBezTo>
                  <a:cubicBezTo>
                    <a:pt x="3675" y="2536"/>
                    <a:pt x="3264" y="3084"/>
                    <a:pt x="3127" y="3723"/>
                  </a:cubicBezTo>
                  <a:cubicBezTo>
                    <a:pt x="2945" y="4476"/>
                    <a:pt x="3173" y="5275"/>
                    <a:pt x="3493" y="6005"/>
                  </a:cubicBezTo>
                  <a:cubicBezTo>
                    <a:pt x="4155" y="7466"/>
                    <a:pt x="5182" y="8744"/>
                    <a:pt x="5866" y="10182"/>
                  </a:cubicBezTo>
                  <a:cubicBezTo>
                    <a:pt x="4908" y="9406"/>
                    <a:pt x="3926" y="8630"/>
                    <a:pt x="2945" y="7854"/>
                  </a:cubicBezTo>
                  <a:cubicBezTo>
                    <a:pt x="2717" y="7671"/>
                    <a:pt x="2466" y="7489"/>
                    <a:pt x="2192" y="7420"/>
                  </a:cubicBezTo>
                  <a:cubicBezTo>
                    <a:pt x="2152" y="7416"/>
                    <a:pt x="2112" y="7413"/>
                    <a:pt x="2072" y="7413"/>
                  </a:cubicBezTo>
                  <a:cubicBezTo>
                    <a:pt x="1725" y="7413"/>
                    <a:pt x="1390" y="7586"/>
                    <a:pt x="1164" y="7831"/>
                  </a:cubicBezTo>
                  <a:cubicBezTo>
                    <a:pt x="913" y="8105"/>
                    <a:pt x="776" y="8470"/>
                    <a:pt x="662" y="8835"/>
                  </a:cubicBezTo>
                  <a:cubicBezTo>
                    <a:pt x="0" y="11323"/>
                    <a:pt x="1210" y="14062"/>
                    <a:pt x="3150" y="15752"/>
                  </a:cubicBezTo>
                  <a:cubicBezTo>
                    <a:pt x="5090" y="17441"/>
                    <a:pt x="7647" y="18239"/>
                    <a:pt x="10180" y="18673"/>
                  </a:cubicBezTo>
                  <a:cubicBezTo>
                    <a:pt x="10426" y="18715"/>
                    <a:pt x="10675" y="18735"/>
                    <a:pt x="10925" y="18735"/>
                  </a:cubicBezTo>
                  <a:cubicBezTo>
                    <a:pt x="12446" y="18735"/>
                    <a:pt x="14020" y="17997"/>
                    <a:pt x="15156" y="16938"/>
                  </a:cubicBezTo>
                  <a:cubicBezTo>
                    <a:pt x="16320" y="15866"/>
                    <a:pt x="16868" y="14291"/>
                    <a:pt x="17507" y="12853"/>
                  </a:cubicBezTo>
                  <a:cubicBezTo>
                    <a:pt x="18101" y="11483"/>
                    <a:pt x="18831" y="10159"/>
                    <a:pt x="19014" y="8676"/>
                  </a:cubicBezTo>
                  <a:cubicBezTo>
                    <a:pt x="19219" y="6987"/>
                    <a:pt x="18671" y="5275"/>
                    <a:pt x="18078" y="3677"/>
                  </a:cubicBezTo>
                  <a:cubicBezTo>
                    <a:pt x="17850" y="3015"/>
                    <a:pt x="17599" y="2376"/>
                    <a:pt x="17142" y="1874"/>
                  </a:cubicBezTo>
                  <a:cubicBezTo>
                    <a:pt x="16771" y="1485"/>
                    <a:pt x="16249" y="1205"/>
                    <a:pt x="15735" y="1205"/>
                  </a:cubicBezTo>
                  <a:cubicBezTo>
                    <a:pt x="15586" y="1205"/>
                    <a:pt x="15437" y="1229"/>
                    <a:pt x="15293" y="1280"/>
                  </a:cubicBezTo>
                  <a:cubicBezTo>
                    <a:pt x="14700" y="1509"/>
                    <a:pt x="14335" y="2102"/>
                    <a:pt x="14084" y="2695"/>
                  </a:cubicBezTo>
                  <a:cubicBezTo>
                    <a:pt x="13513" y="3997"/>
                    <a:pt x="13285" y="5412"/>
                    <a:pt x="13079" y="6804"/>
                  </a:cubicBezTo>
                  <a:cubicBezTo>
                    <a:pt x="13148" y="5571"/>
                    <a:pt x="13034" y="4339"/>
                    <a:pt x="12760" y="3129"/>
                  </a:cubicBezTo>
                  <a:cubicBezTo>
                    <a:pt x="12577" y="2262"/>
                    <a:pt x="12280" y="1372"/>
                    <a:pt x="11618" y="778"/>
                  </a:cubicBezTo>
                  <a:cubicBezTo>
                    <a:pt x="10949" y="195"/>
                    <a:pt x="10034" y="0"/>
                    <a:pt x="914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56" name="Google Shape;156;p9"/>
            <p:cNvSpPr/>
            <p:nvPr/>
          </p:nvSpPr>
          <p:spPr>
            <a:xfrm>
              <a:off x="182722" y="1995375"/>
              <a:ext cx="268582" cy="236173"/>
            </a:xfrm>
            <a:custGeom>
              <a:avLst/>
              <a:gdLst/>
              <a:ahLst/>
              <a:cxnLst/>
              <a:rect l="l" t="t" r="r" b="b"/>
              <a:pathLst>
                <a:path w="9953" h="8752" extrusionOk="0">
                  <a:moveTo>
                    <a:pt x="6563" y="1"/>
                  </a:moveTo>
                  <a:cubicBezTo>
                    <a:pt x="6452" y="1"/>
                    <a:pt x="6342" y="4"/>
                    <a:pt x="6232" y="10"/>
                  </a:cubicBezTo>
                  <a:cubicBezTo>
                    <a:pt x="4406" y="78"/>
                    <a:pt x="2626" y="740"/>
                    <a:pt x="1211" y="1882"/>
                  </a:cubicBezTo>
                  <a:cubicBezTo>
                    <a:pt x="754" y="2270"/>
                    <a:pt x="298" y="2726"/>
                    <a:pt x="138" y="3297"/>
                  </a:cubicBezTo>
                  <a:cubicBezTo>
                    <a:pt x="1" y="3776"/>
                    <a:pt x="92" y="4278"/>
                    <a:pt x="229" y="4758"/>
                  </a:cubicBezTo>
                  <a:cubicBezTo>
                    <a:pt x="822" y="6835"/>
                    <a:pt x="2671" y="8569"/>
                    <a:pt x="4817" y="8752"/>
                  </a:cubicBezTo>
                  <a:cubicBezTo>
                    <a:pt x="5661" y="8250"/>
                    <a:pt x="6780" y="8318"/>
                    <a:pt x="7670" y="7930"/>
                  </a:cubicBezTo>
                  <a:cubicBezTo>
                    <a:pt x="8515" y="7588"/>
                    <a:pt x="9131" y="6880"/>
                    <a:pt x="9496" y="6059"/>
                  </a:cubicBezTo>
                  <a:cubicBezTo>
                    <a:pt x="9838" y="5237"/>
                    <a:pt x="9953" y="4324"/>
                    <a:pt x="9884" y="3434"/>
                  </a:cubicBezTo>
                  <a:cubicBezTo>
                    <a:pt x="9816" y="2361"/>
                    <a:pt x="9519" y="1242"/>
                    <a:pt x="8674" y="603"/>
                  </a:cubicBezTo>
                  <a:cubicBezTo>
                    <a:pt x="8078" y="146"/>
                    <a:pt x="7310" y="1"/>
                    <a:pt x="6563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57" name="Google Shape;157;p9"/>
            <p:cNvSpPr/>
            <p:nvPr/>
          </p:nvSpPr>
          <p:spPr>
            <a:xfrm>
              <a:off x="-117729" y="2086450"/>
              <a:ext cx="874530" cy="1128432"/>
            </a:xfrm>
            <a:custGeom>
              <a:avLst/>
              <a:gdLst/>
              <a:ahLst/>
              <a:cxnLst/>
              <a:rect l="l" t="t" r="r" b="b"/>
              <a:pathLst>
                <a:path w="32408" h="41817" extrusionOk="0">
                  <a:moveTo>
                    <a:pt x="30309" y="1"/>
                  </a:moveTo>
                  <a:cubicBezTo>
                    <a:pt x="29836" y="1"/>
                    <a:pt x="29342" y="124"/>
                    <a:pt x="28916" y="310"/>
                  </a:cubicBezTo>
                  <a:cubicBezTo>
                    <a:pt x="27090" y="1109"/>
                    <a:pt x="25720" y="2661"/>
                    <a:pt x="24556" y="4281"/>
                  </a:cubicBezTo>
                  <a:cubicBezTo>
                    <a:pt x="22662" y="6906"/>
                    <a:pt x="21132" y="9828"/>
                    <a:pt x="20037" y="12909"/>
                  </a:cubicBezTo>
                  <a:cubicBezTo>
                    <a:pt x="20196" y="11700"/>
                    <a:pt x="20219" y="10513"/>
                    <a:pt x="20082" y="9326"/>
                  </a:cubicBezTo>
                  <a:cubicBezTo>
                    <a:pt x="19991" y="8413"/>
                    <a:pt x="19786" y="7500"/>
                    <a:pt x="19786" y="6587"/>
                  </a:cubicBezTo>
                  <a:cubicBezTo>
                    <a:pt x="19808" y="5674"/>
                    <a:pt x="20082" y="4715"/>
                    <a:pt x="20744" y="4099"/>
                  </a:cubicBezTo>
                  <a:cubicBezTo>
                    <a:pt x="21109" y="3779"/>
                    <a:pt x="21543" y="3574"/>
                    <a:pt x="21931" y="3277"/>
                  </a:cubicBezTo>
                  <a:cubicBezTo>
                    <a:pt x="22296" y="2980"/>
                    <a:pt x="22616" y="2524"/>
                    <a:pt x="22547" y="2044"/>
                  </a:cubicBezTo>
                  <a:cubicBezTo>
                    <a:pt x="22468" y="1992"/>
                    <a:pt x="22387" y="1969"/>
                    <a:pt x="22306" y="1969"/>
                  </a:cubicBezTo>
                  <a:cubicBezTo>
                    <a:pt x="21776" y="1969"/>
                    <a:pt x="21200" y="2926"/>
                    <a:pt x="20693" y="2926"/>
                  </a:cubicBezTo>
                  <a:cubicBezTo>
                    <a:pt x="20601" y="2926"/>
                    <a:pt x="20511" y="2895"/>
                    <a:pt x="20425" y="2820"/>
                  </a:cubicBezTo>
                  <a:cubicBezTo>
                    <a:pt x="20356" y="2752"/>
                    <a:pt x="20288" y="2661"/>
                    <a:pt x="20219" y="2569"/>
                  </a:cubicBezTo>
                  <a:cubicBezTo>
                    <a:pt x="20134" y="2490"/>
                    <a:pt x="20035" y="2455"/>
                    <a:pt x="19933" y="2455"/>
                  </a:cubicBezTo>
                  <a:cubicBezTo>
                    <a:pt x="19624" y="2455"/>
                    <a:pt x="19278" y="2763"/>
                    <a:pt x="19124" y="3072"/>
                  </a:cubicBezTo>
                  <a:cubicBezTo>
                    <a:pt x="18918" y="3482"/>
                    <a:pt x="18758" y="4030"/>
                    <a:pt x="18325" y="4190"/>
                  </a:cubicBezTo>
                  <a:cubicBezTo>
                    <a:pt x="18233" y="4223"/>
                    <a:pt x="18137" y="4236"/>
                    <a:pt x="18038" y="4236"/>
                  </a:cubicBezTo>
                  <a:cubicBezTo>
                    <a:pt x="17577" y="4236"/>
                    <a:pt x="17054" y="3945"/>
                    <a:pt x="16652" y="3945"/>
                  </a:cubicBezTo>
                  <a:cubicBezTo>
                    <a:pt x="16473" y="3945"/>
                    <a:pt x="16318" y="4002"/>
                    <a:pt x="16202" y="4167"/>
                  </a:cubicBezTo>
                  <a:cubicBezTo>
                    <a:pt x="16065" y="4350"/>
                    <a:pt x="16065" y="4578"/>
                    <a:pt x="15997" y="4783"/>
                  </a:cubicBezTo>
                  <a:cubicBezTo>
                    <a:pt x="15791" y="5423"/>
                    <a:pt x="15015" y="5605"/>
                    <a:pt x="14353" y="5719"/>
                  </a:cubicBezTo>
                  <a:cubicBezTo>
                    <a:pt x="14473" y="6130"/>
                    <a:pt x="14901" y="6336"/>
                    <a:pt x="15339" y="6336"/>
                  </a:cubicBezTo>
                  <a:cubicBezTo>
                    <a:pt x="15484" y="6336"/>
                    <a:pt x="15631" y="6313"/>
                    <a:pt x="15768" y="6267"/>
                  </a:cubicBezTo>
                  <a:cubicBezTo>
                    <a:pt x="16293" y="6107"/>
                    <a:pt x="16727" y="5696"/>
                    <a:pt x="17229" y="5423"/>
                  </a:cubicBezTo>
                  <a:cubicBezTo>
                    <a:pt x="17506" y="5271"/>
                    <a:pt x="17832" y="5169"/>
                    <a:pt x="18138" y="5169"/>
                  </a:cubicBezTo>
                  <a:cubicBezTo>
                    <a:pt x="18386" y="5169"/>
                    <a:pt x="18620" y="5236"/>
                    <a:pt x="18804" y="5400"/>
                  </a:cubicBezTo>
                  <a:cubicBezTo>
                    <a:pt x="19101" y="5674"/>
                    <a:pt x="19192" y="6062"/>
                    <a:pt x="19238" y="6450"/>
                  </a:cubicBezTo>
                  <a:cubicBezTo>
                    <a:pt x="19991" y="11311"/>
                    <a:pt x="19146" y="16356"/>
                    <a:pt x="17298" y="20898"/>
                  </a:cubicBezTo>
                  <a:cubicBezTo>
                    <a:pt x="16750" y="22290"/>
                    <a:pt x="16088" y="23614"/>
                    <a:pt x="15380" y="24915"/>
                  </a:cubicBezTo>
                  <a:cubicBezTo>
                    <a:pt x="16430" y="21925"/>
                    <a:pt x="16955" y="18753"/>
                    <a:pt x="16932" y="15603"/>
                  </a:cubicBezTo>
                  <a:cubicBezTo>
                    <a:pt x="16932" y="13480"/>
                    <a:pt x="16613" y="11220"/>
                    <a:pt x="15152" y="9668"/>
                  </a:cubicBezTo>
                  <a:cubicBezTo>
                    <a:pt x="14855" y="9349"/>
                    <a:pt x="14490" y="9052"/>
                    <a:pt x="14056" y="8960"/>
                  </a:cubicBezTo>
                  <a:cubicBezTo>
                    <a:pt x="13940" y="8931"/>
                    <a:pt x="13823" y="8918"/>
                    <a:pt x="13707" y="8918"/>
                  </a:cubicBezTo>
                  <a:cubicBezTo>
                    <a:pt x="12825" y="8918"/>
                    <a:pt x="12001" y="9716"/>
                    <a:pt x="11820" y="10604"/>
                  </a:cubicBezTo>
                  <a:cubicBezTo>
                    <a:pt x="11614" y="11608"/>
                    <a:pt x="12025" y="12658"/>
                    <a:pt x="12596" y="13526"/>
                  </a:cubicBezTo>
                  <a:cubicBezTo>
                    <a:pt x="13166" y="14393"/>
                    <a:pt x="13897" y="15146"/>
                    <a:pt x="14422" y="16013"/>
                  </a:cubicBezTo>
                  <a:cubicBezTo>
                    <a:pt x="15449" y="17725"/>
                    <a:pt x="15677" y="19802"/>
                    <a:pt x="15449" y="21765"/>
                  </a:cubicBezTo>
                  <a:cubicBezTo>
                    <a:pt x="15221" y="23637"/>
                    <a:pt x="14627" y="25417"/>
                    <a:pt x="14034" y="27198"/>
                  </a:cubicBezTo>
                  <a:cubicBezTo>
                    <a:pt x="12664" y="29343"/>
                    <a:pt x="11089" y="31398"/>
                    <a:pt x="9446" y="33338"/>
                  </a:cubicBezTo>
                  <a:cubicBezTo>
                    <a:pt x="8829" y="34068"/>
                    <a:pt x="8190" y="34776"/>
                    <a:pt x="7551" y="35461"/>
                  </a:cubicBezTo>
                  <a:cubicBezTo>
                    <a:pt x="8213" y="34091"/>
                    <a:pt x="8601" y="32607"/>
                    <a:pt x="8966" y="31147"/>
                  </a:cubicBezTo>
                  <a:cubicBezTo>
                    <a:pt x="9811" y="27746"/>
                    <a:pt x="10678" y="24322"/>
                    <a:pt x="10838" y="20807"/>
                  </a:cubicBezTo>
                  <a:cubicBezTo>
                    <a:pt x="10907" y="19437"/>
                    <a:pt x="10838" y="17954"/>
                    <a:pt x="9994" y="16881"/>
                  </a:cubicBezTo>
                  <a:cubicBezTo>
                    <a:pt x="9879" y="16744"/>
                    <a:pt x="9742" y="16607"/>
                    <a:pt x="9583" y="16561"/>
                  </a:cubicBezTo>
                  <a:cubicBezTo>
                    <a:pt x="9538" y="16550"/>
                    <a:pt x="9494" y="16545"/>
                    <a:pt x="9450" y="16545"/>
                  </a:cubicBezTo>
                  <a:cubicBezTo>
                    <a:pt x="9228" y="16545"/>
                    <a:pt x="9024" y="16679"/>
                    <a:pt x="8852" y="16812"/>
                  </a:cubicBezTo>
                  <a:cubicBezTo>
                    <a:pt x="8031" y="17520"/>
                    <a:pt x="7483" y="18501"/>
                    <a:pt x="7118" y="19506"/>
                  </a:cubicBezTo>
                  <a:cubicBezTo>
                    <a:pt x="6113" y="22176"/>
                    <a:pt x="6159" y="25098"/>
                    <a:pt x="6433" y="27928"/>
                  </a:cubicBezTo>
                  <a:cubicBezTo>
                    <a:pt x="6684" y="30667"/>
                    <a:pt x="7095" y="33384"/>
                    <a:pt x="6912" y="36100"/>
                  </a:cubicBezTo>
                  <a:cubicBezTo>
                    <a:pt x="4972" y="38086"/>
                    <a:pt x="2804" y="39866"/>
                    <a:pt x="338" y="41144"/>
                  </a:cubicBezTo>
                  <a:cubicBezTo>
                    <a:pt x="315" y="41138"/>
                    <a:pt x="293" y="41135"/>
                    <a:pt x="273" y="41135"/>
                  </a:cubicBezTo>
                  <a:cubicBezTo>
                    <a:pt x="1" y="41135"/>
                    <a:pt x="41" y="41677"/>
                    <a:pt x="338" y="41783"/>
                  </a:cubicBezTo>
                  <a:cubicBezTo>
                    <a:pt x="402" y="41806"/>
                    <a:pt x="467" y="41816"/>
                    <a:pt x="532" y="41816"/>
                  </a:cubicBezTo>
                  <a:cubicBezTo>
                    <a:pt x="792" y="41816"/>
                    <a:pt x="1055" y="41655"/>
                    <a:pt x="1274" y="41509"/>
                  </a:cubicBezTo>
                  <a:cubicBezTo>
                    <a:pt x="3488" y="40026"/>
                    <a:pt x="5543" y="38337"/>
                    <a:pt x="7460" y="36465"/>
                  </a:cubicBezTo>
                  <a:cubicBezTo>
                    <a:pt x="7648" y="36470"/>
                    <a:pt x="7836" y="36472"/>
                    <a:pt x="8024" y="36472"/>
                  </a:cubicBezTo>
                  <a:cubicBezTo>
                    <a:pt x="12339" y="36472"/>
                    <a:pt x="16707" y="35223"/>
                    <a:pt x="20425" y="32927"/>
                  </a:cubicBezTo>
                  <a:cubicBezTo>
                    <a:pt x="21771" y="32082"/>
                    <a:pt x="23141" y="31010"/>
                    <a:pt x="23552" y="29480"/>
                  </a:cubicBezTo>
                  <a:cubicBezTo>
                    <a:pt x="23643" y="29184"/>
                    <a:pt x="23689" y="28841"/>
                    <a:pt x="23575" y="28545"/>
                  </a:cubicBezTo>
                  <a:cubicBezTo>
                    <a:pt x="23415" y="28111"/>
                    <a:pt x="22913" y="27837"/>
                    <a:pt x="22456" y="27814"/>
                  </a:cubicBezTo>
                  <a:cubicBezTo>
                    <a:pt x="22429" y="27813"/>
                    <a:pt x="22402" y="27812"/>
                    <a:pt x="22374" y="27812"/>
                  </a:cubicBezTo>
                  <a:cubicBezTo>
                    <a:pt x="21925" y="27812"/>
                    <a:pt x="21496" y="27986"/>
                    <a:pt x="21087" y="28179"/>
                  </a:cubicBezTo>
                  <a:cubicBezTo>
                    <a:pt x="19420" y="28955"/>
                    <a:pt x="18028" y="30211"/>
                    <a:pt x="16522" y="31261"/>
                  </a:cubicBezTo>
                  <a:cubicBezTo>
                    <a:pt x="14102" y="32950"/>
                    <a:pt x="11386" y="34160"/>
                    <a:pt x="8647" y="35278"/>
                  </a:cubicBezTo>
                  <a:cubicBezTo>
                    <a:pt x="10770" y="33041"/>
                    <a:pt x="12687" y="30599"/>
                    <a:pt x="14330" y="27997"/>
                  </a:cubicBezTo>
                  <a:cubicBezTo>
                    <a:pt x="14516" y="28096"/>
                    <a:pt x="14742" y="28134"/>
                    <a:pt x="14979" y="28134"/>
                  </a:cubicBezTo>
                  <a:cubicBezTo>
                    <a:pt x="15179" y="28134"/>
                    <a:pt x="15387" y="28107"/>
                    <a:pt x="15586" y="28065"/>
                  </a:cubicBezTo>
                  <a:cubicBezTo>
                    <a:pt x="18553" y="27563"/>
                    <a:pt x="21178" y="25874"/>
                    <a:pt x="23392" y="23843"/>
                  </a:cubicBezTo>
                  <a:cubicBezTo>
                    <a:pt x="25218" y="22176"/>
                    <a:pt x="26861" y="20168"/>
                    <a:pt x="27455" y="17771"/>
                  </a:cubicBezTo>
                  <a:cubicBezTo>
                    <a:pt x="27592" y="17109"/>
                    <a:pt x="27660" y="16333"/>
                    <a:pt x="27227" y="15808"/>
                  </a:cubicBezTo>
                  <a:cubicBezTo>
                    <a:pt x="26936" y="15457"/>
                    <a:pt x="26498" y="15299"/>
                    <a:pt x="26042" y="15299"/>
                  </a:cubicBezTo>
                  <a:cubicBezTo>
                    <a:pt x="25638" y="15299"/>
                    <a:pt x="25219" y="15423"/>
                    <a:pt x="24876" y="15648"/>
                  </a:cubicBezTo>
                  <a:cubicBezTo>
                    <a:pt x="24168" y="16128"/>
                    <a:pt x="23734" y="16927"/>
                    <a:pt x="23323" y="17680"/>
                  </a:cubicBezTo>
                  <a:cubicBezTo>
                    <a:pt x="22022" y="20099"/>
                    <a:pt x="20607" y="22519"/>
                    <a:pt x="18599" y="24390"/>
                  </a:cubicBezTo>
                  <a:cubicBezTo>
                    <a:pt x="17480" y="25417"/>
                    <a:pt x="16202" y="26285"/>
                    <a:pt x="14878" y="27084"/>
                  </a:cubicBezTo>
                  <a:cubicBezTo>
                    <a:pt x="16864" y="23706"/>
                    <a:pt x="18393" y="20099"/>
                    <a:pt x="19375" y="16310"/>
                  </a:cubicBezTo>
                  <a:cubicBezTo>
                    <a:pt x="19420" y="16105"/>
                    <a:pt x="19489" y="15922"/>
                    <a:pt x="19534" y="15717"/>
                  </a:cubicBezTo>
                  <a:cubicBezTo>
                    <a:pt x="21292" y="13731"/>
                    <a:pt x="23232" y="11791"/>
                    <a:pt x="25286" y="10033"/>
                  </a:cubicBezTo>
                  <a:cubicBezTo>
                    <a:pt x="27592" y="8070"/>
                    <a:pt x="30125" y="6199"/>
                    <a:pt x="31563" y="3551"/>
                  </a:cubicBezTo>
                  <a:cubicBezTo>
                    <a:pt x="32088" y="2592"/>
                    <a:pt x="32408" y="1291"/>
                    <a:pt x="31655" y="515"/>
                  </a:cubicBezTo>
                  <a:cubicBezTo>
                    <a:pt x="31310" y="146"/>
                    <a:pt x="30822" y="1"/>
                    <a:pt x="3030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158" name="Google Shape;158;p9"/>
          <p:cNvSpPr/>
          <p:nvPr/>
        </p:nvSpPr>
        <p:spPr>
          <a:xfrm>
            <a:off x="9732899" y="713335"/>
            <a:ext cx="232853" cy="151221"/>
          </a:xfrm>
          <a:custGeom>
            <a:avLst/>
            <a:gdLst/>
            <a:ahLst/>
            <a:cxnLst/>
            <a:rect l="l" t="t" r="r" b="b"/>
            <a:pathLst>
              <a:path w="8720" h="5663" extrusionOk="0">
                <a:moveTo>
                  <a:pt x="5592" y="207"/>
                </a:moveTo>
                <a:cubicBezTo>
                  <a:pt x="5958" y="207"/>
                  <a:pt x="6323" y="230"/>
                  <a:pt x="6688" y="298"/>
                </a:cubicBezTo>
                <a:cubicBezTo>
                  <a:pt x="7053" y="344"/>
                  <a:pt x="7487" y="435"/>
                  <a:pt x="7829" y="686"/>
                </a:cubicBezTo>
                <a:cubicBezTo>
                  <a:pt x="8035" y="823"/>
                  <a:pt x="8217" y="1097"/>
                  <a:pt x="8263" y="1371"/>
                </a:cubicBezTo>
                <a:cubicBezTo>
                  <a:pt x="5707" y="1417"/>
                  <a:pt x="3150" y="1599"/>
                  <a:pt x="617" y="1965"/>
                </a:cubicBezTo>
                <a:cubicBezTo>
                  <a:pt x="845" y="1736"/>
                  <a:pt x="1096" y="1554"/>
                  <a:pt x="1256" y="1440"/>
                </a:cubicBezTo>
                <a:cubicBezTo>
                  <a:pt x="2534" y="641"/>
                  <a:pt x="4086" y="207"/>
                  <a:pt x="5592" y="207"/>
                </a:cubicBezTo>
                <a:close/>
                <a:moveTo>
                  <a:pt x="8263" y="1577"/>
                </a:moveTo>
                <a:cubicBezTo>
                  <a:pt x="8263" y="1622"/>
                  <a:pt x="8263" y="1645"/>
                  <a:pt x="8240" y="1668"/>
                </a:cubicBezTo>
                <a:cubicBezTo>
                  <a:pt x="8172" y="1942"/>
                  <a:pt x="7943" y="2170"/>
                  <a:pt x="7738" y="2353"/>
                </a:cubicBezTo>
                <a:cubicBezTo>
                  <a:pt x="7213" y="2764"/>
                  <a:pt x="6711" y="3129"/>
                  <a:pt x="6414" y="3243"/>
                </a:cubicBezTo>
                <a:cubicBezTo>
                  <a:pt x="5119" y="3770"/>
                  <a:pt x="3698" y="4043"/>
                  <a:pt x="2292" y="4043"/>
                </a:cubicBezTo>
                <a:cubicBezTo>
                  <a:pt x="2236" y="4043"/>
                  <a:pt x="2179" y="4043"/>
                  <a:pt x="2123" y="4042"/>
                </a:cubicBezTo>
                <a:cubicBezTo>
                  <a:pt x="1735" y="4019"/>
                  <a:pt x="1324" y="3996"/>
                  <a:pt x="959" y="3836"/>
                </a:cubicBezTo>
                <a:cubicBezTo>
                  <a:pt x="571" y="3654"/>
                  <a:pt x="297" y="3334"/>
                  <a:pt x="229" y="2992"/>
                </a:cubicBezTo>
                <a:cubicBezTo>
                  <a:pt x="183" y="2695"/>
                  <a:pt x="274" y="2444"/>
                  <a:pt x="434" y="2193"/>
                </a:cubicBezTo>
                <a:cubicBezTo>
                  <a:pt x="3013" y="1828"/>
                  <a:pt x="5661" y="1622"/>
                  <a:pt x="8263" y="1577"/>
                </a:cubicBezTo>
                <a:close/>
                <a:moveTo>
                  <a:pt x="8377" y="1942"/>
                </a:moveTo>
                <a:cubicBezTo>
                  <a:pt x="8423" y="2353"/>
                  <a:pt x="8468" y="2764"/>
                  <a:pt x="8491" y="3174"/>
                </a:cubicBezTo>
                <a:cubicBezTo>
                  <a:pt x="8514" y="3311"/>
                  <a:pt x="8514" y="3425"/>
                  <a:pt x="8468" y="3540"/>
                </a:cubicBezTo>
                <a:cubicBezTo>
                  <a:pt x="8446" y="3631"/>
                  <a:pt x="8354" y="3722"/>
                  <a:pt x="8240" y="3813"/>
                </a:cubicBezTo>
                <a:cubicBezTo>
                  <a:pt x="8035" y="3996"/>
                  <a:pt x="7784" y="4179"/>
                  <a:pt x="7441" y="4361"/>
                </a:cubicBezTo>
                <a:cubicBezTo>
                  <a:pt x="6193" y="5075"/>
                  <a:pt x="4756" y="5461"/>
                  <a:pt x="3323" y="5461"/>
                </a:cubicBezTo>
                <a:cubicBezTo>
                  <a:pt x="3105" y="5461"/>
                  <a:pt x="2888" y="5452"/>
                  <a:pt x="2671" y="5434"/>
                </a:cubicBezTo>
                <a:cubicBezTo>
                  <a:pt x="2169" y="5388"/>
                  <a:pt x="1758" y="5320"/>
                  <a:pt x="1393" y="5206"/>
                </a:cubicBezTo>
                <a:cubicBezTo>
                  <a:pt x="936" y="5046"/>
                  <a:pt x="639" y="4863"/>
                  <a:pt x="480" y="4612"/>
                </a:cubicBezTo>
                <a:cubicBezTo>
                  <a:pt x="274" y="4293"/>
                  <a:pt x="251" y="3928"/>
                  <a:pt x="251" y="3540"/>
                </a:cubicBezTo>
                <a:lnTo>
                  <a:pt x="251" y="3540"/>
                </a:lnTo>
                <a:cubicBezTo>
                  <a:pt x="388" y="3745"/>
                  <a:pt x="594" y="3905"/>
                  <a:pt x="868" y="4019"/>
                </a:cubicBezTo>
                <a:cubicBezTo>
                  <a:pt x="1256" y="4202"/>
                  <a:pt x="1735" y="4247"/>
                  <a:pt x="2123" y="4247"/>
                </a:cubicBezTo>
                <a:lnTo>
                  <a:pt x="2374" y="4247"/>
                </a:lnTo>
                <a:cubicBezTo>
                  <a:pt x="3789" y="4247"/>
                  <a:pt x="5204" y="3973"/>
                  <a:pt x="6505" y="3425"/>
                </a:cubicBezTo>
                <a:cubicBezTo>
                  <a:pt x="6871" y="3289"/>
                  <a:pt x="7441" y="2855"/>
                  <a:pt x="7852" y="2512"/>
                </a:cubicBezTo>
                <a:cubicBezTo>
                  <a:pt x="8058" y="2353"/>
                  <a:pt x="8240" y="2170"/>
                  <a:pt x="8377" y="1942"/>
                </a:cubicBezTo>
                <a:close/>
                <a:moveTo>
                  <a:pt x="5642" y="0"/>
                </a:moveTo>
                <a:cubicBezTo>
                  <a:pt x="4073" y="0"/>
                  <a:pt x="2479" y="440"/>
                  <a:pt x="1142" y="1257"/>
                </a:cubicBezTo>
                <a:cubicBezTo>
                  <a:pt x="708" y="1531"/>
                  <a:pt x="23" y="2079"/>
                  <a:pt x="0" y="2786"/>
                </a:cubicBezTo>
                <a:cubicBezTo>
                  <a:pt x="0" y="2809"/>
                  <a:pt x="0" y="2832"/>
                  <a:pt x="0" y="2832"/>
                </a:cubicBezTo>
                <a:cubicBezTo>
                  <a:pt x="23" y="3037"/>
                  <a:pt x="23" y="3243"/>
                  <a:pt x="23" y="3448"/>
                </a:cubicBezTo>
                <a:cubicBezTo>
                  <a:pt x="46" y="3882"/>
                  <a:pt x="46" y="4338"/>
                  <a:pt x="297" y="4726"/>
                </a:cubicBezTo>
                <a:cubicBezTo>
                  <a:pt x="502" y="5023"/>
                  <a:pt x="822" y="5229"/>
                  <a:pt x="1324" y="5388"/>
                </a:cubicBezTo>
                <a:cubicBezTo>
                  <a:pt x="1712" y="5525"/>
                  <a:pt x="2146" y="5594"/>
                  <a:pt x="2648" y="5640"/>
                </a:cubicBezTo>
                <a:cubicBezTo>
                  <a:pt x="2876" y="5662"/>
                  <a:pt x="3082" y="5662"/>
                  <a:pt x="3310" y="5662"/>
                </a:cubicBezTo>
                <a:cubicBezTo>
                  <a:pt x="4794" y="5662"/>
                  <a:pt x="6277" y="5274"/>
                  <a:pt x="7555" y="4544"/>
                </a:cubicBezTo>
                <a:cubicBezTo>
                  <a:pt x="7898" y="4361"/>
                  <a:pt x="8149" y="4179"/>
                  <a:pt x="8377" y="3973"/>
                </a:cubicBezTo>
                <a:cubicBezTo>
                  <a:pt x="8514" y="3882"/>
                  <a:pt x="8628" y="3768"/>
                  <a:pt x="8674" y="3608"/>
                </a:cubicBezTo>
                <a:cubicBezTo>
                  <a:pt x="8720" y="3448"/>
                  <a:pt x="8720" y="3289"/>
                  <a:pt x="8720" y="3174"/>
                </a:cubicBezTo>
                <a:cubicBezTo>
                  <a:pt x="8651" y="2490"/>
                  <a:pt x="8583" y="1828"/>
                  <a:pt x="8468" y="1143"/>
                </a:cubicBezTo>
                <a:cubicBezTo>
                  <a:pt x="8468" y="1120"/>
                  <a:pt x="8423" y="1074"/>
                  <a:pt x="8400" y="1074"/>
                </a:cubicBezTo>
                <a:cubicBezTo>
                  <a:pt x="8286" y="846"/>
                  <a:pt x="8126" y="641"/>
                  <a:pt x="7943" y="504"/>
                </a:cubicBezTo>
                <a:cubicBezTo>
                  <a:pt x="7578" y="230"/>
                  <a:pt x="7099" y="139"/>
                  <a:pt x="6711" y="70"/>
                </a:cubicBezTo>
                <a:cubicBezTo>
                  <a:pt x="6358" y="23"/>
                  <a:pt x="6001" y="0"/>
                  <a:pt x="5642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59" name="Google Shape;159;p9"/>
          <p:cNvSpPr/>
          <p:nvPr/>
        </p:nvSpPr>
        <p:spPr>
          <a:xfrm>
            <a:off x="4209513" y="486274"/>
            <a:ext cx="219448" cy="72873"/>
          </a:xfrm>
          <a:custGeom>
            <a:avLst/>
            <a:gdLst/>
            <a:ahLst/>
            <a:cxnLst/>
            <a:rect l="l" t="t" r="r" b="b"/>
            <a:pathLst>
              <a:path w="8218" h="2729" extrusionOk="0">
                <a:moveTo>
                  <a:pt x="3698" y="948"/>
                </a:moveTo>
                <a:cubicBezTo>
                  <a:pt x="3835" y="1017"/>
                  <a:pt x="3972" y="1131"/>
                  <a:pt x="4064" y="1245"/>
                </a:cubicBezTo>
                <a:cubicBezTo>
                  <a:pt x="4315" y="1496"/>
                  <a:pt x="4406" y="1839"/>
                  <a:pt x="4315" y="2113"/>
                </a:cubicBezTo>
                <a:cubicBezTo>
                  <a:pt x="4269" y="2272"/>
                  <a:pt x="4132" y="2409"/>
                  <a:pt x="3995" y="2478"/>
                </a:cubicBezTo>
                <a:cubicBezTo>
                  <a:pt x="3927" y="2501"/>
                  <a:pt x="3858" y="2512"/>
                  <a:pt x="3793" y="2512"/>
                </a:cubicBezTo>
                <a:cubicBezTo>
                  <a:pt x="3727" y="2512"/>
                  <a:pt x="3664" y="2501"/>
                  <a:pt x="3607" y="2478"/>
                </a:cubicBezTo>
                <a:cubicBezTo>
                  <a:pt x="3288" y="2341"/>
                  <a:pt x="3219" y="1861"/>
                  <a:pt x="3379" y="1473"/>
                </a:cubicBezTo>
                <a:cubicBezTo>
                  <a:pt x="3447" y="1291"/>
                  <a:pt x="3562" y="1108"/>
                  <a:pt x="3698" y="948"/>
                </a:cubicBezTo>
                <a:close/>
                <a:moveTo>
                  <a:pt x="5462" y="0"/>
                </a:moveTo>
                <a:cubicBezTo>
                  <a:pt x="5246" y="0"/>
                  <a:pt x="5022" y="24"/>
                  <a:pt x="4794" y="81"/>
                </a:cubicBezTo>
                <a:cubicBezTo>
                  <a:pt x="4360" y="172"/>
                  <a:pt x="3950" y="401"/>
                  <a:pt x="3653" y="697"/>
                </a:cubicBezTo>
                <a:cubicBezTo>
                  <a:pt x="3420" y="620"/>
                  <a:pt x="3177" y="574"/>
                  <a:pt x="2923" y="574"/>
                </a:cubicBezTo>
                <a:cubicBezTo>
                  <a:pt x="2804" y="574"/>
                  <a:pt x="2682" y="584"/>
                  <a:pt x="2557" y="606"/>
                </a:cubicBezTo>
                <a:cubicBezTo>
                  <a:pt x="1918" y="697"/>
                  <a:pt x="1347" y="1063"/>
                  <a:pt x="982" y="1336"/>
                </a:cubicBezTo>
                <a:cubicBezTo>
                  <a:pt x="617" y="1588"/>
                  <a:pt x="183" y="1976"/>
                  <a:pt x="1" y="2501"/>
                </a:cubicBezTo>
                <a:cubicBezTo>
                  <a:pt x="1" y="2546"/>
                  <a:pt x="24" y="2615"/>
                  <a:pt x="69" y="2615"/>
                </a:cubicBezTo>
                <a:cubicBezTo>
                  <a:pt x="86" y="2620"/>
                  <a:pt x="102" y="2623"/>
                  <a:pt x="116" y="2623"/>
                </a:cubicBezTo>
                <a:cubicBezTo>
                  <a:pt x="159" y="2623"/>
                  <a:pt x="189" y="2598"/>
                  <a:pt x="206" y="2546"/>
                </a:cubicBezTo>
                <a:cubicBezTo>
                  <a:pt x="366" y="2090"/>
                  <a:pt x="777" y="1747"/>
                  <a:pt x="1119" y="1496"/>
                </a:cubicBezTo>
                <a:cubicBezTo>
                  <a:pt x="1667" y="1108"/>
                  <a:pt x="2146" y="880"/>
                  <a:pt x="2603" y="811"/>
                </a:cubicBezTo>
                <a:cubicBezTo>
                  <a:pt x="2702" y="796"/>
                  <a:pt x="2803" y="789"/>
                  <a:pt x="2905" y="789"/>
                </a:cubicBezTo>
                <a:cubicBezTo>
                  <a:pt x="3108" y="789"/>
                  <a:pt x="3310" y="819"/>
                  <a:pt x="3493" y="880"/>
                </a:cubicBezTo>
                <a:cubicBezTo>
                  <a:pt x="3356" y="1040"/>
                  <a:pt x="3242" y="1222"/>
                  <a:pt x="3173" y="1405"/>
                </a:cubicBezTo>
                <a:cubicBezTo>
                  <a:pt x="2991" y="1861"/>
                  <a:pt x="3082" y="2478"/>
                  <a:pt x="3516" y="2683"/>
                </a:cubicBezTo>
                <a:cubicBezTo>
                  <a:pt x="3607" y="2706"/>
                  <a:pt x="3698" y="2729"/>
                  <a:pt x="3767" y="2729"/>
                </a:cubicBezTo>
                <a:cubicBezTo>
                  <a:pt x="3881" y="2729"/>
                  <a:pt x="3972" y="2706"/>
                  <a:pt x="4064" y="2660"/>
                </a:cubicBezTo>
                <a:cubicBezTo>
                  <a:pt x="4292" y="2569"/>
                  <a:pt x="4452" y="2386"/>
                  <a:pt x="4520" y="2181"/>
                </a:cubicBezTo>
                <a:cubicBezTo>
                  <a:pt x="4634" y="1839"/>
                  <a:pt x="4520" y="1405"/>
                  <a:pt x="4223" y="1085"/>
                </a:cubicBezTo>
                <a:cubicBezTo>
                  <a:pt x="4109" y="971"/>
                  <a:pt x="3995" y="880"/>
                  <a:pt x="3858" y="789"/>
                </a:cubicBezTo>
                <a:cubicBezTo>
                  <a:pt x="4109" y="560"/>
                  <a:pt x="4475" y="355"/>
                  <a:pt x="4840" y="286"/>
                </a:cubicBezTo>
                <a:cubicBezTo>
                  <a:pt x="5051" y="237"/>
                  <a:pt x="5259" y="216"/>
                  <a:pt x="5460" y="216"/>
                </a:cubicBezTo>
                <a:cubicBezTo>
                  <a:pt x="5995" y="216"/>
                  <a:pt x="6477" y="365"/>
                  <a:pt x="6826" y="515"/>
                </a:cubicBezTo>
                <a:cubicBezTo>
                  <a:pt x="7191" y="675"/>
                  <a:pt x="7875" y="1040"/>
                  <a:pt x="8012" y="1702"/>
                </a:cubicBezTo>
                <a:cubicBezTo>
                  <a:pt x="8012" y="1770"/>
                  <a:pt x="8081" y="1793"/>
                  <a:pt x="8127" y="1793"/>
                </a:cubicBezTo>
                <a:cubicBezTo>
                  <a:pt x="8195" y="1770"/>
                  <a:pt x="8218" y="1724"/>
                  <a:pt x="8218" y="1656"/>
                </a:cubicBezTo>
                <a:cubicBezTo>
                  <a:pt x="8058" y="903"/>
                  <a:pt x="7328" y="492"/>
                  <a:pt x="6894" y="309"/>
                </a:cubicBezTo>
                <a:cubicBezTo>
                  <a:pt x="6531" y="161"/>
                  <a:pt x="6025" y="0"/>
                  <a:pt x="5462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60" name="Google Shape;160;p9"/>
          <p:cNvSpPr/>
          <p:nvPr/>
        </p:nvSpPr>
        <p:spPr>
          <a:xfrm rot="2700000" flipH="1">
            <a:off x="864474" y="864552"/>
            <a:ext cx="163996" cy="256048"/>
          </a:xfrm>
          <a:custGeom>
            <a:avLst/>
            <a:gdLst/>
            <a:ahLst/>
            <a:cxnLst/>
            <a:rect l="l" t="t" r="r" b="b"/>
            <a:pathLst>
              <a:path w="6141" h="9588" extrusionOk="0">
                <a:moveTo>
                  <a:pt x="5935" y="366"/>
                </a:moveTo>
                <a:lnTo>
                  <a:pt x="5935" y="366"/>
                </a:lnTo>
                <a:cubicBezTo>
                  <a:pt x="5821" y="3356"/>
                  <a:pt x="5547" y="6369"/>
                  <a:pt x="5090" y="9336"/>
                </a:cubicBezTo>
                <a:cubicBezTo>
                  <a:pt x="3424" y="8811"/>
                  <a:pt x="1826" y="8081"/>
                  <a:pt x="274" y="7373"/>
                </a:cubicBezTo>
                <a:cubicBezTo>
                  <a:pt x="1895" y="4840"/>
                  <a:pt x="3789" y="2489"/>
                  <a:pt x="5935" y="366"/>
                </a:cubicBezTo>
                <a:close/>
                <a:moveTo>
                  <a:pt x="6095" y="1"/>
                </a:moveTo>
                <a:cubicBezTo>
                  <a:pt x="6049" y="1"/>
                  <a:pt x="6003" y="1"/>
                  <a:pt x="5958" y="24"/>
                </a:cubicBezTo>
                <a:cubicBezTo>
                  <a:pt x="3721" y="2238"/>
                  <a:pt x="1712" y="4703"/>
                  <a:pt x="23" y="7350"/>
                </a:cubicBezTo>
                <a:cubicBezTo>
                  <a:pt x="0" y="7396"/>
                  <a:pt x="0" y="7419"/>
                  <a:pt x="23" y="7442"/>
                </a:cubicBezTo>
                <a:cubicBezTo>
                  <a:pt x="23" y="7465"/>
                  <a:pt x="46" y="7510"/>
                  <a:pt x="69" y="7510"/>
                </a:cubicBezTo>
                <a:cubicBezTo>
                  <a:pt x="1689" y="8264"/>
                  <a:pt x="3378" y="9040"/>
                  <a:pt x="5159" y="9565"/>
                </a:cubicBezTo>
                <a:cubicBezTo>
                  <a:pt x="5159" y="9587"/>
                  <a:pt x="5182" y="9587"/>
                  <a:pt x="5182" y="9587"/>
                </a:cubicBezTo>
                <a:cubicBezTo>
                  <a:pt x="5204" y="9587"/>
                  <a:pt x="5227" y="9565"/>
                  <a:pt x="5250" y="9565"/>
                </a:cubicBezTo>
                <a:cubicBezTo>
                  <a:pt x="5273" y="9542"/>
                  <a:pt x="5296" y="9519"/>
                  <a:pt x="5296" y="9496"/>
                </a:cubicBezTo>
                <a:cubicBezTo>
                  <a:pt x="5752" y="6392"/>
                  <a:pt x="6049" y="3242"/>
                  <a:pt x="6140" y="115"/>
                </a:cubicBezTo>
                <a:cubicBezTo>
                  <a:pt x="6140" y="69"/>
                  <a:pt x="6117" y="24"/>
                  <a:pt x="6095" y="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61" name="Google Shape;161;p9"/>
          <p:cNvSpPr/>
          <p:nvPr/>
        </p:nvSpPr>
        <p:spPr>
          <a:xfrm>
            <a:off x="7362613" y="6444408"/>
            <a:ext cx="219448" cy="72873"/>
          </a:xfrm>
          <a:custGeom>
            <a:avLst/>
            <a:gdLst/>
            <a:ahLst/>
            <a:cxnLst/>
            <a:rect l="l" t="t" r="r" b="b"/>
            <a:pathLst>
              <a:path w="8218" h="2729" extrusionOk="0">
                <a:moveTo>
                  <a:pt x="3698" y="948"/>
                </a:moveTo>
                <a:cubicBezTo>
                  <a:pt x="3835" y="1017"/>
                  <a:pt x="3972" y="1131"/>
                  <a:pt x="4064" y="1245"/>
                </a:cubicBezTo>
                <a:cubicBezTo>
                  <a:pt x="4315" y="1496"/>
                  <a:pt x="4406" y="1839"/>
                  <a:pt x="4315" y="2113"/>
                </a:cubicBezTo>
                <a:cubicBezTo>
                  <a:pt x="4269" y="2272"/>
                  <a:pt x="4132" y="2409"/>
                  <a:pt x="3995" y="2478"/>
                </a:cubicBezTo>
                <a:cubicBezTo>
                  <a:pt x="3927" y="2501"/>
                  <a:pt x="3858" y="2512"/>
                  <a:pt x="3793" y="2512"/>
                </a:cubicBezTo>
                <a:cubicBezTo>
                  <a:pt x="3727" y="2512"/>
                  <a:pt x="3664" y="2501"/>
                  <a:pt x="3607" y="2478"/>
                </a:cubicBezTo>
                <a:cubicBezTo>
                  <a:pt x="3288" y="2341"/>
                  <a:pt x="3219" y="1861"/>
                  <a:pt x="3379" y="1473"/>
                </a:cubicBezTo>
                <a:cubicBezTo>
                  <a:pt x="3447" y="1291"/>
                  <a:pt x="3562" y="1108"/>
                  <a:pt x="3698" y="948"/>
                </a:cubicBezTo>
                <a:close/>
                <a:moveTo>
                  <a:pt x="5462" y="0"/>
                </a:moveTo>
                <a:cubicBezTo>
                  <a:pt x="5246" y="0"/>
                  <a:pt x="5022" y="24"/>
                  <a:pt x="4794" y="81"/>
                </a:cubicBezTo>
                <a:cubicBezTo>
                  <a:pt x="4360" y="172"/>
                  <a:pt x="3950" y="401"/>
                  <a:pt x="3653" y="697"/>
                </a:cubicBezTo>
                <a:cubicBezTo>
                  <a:pt x="3420" y="620"/>
                  <a:pt x="3177" y="574"/>
                  <a:pt x="2923" y="574"/>
                </a:cubicBezTo>
                <a:cubicBezTo>
                  <a:pt x="2804" y="574"/>
                  <a:pt x="2682" y="584"/>
                  <a:pt x="2557" y="606"/>
                </a:cubicBezTo>
                <a:cubicBezTo>
                  <a:pt x="1918" y="697"/>
                  <a:pt x="1347" y="1063"/>
                  <a:pt x="982" y="1336"/>
                </a:cubicBezTo>
                <a:cubicBezTo>
                  <a:pt x="617" y="1588"/>
                  <a:pt x="183" y="1976"/>
                  <a:pt x="1" y="2501"/>
                </a:cubicBezTo>
                <a:cubicBezTo>
                  <a:pt x="1" y="2546"/>
                  <a:pt x="24" y="2615"/>
                  <a:pt x="69" y="2615"/>
                </a:cubicBezTo>
                <a:cubicBezTo>
                  <a:pt x="86" y="2620"/>
                  <a:pt x="102" y="2623"/>
                  <a:pt x="116" y="2623"/>
                </a:cubicBezTo>
                <a:cubicBezTo>
                  <a:pt x="159" y="2623"/>
                  <a:pt x="189" y="2598"/>
                  <a:pt x="206" y="2546"/>
                </a:cubicBezTo>
                <a:cubicBezTo>
                  <a:pt x="366" y="2090"/>
                  <a:pt x="777" y="1747"/>
                  <a:pt x="1119" y="1496"/>
                </a:cubicBezTo>
                <a:cubicBezTo>
                  <a:pt x="1667" y="1108"/>
                  <a:pt x="2146" y="880"/>
                  <a:pt x="2603" y="811"/>
                </a:cubicBezTo>
                <a:cubicBezTo>
                  <a:pt x="2702" y="796"/>
                  <a:pt x="2803" y="789"/>
                  <a:pt x="2905" y="789"/>
                </a:cubicBezTo>
                <a:cubicBezTo>
                  <a:pt x="3108" y="789"/>
                  <a:pt x="3310" y="819"/>
                  <a:pt x="3493" y="880"/>
                </a:cubicBezTo>
                <a:cubicBezTo>
                  <a:pt x="3356" y="1040"/>
                  <a:pt x="3242" y="1222"/>
                  <a:pt x="3173" y="1405"/>
                </a:cubicBezTo>
                <a:cubicBezTo>
                  <a:pt x="2991" y="1861"/>
                  <a:pt x="3082" y="2478"/>
                  <a:pt x="3516" y="2683"/>
                </a:cubicBezTo>
                <a:cubicBezTo>
                  <a:pt x="3607" y="2706"/>
                  <a:pt x="3698" y="2729"/>
                  <a:pt x="3767" y="2729"/>
                </a:cubicBezTo>
                <a:cubicBezTo>
                  <a:pt x="3881" y="2729"/>
                  <a:pt x="3972" y="2706"/>
                  <a:pt x="4064" y="2660"/>
                </a:cubicBezTo>
                <a:cubicBezTo>
                  <a:pt x="4292" y="2569"/>
                  <a:pt x="4452" y="2386"/>
                  <a:pt x="4520" y="2181"/>
                </a:cubicBezTo>
                <a:cubicBezTo>
                  <a:pt x="4634" y="1839"/>
                  <a:pt x="4520" y="1405"/>
                  <a:pt x="4223" y="1085"/>
                </a:cubicBezTo>
                <a:cubicBezTo>
                  <a:pt x="4109" y="971"/>
                  <a:pt x="3995" y="880"/>
                  <a:pt x="3858" y="789"/>
                </a:cubicBezTo>
                <a:cubicBezTo>
                  <a:pt x="4109" y="560"/>
                  <a:pt x="4475" y="355"/>
                  <a:pt x="4840" y="286"/>
                </a:cubicBezTo>
                <a:cubicBezTo>
                  <a:pt x="5051" y="237"/>
                  <a:pt x="5259" y="216"/>
                  <a:pt x="5460" y="216"/>
                </a:cubicBezTo>
                <a:cubicBezTo>
                  <a:pt x="5995" y="216"/>
                  <a:pt x="6477" y="365"/>
                  <a:pt x="6826" y="515"/>
                </a:cubicBezTo>
                <a:cubicBezTo>
                  <a:pt x="7191" y="675"/>
                  <a:pt x="7875" y="1040"/>
                  <a:pt x="8012" y="1702"/>
                </a:cubicBezTo>
                <a:cubicBezTo>
                  <a:pt x="8012" y="1770"/>
                  <a:pt x="8081" y="1793"/>
                  <a:pt x="8127" y="1793"/>
                </a:cubicBezTo>
                <a:cubicBezTo>
                  <a:pt x="8195" y="1770"/>
                  <a:pt x="8218" y="1724"/>
                  <a:pt x="8218" y="1656"/>
                </a:cubicBezTo>
                <a:cubicBezTo>
                  <a:pt x="8058" y="903"/>
                  <a:pt x="7328" y="492"/>
                  <a:pt x="6894" y="309"/>
                </a:cubicBezTo>
                <a:cubicBezTo>
                  <a:pt x="6531" y="161"/>
                  <a:pt x="6025" y="0"/>
                  <a:pt x="5462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62" name="Google Shape;162;p9"/>
          <p:cNvSpPr/>
          <p:nvPr/>
        </p:nvSpPr>
        <p:spPr>
          <a:xfrm flipH="1">
            <a:off x="4280249" y="6457603"/>
            <a:ext cx="124028" cy="151235"/>
          </a:xfrm>
          <a:custGeom>
            <a:avLst/>
            <a:gdLst/>
            <a:ahLst/>
            <a:cxnLst/>
            <a:rect l="l" t="t" r="r" b="b"/>
            <a:pathLst>
              <a:path w="6141" h="9588" extrusionOk="0">
                <a:moveTo>
                  <a:pt x="5935" y="366"/>
                </a:moveTo>
                <a:lnTo>
                  <a:pt x="5935" y="366"/>
                </a:lnTo>
                <a:cubicBezTo>
                  <a:pt x="5821" y="3356"/>
                  <a:pt x="5547" y="6369"/>
                  <a:pt x="5090" y="9336"/>
                </a:cubicBezTo>
                <a:cubicBezTo>
                  <a:pt x="3424" y="8811"/>
                  <a:pt x="1826" y="8081"/>
                  <a:pt x="274" y="7373"/>
                </a:cubicBezTo>
                <a:cubicBezTo>
                  <a:pt x="1895" y="4840"/>
                  <a:pt x="3789" y="2489"/>
                  <a:pt x="5935" y="366"/>
                </a:cubicBezTo>
                <a:close/>
                <a:moveTo>
                  <a:pt x="6095" y="1"/>
                </a:moveTo>
                <a:cubicBezTo>
                  <a:pt x="6049" y="1"/>
                  <a:pt x="6003" y="1"/>
                  <a:pt x="5958" y="24"/>
                </a:cubicBezTo>
                <a:cubicBezTo>
                  <a:pt x="3721" y="2238"/>
                  <a:pt x="1712" y="4703"/>
                  <a:pt x="23" y="7350"/>
                </a:cubicBezTo>
                <a:cubicBezTo>
                  <a:pt x="0" y="7396"/>
                  <a:pt x="0" y="7419"/>
                  <a:pt x="23" y="7442"/>
                </a:cubicBezTo>
                <a:cubicBezTo>
                  <a:pt x="23" y="7465"/>
                  <a:pt x="46" y="7510"/>
                  <a:pt x="69" y="7510"/>
                </a:cubicBezTo>
                <a:cubicBezTo>
                  <a:pt x="1689" y="8264"/>
                  <a:pt x="3378" y="9040"/>
                  <a:pt x="5159" y="9565"/>
                </a:cubicBezTo>
                <a:cubicBezTo>
                  <a:pt x="5159" y="9587"/>
                  <a:pt x="5182" y="9587"/>
                  <a:pt x="5182" y="9587"/>
                </a:cubicBezTo>
                <a:cubicBezTo>
                  <a:pt x="5204" y="9587"/>
                  <a:pt x="5227" y="9565"/>
                  <a:pt x="5250" y="9565"/>
                </a:cubicBezTo>
                <a:cubicBezTo>
                  <a:pt x="5273" y="9542"/>
                  <a:pt x="5296" y="9519"/>
                  <a:pt x="5296" y="9496"/>
                </a:cubicBezTo>
                <a:cubicBezTo>
                  <a:pt x="5752" y="6392"/>
                  <a:pt x="6049" y="3242"/>
                  <a:pt x="6140" y="115"/>
                </a:cubicBezTo>
                <a:cubicBezTo>
                  <a:pt x="6140" y="69"/>
                  <a:pt x="6117" y="24"/>
                  <a:pt x="6095" y="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grpSp>
        <p:nvGrpSpPr>
          <p:cNvPr id="163" name="Google Shape;163;p9"/>
          <p:cNvGrpSpPr/>
          <p:nvPr/>
        </p:nvGrpSpPr>
        <p:grpSpPr>
          <a:xfrm>
            <a:off x="-291061" y="4128521"/>
            <a:ext cx="1732869" cy="3535935"/>
            <a:chOff x="-218296" y="3096390"/>
            <a:chExt cx="1299652" cy="2651951"/>
          </a:xfrm>
        </p:grpSpPr>
        <p:sp>
          <p:nvSpPr>
            <p:cNvPr id="164" name="Google Shape;164;p9"/>
            <p:cNvSpPr/>
            <p:nvPr/>
          </p:nvSpPr>
          <p:spPr>
            <a:xfrm flipH="1">
              <a:off x="-218296" y="3096390"/>
              <a:ext cx="692948" cy="785102"/>
            </a:xfrm>
            <a:custGeom>
              <a:avLst/>
              <a:gdLst/>
              <a:ahLst/>
              <a:cxnLst/>
              <a:rect l="l" t="t" r="r" b="b"/>
              <a:pathLst>
                <a:path w="25679" h="29094" extrusionOk="0">
                  <a:moveTo>
                    <a:pt x="15362" y="0"/>
                  </a:moveTo>
                  <a:cubicBezTo>
                    <a:pt x="14997" y="0"/>
                    <a:pt x="14631" y="16"/>
                    <a:pt x="14266" y="43"/>
                  </a:cubicBezTo>
                  <a:cubicBezTo>
                    <a:pt x="13581" y="112"/>
                    <a:pt x="12897" y="203"/>
                    <a:pt x="12280" y="500"/>
                  </a:cubicBezTo>
                  <a:cubicBezTo>
                    <a:pt x="11504" y="888"/>
                    <a:pt x="10911" y="1550"/>
                    <a:pt x="10409" y="2234"/>
                  </a:cubicBezTo>
                  <a:cubicBezTo>
                    <a:pt x="8080" y="5498"/>
                    <a:pt x="7533" y="9653"/>
                    <a:pt x="6254" y="13464"/>
                  </a:cubicBezTo>
                  <a:cubicBezTo>
                    <a:pt x="6232" y="13533"/>
                    <a:pt x="6186" y="13624"/>
                    <a:pt x="6140" y="13693"/>
                  </a:cubicBezTo>
                  <a:cubicBezTo>
                    <a:pt x="6088" y="13737"/>
                    <a:pt x="6021" y="13758"/>
                    <a:pt x="5951" y="13758"/>
                  </a:cubicBezTo>
                  <a:cubicBezTo>
                    <a:pt x="5806" y="13758"/>
                    <a:pt x="5647" y="13671"/>
                    <a:pt x="5570" y="13533"/>
                  </a:cubicBezTo>
                  <a:cubicBezTo>
                    <a:pt x="5456" y="13350"/>
                    <a:pt x="5478" y="13099"/>
                    <a:pt x="5501" y="12871"/>
                  </a:cubicBezTo>
                  <a:cubicBezTo>
                    <a:pt x="5752" y="10383"/>
                    <a:pt x="6277" y="7941"/>
                    <a:pt x="7053" y="5544"/>
                  </a:cubicBezTo>
                  <a:cubicBezTo>
                    <a:pt x="7259" y="4928"/>
                    <a:pt x="7464" y="4289"/>
                    <a:pt x="7487" y="3627"/>
                  </a:cubicBezTo>
                  <a:cubicBezTo>
                    <a:pt x="7510" y="2965"/>
                    <a:pt x="7282" y="2257"/>
                    <a:pt x="6734" y="1869"/>
                  </a:cubicBezTo>
                  <a:cubicBezTo>
                    <a:pt x="6438" y="1663"/>
                    <a:pt x="6097" y="1577"/>
                    <a:pt x="5742" y="1577"/>
                  </a:cubicBezTo>
                  <a:cubicBezTo>
                    <a:pt x="5195" y="1577"/>
                    <a:pt x="4617" y="1784"/>
                    <a:pt x="4132" y="2075"/>
                  </a:cubicBezTo>
                  <a:cubicBezTo>
                    <a:pt x="3196" y="2622"/>
                    <a:pt x="2443" y="3467"/>
                    <a:pt x="1872" y="4403"/>
                  </a:cubicBezTo>
                  <a:cubicBezTo>
                    <a:pt x="0" y="7461"/>
                    <a:pt x="137" y="11296"/>
                    <a:pt x="662" y="14834"/>
                  </a:cubicBezTo>
                  <a:cubicBezTo>
                    <a:pt x="1233" y="18509"/>
                    <a:pt x="2169" y="22138"/>
                    <a:pt x="3470" y="25608"/>
                  </a:cubicBezTo>
                  <a:cubicBezTo>
                    <a:pt x="3903" y="26772"/>
                    <a:pt x="4588" y="28164"/>
                    <a:pt x="5958" y="28735"/>
                  </a:cubicBezTo>
                  <a:cubicBezTo>
                    <a:pt x="6548" y="28997"/>
                    <a:pt x="7176" y="29093"/>
                    <a:pt x="7811" y="29093"/>
                  </a:cubicBezTo>
                  <a:cubicBezTo>
                    <a:pt x="8281" y="29093"/>
                    <a:pt x="8756" y="29041"/>
                    <a:pt x="9222" y="28963"/>
                  </a:cubicBezTo>
                  <a:cubicBezTo>
                    <a:pt x="13673" y="28255"/>
                    <a:pt x="17485" y="25379"/>
                    <a:pt x="20657" y="22161"/>
                  </a:cubicBezTo>
                  <a:cubicBezTo>
                    <a:pt x="22050" y="20746"/>
                    <a:pt x="23351" y="19216"/>
                    <a:pt x="24264" y="17459"/>
                  </a:cubicBezTo>
                  <a:cubicBezTo>
                    <a:pt x="25177" y="15701"/>
                    <a:pt x="25679" y="13670"/>
                    <a:pt x="25382" y="11730"/>
                  </a:cubicBezTo>
                  <a:cubicBezTo>
                    <a:pt x="25291" y="11182"/>
                    <a:pt x="25108" y="10611"/>
                    <a:pt x="24652" y="10337"/>
                  </a:cubicBezTo>
                  <a:cubicBezTo>
                    <a:pt x="24472" y="10236"/>
                    <a:pt x="24273" y="10190"/>
                    <a:pt x="24071" y="10190"/>
                  </a:cubicBezTo>
                  <a:cubicBezTo>
                    <a:pt x="23686" y="10190"/>
                    <a:pt x="23293" y="10356"/>
                    <a:pt x="23008" y="10611"/>
                  </a:cubicBezTo>
                  <a:cubicBezTo>
                    <a:pt x="22552" y="10999"/>
                    <a:pt x="22278" y="11524"/>
                    <a:pt x="22004" y="12049"/>
                  </a:cubicBezTo>
                  <a:cubicBezTo>
                    <a:pt x="20885" y="14241"/>
                    <a:pt x="19516" y="16295"/>
                    <a:pt x="17918" y="18166"/>
                  </a:cubicBezTo>
                  <a:cubicBezTo>
                    <a:pt x="19288" y="15222"/>
                    <a:pt x="20657" y="12255"/>
                    <a:pt x="21639" y="9173"/>
                  </a:cubicBezTo>
                  <a:cubicBezTo>
                    <a:pt x="22232" y="7347"/>
                    <a:pt x="22643" y="5316"/>
                    <a:pt x="21913" y="3558"/>
                  </a:cubicBezTo>
                  <a:cubicBezTo>
                    <a:pt x="21342" y="2166"/>
                    <a:pt x="20087" y="1116"/>
                    <a:pt x="18694" y="568"/>
                  </a:cubicBezTo>
                  <a:cubicBezTo>
                    <a:pt x="17639" y="153"/>
                    <a:pt x="16505" y="0"/>
                    <a:pt x="1536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5" name="Google Shape;165;p9"/>
            <p:cNvSpPr/>
            <p:nvPr/>
          </p:nvSpPr>
          <p:spPr>
            <a:xfrm flipH="1">
              <a:off x="-105580" y="3623515"/>
              <a:ext cx="1186935" cy="2124826"/>
            </a:xfrm>
            <a:custGeom>
              <a:avLst/>
              <a:gdLst/>
              <a:ahLst/>
              <a:cxnLst/>
              <a:rect l="l" t="t" r="r" b="b"/>
              <a:pathLst>
                <a:path w="43985" h="78741" extrusionOk="0">
                  <a:moveTo>
                    <a:pt x="15204" y="1"/>
                  </a:moveTo>
                  <a:cubicBezTo>
                    <a:pt x="14564" y="1"/>
                    <a:pt x="13931" y="314"/>
                    <a:pt x="13467" y="755"/>
                  </a:cubicBezTo>
                  <a:cubicBezTo>
                    <a:pt x="12303" y="1805"/>
                    <a:pt x="11938" y="3517"/>
                    <a:pt x="12098" y="5092"/>
                  </a:cubicBezTo>
                  <a:cubicBezTo>
                    <a:pt x="12280" y="6644"/>
                    <a:pt x="12874" y="8105"/>
                    <a:pt x="13376" y="9611"/>
                  </a:cubicBezTo>
                  <a:cubicBezTo>
                    <a:pt x="15727" y="16824"/>
                    <a:pt x="15248" y="24653"/>
                    <a:pt x="13833" y="32140"/>
                  </a:cubicBezTo>
                  <a:cubicBezTo>
                    <a:pt x="12098" y="36226"/>
                    <a:pt x="10957" y="40585"/>
                    <a:pt x="10432" y="44991"/>
                  </a:cubicBezTo>
                  <a:cubicBezTo>
                    <a:pt x="9929" y="41224"/>
                    <a:pt x="8811" y="37435"/>
                    <a:pt x="8583" y="33601"/>
                  </a:cubicBezTo>
                  <a:cubicBezTo>
                    <a:pt x="8332" y="29538"/>
                    <a:pt x="9062" y="25407"/>
                    <a:pt x="8103" y="21458"/>
                  </a:cubicBezTo>
                  <a:cubicBezTo>
                    <a:pt x="7838" y="20331"/>
                    <a:pt x="7124" y="19034"/>
                    <a:pt x="6003" y="19034"/>
                  </a:cubicBezTo>
                  <a:cubicBezTo>
                    <a:pt x="5966" y="19034"/>
                    <a:pt x="5928" y="19035"/>
                    <a:pt x="5889" y="19038"/>
                  </a:cubicBezTo>
                  <a:cubicBezTo>
                    <a:pt x="5364" y="19084"/>
                    <a:pt x="4908" y="19426"/>
                    <a:pt x="4565" y="19814"/>
                  </a:cubicBezTo>
                  <a:cubicBezTo>
                    <a:pt x="3516" y="21001"/>
                    <a:pt x="3264" y="22645"/>
                    <a:pt x="3173" y="24197"/>
                  </a:cubicBezTo>
                  <a:cubicBezTo>
                    <a:pt x="2945" y="28465"/>
                    <a:pt x="3607" y="32756"/>
                    <a:pt x="5136" y="36751"/>
                  </a:cubicBezTo>
                  <a:cubicBezTo>
                    <a:pt x="6711" y="40836"/>
                    <a:pt x="9199" y="44671"/>
                    <a:pt x="10135" y="48871"/>
                  </a:cubicBezTo>
                  <a:cubicBezTo>
                    <a:pt x="9929" y="55947"/>
                    <a:pt x="11482" y="63182"/>
                    <a:pt x="14905" y="69254"/>
                  </a:cubicBezTo>
                  <a:cubicBezTo>
                    <a:pt x="11938" y="66560"/>
                    <a:pt x="9678" y="63228"/>
                    <a:pt x="8240" y="59553"/>
                  </a:cubicBezTo>
                  <a:cubicBezTo>
                    <a:pt x="6985" y="56358"/>
                    <a:pt x="6346" y="52934"/>
                    <a:pt x="4976" y="49784"/>
                  </a:cubicBezTo>
                  <a:cubicBezTo>
                    <a:pt x="4680" y="49168"/>
                    <a:pt x="4337" y="48506"/>
                    <a:pt x="3698" y="48232"/>
                  </a:cubicBezTo>
                  <a:cubicBezTo>
                    <a:pt x="3521" y="48163"/>
                    <a:pt x="3337" y="48132"/>
                    <a:pt x="3153" y="48132"/>
                  </a:cubicBezTo>
                  <a:cubicBezTo>
                    <a:pt x="2600" y="48132"/>
                    <a:pt x="2043" y="48414"/>
                    <a:pt x="1667" y="48825"/>
                  </a:cubicBezTo>
                  <a:cubicBezTo>
                    <a:pt x="1164" y="49396"/>
                    <a:pt x="936" y="50149"/>
                    <a:pt x="799" y="50880"/>
                  </a:cubicBezTo>
                  <a:cubicBezTo>
                    <a:pt x="0" y="55148"/>
                    <a:pt x="1781" y="59599"/>
                    <a:pt x="4702" y="62794"/>
                  </a:cubicBezTo>
                  <a:cubicBezTo>
                    <a:pt x="7510" y="65899"/>
                    <a:pt x="11253" y="67998"/>
                    <a:pt x="15111" y="69619"/>
                  </a:cubicBezTo>
                  <a:cubicBezTo>
                    <a:pt x="17051" y="72952"/>
                    <a:pt x="19539" y="75919"/>
                    <a:pt x="22620" y="78293"/>
                  </a:cubicBezTo>
                  <a:cubicBezTo>
                    <a:pt x="22926" y="78526"/>
                    <a:pt x="23344" y="78740"/>
                    <a:pt x="23701" y="78740"/>
                  </a:cubicBezTo>
                  <a:cubicBezTo>
                    <a:pt x="23903" y="78740"/>
                    <a:pt x="24086" y="78671"/>
                    <a:pt x="24218" y="78498"/>
                  </a:cubicBezTo>
                  <a:cubicBezTo>
                    <a:pt x="19288" y="74960"/>
                    <a:pt x="15818" y="69665"/>
                    <a:pt x="13673" y="63981"/>
                  </a:cubicBezTo>
                  <a:cubicBezTo>
                    <a:pt x="13330" y="63045"/>
                    <a:pt x="13011" y="62087"/>
                    <a:pt x="12737" y="61128"/>
                  </a:cubicBezTo>
                  <a:cubicBezTo>
                    <a:pt x="12303" y="55148"/>
                    <a:pt x="13764" y="49122"/>
                    <a:pt x="17416" y="44534"/>
                  </a:cubicBezTo>
                  <a:cubicBezTo>
                    <a:pt x="19813" y="41476"/>
                    <a:pt x="23077" y="39170"/>
                    <a:pt x="25451" y="36089"/>
                  </a:cubicBezTo>
                  <a:cubicBezTo>
                    <a:pt x="26090" y="35244"/>
                    <a:pt x="26683" y="34103"/>
                    <a:pt x="26135" y="33190"/>
                  </a:cubicBezTo>
                  <a:cubicBezTo>
                    <a:pt x="25784" y="32575"/>
                    <a:pt x="25085" y="32364"/>
                    <a:pt x="24346" y="32364"/>
                  </a:cubicBezTo>
                  <a:cubicBezTo>
                    <a:pt x="23933" y="32364"/>
                    <a:pt x="23507" y="32430"/>
                    <a:pt x="23122" y="32528"/>
                  </a:cubicBezTo>
                  <a:cubicBezTo>
                    <a:pt x="19105" y="33624"/>
                    <a:pt x="15978" y="36910"/>
                    <a:pt x="13969" y="40563"/>
                  </a:cubicBezTo>
                  <a:cubicBezTo>
                    <a:pt x="12372" y="43507"/>
                    <a:pt x="11390" y="46771"/>
                    <a:pt x="11048" y="50081"/>
                  </a:cubicBezTo>
                  <a:cubicBezTo>
                    <a:pt x="10934" y="43986"/>
                    <a:pt x="12098" y="37846"/>
                    <a:pt x="14494" y="32231"/>
                  </a:cubicBezTo>
                  <a:cubicBezTo>
                    <a:pt x="17895" y="28077"/>
                    <a:pt x="22529" y="24904"/>
                    <a:pt x="27665" y="23147"/>
                  </a:cubicBezTo>
                  <a:cubicBezTo>
                    <a:pt x="32595" y="21481"/>
                    <a:pt x="38096" y="21047"/>
                    <a:pt x="42319" y="18011"/>
                  </a:cubicBezTo>
                  <a:cubicBezTo>
                    <a:pt x="42844" y="17623"/>
                    <a:pt x="43368" y="17189"/>
                    <a:pt x="43665" y="16596"/>
                  </a:cubicBezTo>
                  <a:cubicBezTo>
                    <a:pt x="43962" y="16003"/>
                    <a:pt x="43985" y="15226"/>
                    <a:pt x="43551" y="14724"/>
                  </a:cubicBezTo>
                  <a:cubicBezTo>
                    <a:pt x="43277" y="14428"/>
                    <a:pt x="42889" y="14245"/>
                    <a:pt x="42524" y="14108"/>
                  </a:cubicBezTo>
                  <a:cubicBezTo>
                    <a:pt x="41374" y="13717"/>
                    <a:pt x="40169" y="13560"/>
                    <a:pt x="38953" y="13560"/>
                  </a:cubicBezTo>
                  <a:cubicBezTo>
                    <a:pt x="37827" y="13560"/>
                    <a:pt x="36693" y="13694"/>
                    <a:pt x="35585" y="13903"/>
                  </a:cubicBezTo>
                  <a:cubicBezTo>
                    <a:pt x="30153" y="14884"/>
                    <a:pt x="25085" y="17623"/>
                    <a:pt x="21114" y="21458"/>
                  </a:cubicBezTo>
                  <a:cubicBezTo>
                    <a:pt x="21548" y="20864"/>
                    <a:pt x="22004" y="20294"/>
                    <a:pt x="22461" y="19723"/>
                  </a:cubicBezTo>
                  <a:cubicBezTo>
                    <a:pt x="24241" y="17463"/>
                    <a:pt x="25998" y="15204"/>
                    <a:pt x="27779" y="12967"/>
                  </a:cubicBezTo>
                  <a:cubicBezTo>
                    <a:pt x="28190" y="12419"/>
                    <a:pt x="28646" y="11848"/>
                    <a:pt x="29194" y="11437"/>
                  </a:cubicBezTo>
                  <a:cubicBezTo>
                    <a:pt x="30175" y="10730"/>
                    <a:pt x="31431" y="10502"/>
                    <a:pt x="32572" y="10114"/>
                  </a:cubicBezTo>
                  <a:cubicBezTo>
                    <a:pt x="33736" y="9748"/>
                    <a:pt x="34946" y="9086"/>
                    <a:pt x="35357" y="7945"/>
                  </a:cubicBezTo>
                  <a:cubicBezTo>
                    <a:pt x="34923" y="7788"/>
                    <a:pt x="34458" y="7710"/>
                    <a:pt x="33993" y="7710"/>
                  </a:cubicBezTo>
                  <a:cubicBezTo>
                    <a:pt x="33309" y="7710"/>
                    <a:pt x="32622" y="7879"/>
                    <a:pt x="32024" y="8219"/>
                  </a:cubicBezTo>
                  <a:cubicBezTo>
                    <a:pt x="32892" y="7215"/>
                    <a:pt x="33531" y="6051"/>
                    <a:pt x="33896" y="4772"/>
                  </a:cubicBezTo>
                  <a:cubicBezTo>
                    <a:pt x="33987" y="4499"/>
                    <a:pt x="34033" y="4179"/>
                    <a:pt x="33873" y="3951"/>
                  </a:cubicBezTo>
                  <a:cubicBezTo>
                    <a:pt x="33753" y="3779"/>
                    <a:pt x="33580" y="3710"/>
                    <a:pt x="33389" y="3710"/>
                  </a:cubicBezTo>
                  <a:cubicBezTo>
                    <a:pt x="33073" y="3710"/>
                    <a:pt x="32705" y="3897"/>
                    <a:pt x="32435" y="4111"/>
                  </a:cubicBezTo>
                  <a:cubicBezTo>
                    <a:pt x="31522" y="4864"/>
                    <a:pt x="30746" y="5777"/>
                    <a:pt x="30153" y="6827"/>
                  </a:cubicBezTo>
                  <a:cubicBezTo>
                    <a:pt x="30563" y="5343"/>
                    <a:pt x="30700" y="3768"/>
                    <a:pt x="30495" y="2239"/>
                  </a:cubicBezTo>
                  <a:cubicBezTo>
                    <a:pt x="30449" y="1897"/>
                    <a:pt x="30335" y="1508"/>
                    <a:pt x="30016" y="1417"/>
                  </a:cubicBezTo>
                  <a:cubicBezTo>
                    <a:pt x="29975" y="1406"/>
                    <a:pt x="29935" y="1401"/>
                    <a:pt x="29896" y="1401"/>
                  </a:cubicBezTo>
                  <a:cubicBezTo>
                    <a:pt x="29605" y="1401"/>
                    <a:pt x="29352" y="1683"/>
                    <a:pt x="29171" y="1965"/>
                  </a:cubicBezTo>
                  <a:cubicBezTo>
                    <a:pt x="28190" y="3517"/>
                    <a:pt x="27596" y="5343"/>
                    <a:pt x="27505" y="7215"/>
                  </a:cubicBezTo>
                  <a:cubicBezTo>
                    <a:pt x="27414" y="6165"/>
                    <a:pt x="27003" y="5161"/>
                    <a:pt x="26364" y="4339"/>
                  </a:cubicBezTo>
                  <a:cubicBezTo>
                    <a:pt x="26139" y="4045"/>
                    <a:pt x="25783" y="3764"/>
                    <a:pt x="25455" y="3764"/>
                  </a:cubicBezTo>
                  <a:cubicBezTo>
                    <a:pt x="25350" y="3764"/>
                    <a:pt x="25248" y="3793"/>
                    <a:pt x="25154" y="3859"/>
                  </a:cubicBezTo>
                  <a:cubicBezTo>
                    <a:pt x="24834" y="4065"/>
                    <a:pt x="24834" y="4499"/>
                    <a:pt x="24880" y="4864"/>
                  </a:cubicBezTo>
                  <a:cubicBezTo>
                    <a:pt x="25108" y="7192"/>
                    <a:pt x="25930" y="9474"/>
                    <a:pt x="27528" y="11346"/>
                  </a:cubicBezTo>
                  <a:cubicBezTo>
                    <a:pt x="24720" y="15820"/>
                    <a:pt x="21068" y="19700"/>
                    <a:pt x="18124" y="24105"/>
                  </a:cubicBezTo>
                  <a:cubicBezTo>
                    <a:pt x="17256" y="25429"/>
                    <a:pt x="16435" y="26776"/>
                    <a:pt x="15704" y="28191"/>
                  </a:cubicBezTo>
                  <a:cubicBezTo>
                    <a:pt x="16982" y="24562"/>
                    <a:pt x="17918" y="20819"/>
                    <a:pt x="18512" y="17030"/>
                  </a:cubicBezTo>
                  <a:cubicBezTo>
                    <a:pt x="19196" y="12602"/>
                    <a:pt x="19402" y="8059"/>
                    <a:pt x="18420" y="3723"/>
                  </a:cubicBezTo>
                  <a:cubicBezTo>
                    <a:pt x="18010" y="2011"/>
                    <a:pt x="17028" y="25"/>
                    <a:pt x="15271" y="2"/>
                  </a:cubicBezTo>
                  <a:cubicBezTo>
                    <a:pt x="15248" y="1"/>
                    <a:pt x="15226" y="1"/>
                    <a:pt x="15204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  <p:extLst>
      <p:ext uri="{BB962C8B-B14F-4D97-AF65-F5344CB8AC3E}">
        <p14:creationId xmlns:p14="http://schemas.microsoft.com/office/powerpoint/2010/main" val="73089449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" name="Google Shape;1844;p1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45" name="Google Shape;1845;p1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46" name="Google Shape;1846;p1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47" name="Google Shape;1847;p1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8" name="Google Shape;1848;p1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49" name="Google Shape;1849;p1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50" name="Google Shape;1850;p1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oogle Shape;15;p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" name="Google Shape;16;p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" name="Google Shape;17;p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" name="Google Shape;18;p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;p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" name="Google Shape;20;p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" name="Google Shape;23;p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" name="Google Shape;24;p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07697646"/>
      </p:ext>
    </p:extLst>
  </p:cSld>
  <p:clrMapOvr>
    <a:masterClrMapping/>
  </p:clrMapOvr>
</p:sldLayout>
</file>

<file path=ppt/slideLayouts/slideLayout25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1_Title and Conten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oogle Shape;15;p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" name="Google Shape;16;p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" name="Google Shape;17;p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" name="Google Shape;18;p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;p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" name="Google Shape;20;p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" name="Google Shape;23;p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" name="Google Shape;24;p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61349366"/>
      </p:ext>
    </p:extLst>
  </p:cSld>
  <p:clrMapOvr>
    <a:masterClrMapping/>
  </p:clrMapOvr>
</p:sldLayout>
</file>

<file path=ppt/slideLayouts/slideLayout25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27;p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" name="Google Shape;29;p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0" name="Google Shape;30;p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1" name="Google Shape;31;p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2;p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3" name="Google Shape;33;p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573730298"/>
      </p:ext>
    </p:extLst>
  </p:cSld>
  <p:clrMapOvr>
    <a:masterClrMapping/>
  </p:clrMapOvr>
</p:sldLayout>
</file>

<file path=ppt/slideLayouts/slideLayout25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oogle Shape;35;p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" name="Google Shape;36;p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" name="Google Shape;37;p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" name="Google Shape;38;p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" name="Google Shape;40;p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" name="Google Shape;43;p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" name="Google Shape;44;p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46749361"/>
      </p:ext>
    </p:extLst>
  </p:cSld>
  <p:clrMapOvr>
    <a:masterClrMapping/>
  </p:clrMapOvr>
</p:sldLayout>
</file>

<file path=ppt/slideLayouts/slideLayout25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 Content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8" name="Google Shape;48;p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" name="Google Shape;49;p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" name="Google Shape;50;p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" name="Google Shape;51;p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" name="Google Shape;52;p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" name="Google Shape;53;p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" name="Google Shape;55;p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" name="Google Shape;56;p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23498374"/>
      </p:ext>
    </p:extLst>
  </p:cSld>
  <p:clrMapOvr>
    <a:masterClrMapping/>
  </p:clrMapOvr>
</p:sldLayout>
</file>

<file path=ppt/slideLayouts/slideLayout25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69695799"/>
      </p:ext>
    </p:extLst>
  </p:cSld>
  <p:clrMapOvr>
    <a:masterClrMapping/>
  </p:clrMapOvr>
</p:sldLayout>
</file>

<file path=ppt/slideLayouts/slideLayout25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41668073"/>
      </p:ext>
    </p:extLst>
  </p:cSld>
  <p:clrMapOvr>
    <a:masterClrMapping/>
  </p:clrMapOvr>
</p:sldLayout>
</file>

<file path=ppt/slideLayouts/slideLayout25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oogle Shape;81;p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" name="Google Shape;82;p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" name="Google Shape;83;p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4" name="Google Shape;84;p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" name="Google Shape;86;p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" name="Google Shape;89;p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" name="Google Shape;90;p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40667084"/>
      </p:ext>
    </p:extLst>
  </p:cSld>
  <p:clrMapOvr>
    <a:masterClrMapping/>
  </p:clrMapOvr>
</p:sldLayout>
</file>

<file path=ppt/slideLayouts/slideLayout25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" name="Google Shape;93;p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" name="Google Shape;94;p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" name="Google Shape;95;p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" name="Google Shape;96;p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" name="Google Shape;97;p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" name="Google Shape;98;p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13698697"/>
      </p:ext>
    </p:extLst>
  </p:cSld>
  <p:clrMapOvr>
    <a:masterClrMapping/>
  </p:clrMapOvr>
</p:sldLayout>
</file>

<file path=ppt/slideLayouts/slideLayout25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1" name="Google Shape;101;p1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2" name="Google Shape;102;p1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3" name="Google Shape;103;p1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104;p1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5" name="Google Shape;105;p1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6" name="Google Shape;106;p1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" name="Google Shape;107;p1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0796336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p1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3" name="Google Shape;1853;p1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1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5" name="Google Shape;1855;p1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56" name="Google Shape;1856;p1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57" name="Google Shape;1857;p1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58" name="Google Shape;1858;p1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9" name="Google Shape;1859;p18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0" name="Google Shape;1860;p1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61" name="Google Shape;1861;p1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2" name="Google Shape;1862;p1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63" name="Google Shape;1863;p1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67796371"/>
      </p:ext>
    </p:extLst>
  </p:cSld>
  <p:clrMapOvr>
    <a:masterClrMapping/>
  </p:clrMapOvr>
</p:sldLayout>
</file>

<file path=ppt/slideLayouts/slideLayout25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" name="Google Shape;117;p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" name="Google Shape;118;p1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" name="Google Shape;119;p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" name="Google Shape;120;p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" name="Google Shape;121;p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22" name="Google Shape;122;p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" name="Google Shape;123;p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5" name="Google Shape;125;p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6" name="Google Shape;126;p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09938714"/>
      </p:ext>
    </p:extLst>
  </p:cSld>
  <p:clrMapOvr>
    <a:masterClrMapping/>
  </p:clrMapOvr>
</p:sldLayout>
</file>

<file path=ppt/slideLayouts/slideLayout25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" name="Google Shape;128;p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" name="Google Shape;129;p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" name="Google Shape;130;p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" name="Google Shape;131;p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3" name="Google Shape;133;p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" name="Google Shape;136;p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" name="Google Shape;137;p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90496467"/>
      </p:ext>
    </p:extLst>
  </p:cSld>
  <p:clrMapOvr>
    <a:masterClrMapping/>
  </p:clrMapOvr>
</p:sldLayout>
</file>

<file path=ppt/slideLayouts/slideLayout25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" name="Google Shape;128;p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9" name="Google Shape;129;p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0" name="Google Shape;130;p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1" name="Google Shape;131;p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33" name="Google Shape;133;p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" name="Google Shape;134;p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5" name="Google Shape;135;p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6" name="Google Shape;136;p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7" name="Google Shape;137;p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61779889"/>
      </p:ext>
    </p:extLst>
  </p:cSld>
  <p:clrMapOvr>
    <a:masterClrMapping/>
  </p:clrMapOvr>
</p:sldLayout>
</file>

<file path=ppt/slideLayouts/slideLayout25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9" name="Google Shape;139;p1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0" name="Google Shape;140;p1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Google Shape;141;p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Google Shape;142;p1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3" name="Google Shape;143;p1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4" name="Google Shape;144;p1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" name="Google Shape;145;p1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21704687"/>
      </p:ext>
    </p:extLst>
  </p:cSld>
  <p:clrMapOvr>
    <a:masterClrMapping/>
  </p:clrMapOvr>
</p:sldLayout>
</file>

<file path=ppt/slideLayouts/slideLayout2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" name="Google Shape;147;p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8" name="Google Shape;148;p1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" name="Google Shape;149;p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0" name="Google Shape;150;p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" name="Google Shape;151;p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" name="Google Shape;152;p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" name="Google Shape;153;p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" name="Google Shape;154;p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5" name="Google Shape;155;p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" name="Google Shape;156;p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30592390"/>
      </p:ext>
    </p:extLst>
  </p:cSld>
  <p:clrMapOvr>
    <a:masterClrMapping/>
  </p:clrMapOvr>
</p:sldLayout>
</file>

<file path=ppt/slideLayouts/slideLayout25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Google Shape;158;p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9" name="Google Shape;159;p1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0" name="Google Shape;160;p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1" name="Google Shape;161;p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" name="Google Shape;162;p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" name="Google Shape;163;p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" name="Google Shape;164;p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" name="Google Shape;166;p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" name="Google Shape;167;p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92770284"/>
      </p:ext>
    </p:extLst>
  </p:cSld>
  <p:clrMapOvr>
    <a:masterClrMapping/>
  </p:clrMapOvr>
</p:sldLayout>
</file>

<file path=ppt/slideLayouts/slideLayout2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1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" name="Google Shape;170;p1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1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2" name="Google Shape;172;p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3" name="Google Shape;173;p1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4" name="Google Shape;174;p1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6" name="Google Shape;176;p1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27694189"/>
      </p:ext>
    </p:extLst>
  </p:cSld>
  <p:clrMapOvr>
    <a:masterClrMapping/>
  </p:clrMapOvr>
</p:sldLayout>
</file>

<file path=ppt/slideLayouts/slideLayout2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" name="Google Shape;178;p1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9" name="Google Shape;179;p1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2" name="Google Shape;182;p1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3" name="Google Shape;183;p1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1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6539962"/>
      </p:ext>
    </p:extLst>
  </p:cSld>
  <p:clrMapOvr>
    <a:masterClrMapping/>
  </p:clrMapOvr>
</p:sldLayout>
</file>

<file path=ppt/slideLayouts/slideLayout25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7" name="Google Shape;187;p1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8" name="Google Shape;188;p1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9" name="Google Shape;189;p1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1" name="Google Shape;191;p1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92" name="Google Shape;192;p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6090281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Google Shape;1865;p1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6" name="Google Shape;1866;p1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7" name="Google Shape;1867;p1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8" name="Google Shape;1868;p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69" name="Google Shape;1869;p1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70" name="Google Shape;1870;p1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71" name="Google Shape;1871;p1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2" name="Google Shape;1872;p19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73" name="Google Shape;1873;p1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4" name="Google Shape;1874;p1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5" name="Google Shape;1875;p1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76" name="Google Shape;1876;p1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5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" name="Google Shape;195;p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" name="Google Shape;198;p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" name="Google Shape;199;p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0" name="Google Shape;200;p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1" name="Google Shape;201;p2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2" name="Google Shape;202;p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3" name="Google Shape;203;p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204;p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5" name="Google Shape;205;p2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13263059"/>
      </p:ext>
    </p:extLst>
  </p:cSld>
  <p:clrMapOvr>
    <a:masterClrMapping/>
  </p:clrMapOvr>
</p:sldLayout>
</file>

<file path=ppt/slideLayouts/slideLayout25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7" name="Google Shape;207;p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8" name="Google Shape;208;p2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9" name="Google Shape;209;p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0" name="Google Shape;210;p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" name="Google Shape;213;p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" name="Google Shape;214;p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5" name="Google Shape;215;p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" name="Google Shape;216;p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06909532"/>
      </p:ext>
    </p:extLst>
  </p:cSld>
  <p:clrMapOvr>
    <a:masterClrMapping/>
  </p:clrMapOvr>
</p:sldLayout>
</file>

<file path=ppt/slideLayouts/slideLayout25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" name="Google Shape;219;p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0" name="Google Shape;220;p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1" name="Google Shape;221;p2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p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" name="Google Shape;223;p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5" name="Google Shape;225;p2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" name="Google Shape;226;p2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7" name="Google Shape;227;p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8" name="Google Shape;228;p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77757073"/>
      </p:ext>
    </p:extLst>
  </p:cSld>
  <p:clrMapOvr>
    <a:masterClrMapping/>
  </p:clrMapOvr>
</p:sldLayout>
</file>

<file path=ppt/slideLayouts/slideLayout2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Comparison"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0" name="Google Shape;230;p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1" name="Google Shape;231;p2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2" name="Google Shape;232;p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3" name="Google Shape;233;p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5" name="Google Shape;235;p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" name="Google Shape;236;p2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7" name="Google Shape;237;p2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" name="Google Shape;238;p2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9" name="Google Shape;239;p2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" name="Google Shape;240;p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1" name="Google Shape;241;p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2" name="Google Shape;242;p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57540345"/>
      </p:ext>
    </p:extLst>
  </p:cSld>
  <p:clrMapOvr>
    <a:masterClrMapping/>
  </p:clrMapOvr>
</p:sldLayout>
</file>

<file path=ppt/slideLayouts/slideLayout25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4" name="Google Shape;244;p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5" name="Google Shape;245;p2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6" name="Google Shape;246;p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7" name="Google Shape;247;p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9" name="Google Shape;249;p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" name="Google Shape;250;p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" name="Google Shape;251;p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2" name="Google Shape;252;p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44618896"/>
      </p:ext>
    </p:extLst>
  </p:cSld>
  <p:clrMapOvr>
    <a:masterClrMapping/>
  </p:clrMapOvr>
</p:sldLayout>
</file>

<file path=ppt/slideLayouts/slideLayout25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4" name="Google Shape;254;p2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5" name="Google Shape;255;p2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2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7" name="Google Shape;257;p2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258;p2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" name="Google Shape;259;p2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0" name="Google Shape;260;p2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1" name="Google Shape;261;p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039958634"/>
      </p:ext>
    </p:extLst>
  </p:cSld>
  <p:clrMapOvr>
    <a:masterClrMapping/>
  </p:clrMapOvr>
</p:sldLayout>
</file>

<file path=ppt/slideLayouts/slideLayout25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" name="Google Shape;264;p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" name="Google Shape;265;p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6" name="Google Shape;266;p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7" name="Google Shape;267;p2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8" name="Google Shape;268;p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9" name="Google Shape;269;p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" name="Google Shape;270;p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2600190"/>
      </p:ext>
    </p:extLst>
  </p:cSld>
  <p:clrMapOvr>
    <a:masterClrMapping/>
  </p:clrMapOvr>
</p:sldLayout>
</file>

<file path=ppt/slideLayouts/slideLayout25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" name="Google Shape;273;p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6" name="Google Shape;276;p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8" name="Google Shape;278;p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9" name="Google Shape;279;p2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0" name="Google Shape;280;p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1" name="Google Shape;281;p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282;p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3" name="Google Shape;283;p2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1267998"/>
      </p:ext>
    </p:extLst>
  </p:cSld>
  <p:clrMapOvr>
    <a:masterClrMapping/>
  </p:clrMapOvr>
</p:sldLayout>
</file>

<file path=ppt/slideLayouts/slideLayout25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1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" name="Google Shape;170;p1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1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2" name="Google Shape;172;p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3" name="Google Shape;173;p1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4" name="Google Shape;174;p1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6" name="Google Shape;176;p1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078376861"/>
      </p:ext>
    </p:extLst>
  </p:cSld>
  <p:clrMapOvr>
    <a:masterClrMapping/>
  </p:clrMapOvr>
</p:sldLayout>
</file>

<file path=ppt/slideLayouts/slideLayout25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" name="Google Shape;178;p1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9" name="Google Shape;179;p1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2" name="Google Shape;182;p1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3" name="Google Shape;183;p1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1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999187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4" name="Google Shape;244;p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5" name="Google Shape;245;p2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6" name="Google Shape;246;p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7" name="Google Shape;247;p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9" name="Google Shape;249;p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" name="Google Shape;250;p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" name="Google Shape;251;p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2" name="Google Shape;252;p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">
    <p:spTree>
      <p:nvGrpSpPr>
        <p:cNvPr id="1" name="Shape 1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78" name="Google Shape;1878;p1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9" name="Google Shape;1879;p19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0" name="Google Shape;1880;p1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1" name="Google Shape;1881;p1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2" name="Google Shape;1882;p1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83" name="Google Shape;1883;p1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4" name="Google Shape;1884;p1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5" name="Google Shape;1885;p1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6" name="Google Shape;1886;p1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7" name="Google Shape;1887;p1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7" name="Google Shape;187;p1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8" name="Google Shape;188;p1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9" name="Google Shape;189;p1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1" name="Google Shape;191;p1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92" name="Google Shape;192;p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23408191"/>
      </p:ext>
    </p:extLst>
  </p:cSld>
  <p:clrMapOvr>
    <a:masterClrMapping/>
  </p:clrMapOvr>
</p:sldLayout>
</file>

<file path=ppt/slideLayouts/slideLayout26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" name="Google Shape;195;p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" name="Google Shape;198;p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" name="Google Shape;199;p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0" name="Google Shape;200;p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1" name="Google Shape;201;p2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2" name="Google Shape;202;p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3" name="Google Shape;203;p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204;p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5" name="Google Shape;205;p2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96774649"/>
      </p:ext>
    </p:extLst>
  </p:cSld>
  <p:clrMapOvr>
    <a:masterClrMapping/>
  </p:clrMapOvr>
</p:sldLayout>
</file>

<file path=ppt/slideLayouts/slideLayout26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7" name="Google Shape;207;p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8" name="Google Shape;208;p2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9" name="Google Shape;209;p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0" name="Google Shape;210;p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" name="Google Shape;213;p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" name="Google Shape;214;p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5" name="Google Shape;215;p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" name="Google Shape;216;p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6508340"/>
      </p:ext>
    </p:extLst>
  </p:cSld>
  <p:clrMapOvr>
    <a:masterClrMapping/>
  </p:clrMapOvr>
</p:sldLayout>
</file>

<file path=ppt/slideLayouts/slideLayout26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" name="Google Shape;219;p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0" name="Google Shape;220;p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1" name="Google Shape;221;p2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p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" name="Google Shape;223;p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5" name="Google Shape;225;p2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" name="Google Shape;226;p2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7" name="Google Shape;227;p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8" name="Google Shape;228;p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45936956"/>
      </p:ext>
    </p:extLst>
  </p:cSld>
  <p:clrMapOvr>
    <a:masterClrMapping/>
  </p:clrMapOvr>
</p:sldLayout>
</file>

<file path=ppt/slideLayouts/slideLayout26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1_Comparison"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0" name="Google Shape;230;p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1" name="Google Shape;231;p2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2" name="Google Shape;232;p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3" name="Google Shape;233;p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5" name="Google Shape;235;p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" name="Google Shape;236;p2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7" name="Google Shape;237;p2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" name="Google Shape;238;p2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9" name="Google Shape;239;p2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" name="Google Shape;240;p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1" name="Google Shape;241;p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2" name="Google Shape;242;p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72115455"/>
      </p:ext>
    </p:extLst>
  </p:cSld>
  <p:clrMapOvr>
    <a:masterClrMapping/>
  </p:clrMapOvr>
</p:sldLayout>
</file>

<file path=ppt/slideLayouts/slideLayout26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1_Title Only"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4" name="Google Shape;244;p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5" name="Google Shape;245;p2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6" name="Google Shape;246;p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7" name="Google Shape;247;p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9" name="Google Shape;249;p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" name="Google Shape;250;p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" name="Google Shape;251;p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2" name="Google Shape;252;p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65290956"/>
      </p:ext>
    </p:extLst>
  </p:cSld>
  <p:clrMapOvr>
    <a:masterClrMapping/>
  </p:clrMapOvr>
</p:sldLayout>
</file>

<file path=ppt/slideLayouts/slideLayout26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4" name="Google Shape;254;p2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5" name="Google Shape;255;p2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2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7" name="Google Shape;257;p2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258;p2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" name="Google Shape;259;p2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0" name="Google Shape;260;p2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1" name="Google Shape;261;p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575060024"/>
      </p:ext>
    </p:extLst>
  </p:cSld>
  <p:clrMapOvr>
    <a:masterClrMapping/>
  </p:clrMapOvr>
</p:sldLayout>
</file>

<file path=ppt/slideLayouts/slideLayout26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" name="Google Shape;264;p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" name="Google Shape;265;p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6" name="Google Shape;266;p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7" name="Google Shape;267;p2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8" name="Google Shape;268;p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9" name="Google Shape;269;p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" name="Google Shape;270;p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2937853"/>
      </p:ext>
    </p:extLst>
  </p:cSld>
  <p:clrMapOvr>
    <a:masterClrMapping/>
  </p:clrMapOvr>
</p:sldLayout>
</file>

<file path=ppt/slideLayouts/slideLayout26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" name="Google Shape;273;p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6" name="Google Shape;276;p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8" name="Google Shape;278;p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9" name="Google Shape;279;p2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0" name="Google Shape;280;p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1" name="Google Shape;281;p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282;p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3" name="Google Shape;283;p2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3275548"/>
      </p:ext>
    </p:extLst>
  </p:cSld>
  <p:clrMapOvr>
    <a:masterClrMapping/>
  </p:clrMapOvr>
</p:sldLayout>
</file>

<file path=ppt/slideLayouts/slideLayout26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2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" name="Google Shape;286;p2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2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88" name="Google Shape;288;p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89" name="Google Shape;289;p2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90" name="Google Shape;290;p2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91;p2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2" name="Google Shape;292;p2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97434600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9" name="Google Shape;1889;p1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0" name="Google Shape;1890;p1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891" name="Google Shape;1891;p1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2" name="Google Shape;1892;p19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3" name="Google Shape;1893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4" name="Google Shape;1894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5" name="Google Shape;1895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6" name="Google Shape;1896;p1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7" name="Google Shape;1897;p1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8" name="Google Shape;1898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9" name="Google Shape;1899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4" name="Google Shape;294;p2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95" name="Google Shape;295;p2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96;p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97;p2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8" name="Google Shape;298;p2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9" name="Google Shape;299;p2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0" name="Google Shape;300;p2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95089812"/>
      </p:ext>
    </p:extLst>
  </p:cSld>
  <p:clrMapOvr>
    <a:masterClrMapping/>
  </p:clrMapOvr>
</p:sldLayout>
</file>

<file path=ppt/slideLayouts/slideLayout26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p3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03" name="Google Shape;303;p3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4" name="Google Shape;304;p3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05" name="Google Shape;305;p3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306;p3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7" name="Google Shape;307;p3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08" name="Google Shape;308;p30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4592691"/>
      </p:ext>
    </p:extLst>
  </p:cSld>
  <p:clrMapOvr>
    <a:masterClrMapping/>
  </p:clrMapOvr>
</p:sldLayout>
</file>

<file path=ppt/slideLayouts/slideLayout26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311;p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" name="Google Shape;313;p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4" name="Google Shape;314;p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5" name="Google Shape;315;p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6" name="Google Shape;316;p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7" name="Google Shape;317;p3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8" name="Google Shape;318;p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9" name="Google Shape;319;p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1" name="Google Shape;321;p3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6508275"/>
      </p:ext>
    </p:extLst>
  </p:cSld>
  <p:clrMapOvr>
    <a:masterClrMapping/>
  </p:clrMapOvr>
</p:sldLayout>
</file>

<file path=ppt/slideLayouts/slideLayout26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311;p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" name="Google Shape;313;p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4" name="Google Shape;314;p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5" name="Google Shape;315;p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6" name="Google Shape;316;p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7" name="Google Shape;317;p3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8" name="Google Shape;318;p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9" name="Google Shape;319;p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1" name="Google Shape;321;p3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15267614"/>
      </p:ext>
    </p:extLst>
  </p:cSld>
  <p:clrMapOvr>
    <a:masterClrMapping/>
  </p:clrMapOvr>
</p:sldLayout>
</file>

<file path=ppt/slideLayouts/slideLayout26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4" name="Google Shape;324;p3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25" name="Google Shape;325;p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6" name="Google Shape;326;p3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7" name="Google Shape;327;p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8" name="Google Shape;328;p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0" name="Google Shape;330;p3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" name="Google Shape;331;p3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2" name="Google Shape;332;p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3" name="Google Shape;333;p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1348567"/>
      </p:ext>
    </p:extLst>
  </p:cSld>
  <p:clrMapOvr>
    <a:masterClrMapping/>
  </p:clrMapOvr>
</p:sldLayout>
</file>

<file path=ppt/slideLayouts/slideLayout26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5" name="Google Shape;335;p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6" name="Google Shape;336;p3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7" name="Google Shape;337;p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8" name="Google Shape;338;p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9" name="Google Shape;339;p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0" name="Google Shape;340;p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1" name="Google Shape;341;p3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2" name="Google Shape;342;p3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3" name="Google Shape;343;p3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4" name="Google Shape;344;p3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5" name="Google Shape;345;p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6" name="Google Shape;346;p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7" name="Google Shape;347;p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37546221"/>
      </p:ext>
    </p:extLst>
  </p:cSld>
  <p:clrMapOvr>
    <a:masterClrMapping/>
  </p:clrMapOvr>
</p:sldLayout>
</file>

<file path=ppt/slideLayouts/slideLayout26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9" name="Google Shape;349;p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0" name="Google Shape;350;p3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1" name="Google Shape;351;p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2" name="Google Shape;352;p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3" name="Google Shape;353;p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4" name="Google Shape;354;p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5" name="Google Shape;355;p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6" name="Google Shape;356;p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7" name="Google Shape;357;p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10204125"/>
      </p:ext>
    </p:extLst>
  </p:cSld>
  <p:clrMapOvr>
    <a:masterClrMapping/>
  </p:clrMapOvr>
</p:sldLayout>
</file>

<file path=ppt/slideLayouts/slideLayout26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9" name="Google Shape;359;p3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60" name="Google Shape;360;p3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3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2" name="Google Shape;362;p3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3" name="Google Shape;363;p3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4" name="Google Shape;364;p3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65" name="Google Shape;365;p3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66" name="Google Shape;366;p3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147090151"/>
      </p:ext>
    </p:extLst>
  </p:cSld>
  <p:clrMapOvr>
    <a:masterClrMapping/>
  </p:clrMapOvr>
</p:sldLayout>
</file>

<file path=ppt/slideLayouts/slideLayout26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3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" name="Google Shape;369;p3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p3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" name="Google Shape;371;p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2" name="Google Shape;372;p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3" name="Google Shape;373;p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4" name="Google Shape;374;p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5" name="Google Shape;375;p3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6" name="Google Shape;376;p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7" name="Google Shape;377;p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8" name="Google Shape;378;p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9" name="Google Shape;379;p3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8596233"/>
      </p:ext>
    </p:extLst>
  </p:cSld>
  <p:clrMapOvr>
    <a:masterClrMapping/>
  </p:clrMapOvr>
</p:sldLayout>
</file>

<file path=ppt/slideLayouts/slideLayout26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Google Shape;381;p3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" name="Google Shape;382;p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" name="Google Shape;383;p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" name="Google Shape;384;p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5" name="Google Shape;385;p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6" name="Google Shape;386;p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87" name="Google Shape;387;p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8" name="Google Shape;388;p3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" name="Google Shape;389;p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0" name="Google Shape;390;p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2" name="Google Shape;392;p3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38345865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1" name="Google Shape;1901;p1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2" name="Google Shape;1902;p19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3" name="Google Shape;1903;p1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4" name="Google Shape;1904;p1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5" name="Google Shape;1905;p1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6" name="Google Shape;1906;p1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7" name="Google Shape;1907;p1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08" name="Google Shape;1908;p1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1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10" name="Google Shape;1910;p1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1" name="Google Shape;1911;p1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2" name="Google Shape;1912;p1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3" name="Google Shape;1913;p1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4_Quotation"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3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" name="Google Shape;369;p3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p3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" name="Google Shape;371;p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2" name="Google Shape;372;p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3" name="Google Shape;373;p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4" name="Google Shape;374;p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5" name="Google Shape;375;p3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6" name="Google Shape;376;p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7" name="Google Shape;377;p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8" name="Google Shape;378;p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9" name="Google Shape;379;p3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07450122"/>
      </p:ext>
    </p:extLst>
  </p:cSld>
  <p:clrMapOvr>
    <a:masterClrMapping/>
  </p:clrMapOvr>
</p:sldLayout>
</file>

<file path=ppt/slideLayouts/slideLayout26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4_Quotation"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Google Shape;381;p3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" name="Google Shape;382;p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" name="Google Shape;383;p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" name="Google Shape;384;p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5" name="Google Shape;385;p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6" name="Google Shape;386;p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87" name="Google Shape;387;p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8" name="Google Shape;388;p3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" name="Google Shape;389;p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0" name="Google Shape;390;p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2" name="Google Shape;392;p3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40034151"/>
      </p:ext>
    </p:extLst>
  </p:cSld>
  <p:clrMapOvr>
    <a:masterClrMapping/>
  </p:clrMapOvr>
</p:sldLayout>
</file>

<file path=ppt/slideLayouts/slideLayout26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Google Shape;394;p3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5" name="Google Shape;395;p3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6" name="Google Shape;396;p3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97" name="Google Shape;397;p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98" name="Google Shape;398;p3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99" name="Google Shape;399;p3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400;p3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1" name="Google Shape;401;p3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560166681"/>
      </p:ext>
    </p:extLst>
  </p:cSld>
  <p:clrMapOvr>
    <a:masterClrMapping/>
  </p:clrMapOvr>
</p:sldLayout>
</file>

<file path=ppt/slideLayouts/slideLayout26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" name="Google Shape;403;p3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04" name="Google Shape;404;p3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5" name="Google Shape;405;p3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406;p3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7" name="Google Shape;407;p3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08" name="Google Shape;408;p3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9" name="Google Shape;409;p3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33887515"/>
      </p:ext>
    </p:extLst>
  </p:cSld>
  <p:clrMapOvr>
    <a:masterClrMapping/>
  </p:clrMapOvr>
</p:sldLayout>
</file>

<file path=ppt/slideLayouts/slideLayout26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p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12" name="Google Shape;412;p4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13" name="Google Shape;413;p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14" name="Google Shape;414;p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16" name="Google Shape;416;p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17" name="Google Shape;417;p40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2968475"/>
      </p:ext>
    </p:extLst>
  </p:cSld>
  <p:clrMapOvr>
    <a:masterClrMapping/>
  </p:clrMapOvr>
</p:sldLayout>
</file>

<file path=ppt/slideLayouts/slideLayout26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0" name="Google Shape;420;p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1" name="Google Shape;421;p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2" name="Google Shape;422;p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3" name="Google Shape;423;p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4" name="Google Shape;424;p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25" name="Google Shape;425;p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6" name="Google Shape;426;p4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7" name="Google Shape;427;p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8" name="Google Shape;428;p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9" name="Google Shape;429;p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30" name="Google Shape;430;p4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16376483"/>
      </p:ext>
    </p:extLst>
  </p:cSld>
  <p:clrMapOvr>
    <a:masterClrMapping/>
  </p:clrMapOvr>
</p:sldLayout>
</file>

<file path=ppt/slideLayouts/slideLayout26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0" name="Google Shape;420;p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1" name="Google Shape;421;p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2" name="Google Shape;422;p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3" name="Google Shape;423;p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4" name="Google Shape;424;p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25" name="Google Shape;425;p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6" name="Google Shape;426;p4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7" name="Google Shape;427;p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8" name="Google Shape;428;p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9" name="Google Shape;429;p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30" name="Google Shape;430;p4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69496186"/>
      </p:ext>
    </p:extLst>
  </p:cSld>
  <p:clrMapOvr>
    <a:masterClrMapping/>
  </p:clrMapOvr>
</p:sldLayout>
</file>

<file path=ppt/slideLayouts/slideLayout26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2" name="Google Shape;432;p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3" name="Google Shape;433;p4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4" name="Google Shape;434;p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5" name="Google Shape;435;p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7" name="Google Shape;437;p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" name="Google Shape;438;p4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9" name="Google Shape;439;p4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0" name="Google Shape;440;p4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41" name="Google Shape;441;p4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2" name="Google Shape;442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3" name="Google Shape;443;p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4" name="Google Shape;444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55982830"/>
      </p:ext>
    </p:extLst>
  </p:cSld>
  <p:clrMapOvr>
    <a:masterClrMapping/>
  </p:clrMapOvr>
</p:sldLayout>
</file>

<file path=ppt/slideLayouts/slideLayout26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6" name="Google Shape;446;p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7" name="Google Shape;447;p4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8" name="Google Shape;448;p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9" name="Google Shape;449;p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1" name="Google Shape;451;p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2" name="Google Shape;452;p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3" name="Google Shape;453;p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4" name="Google Shape;454;p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55630034"/>
      </p:ext>
    </p:extLst>
  </p:cSld>
  <p:clrMapOvr>
    <a:masterClrMapping/>
  </p:clrMapOvr>
</p:sldLayout>
</file>

<file path=ppt/slideLayouts/slideLayout26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4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4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4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9" name="Google Shape;459;p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60" name="Google Shape;460;p4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61" name="Google Shape;461;p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2" name="Google Shape;462;p4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3" name="Google Shape;463;p4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14854542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15" name="Google Shape;1915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6" name="Google Shape;1916;p19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7" name="Google Shape;1917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8" name="Google Shape;1918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9" name="Google Shape;1919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0" name="Google Shape;1920;p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1" name="Google Shape;1921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2" name="Google Shape;1922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3" name="Google Shape;1923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5" name="Google Shape;465;p4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66" name="Google Shape;466;p4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" name="Google Shape;467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8" name="Google Shape;468;p4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9" name="Google Shape;469;p4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70" name="Google Shape;470;p4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1" name="Google Shape;471;p4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33439117"/>
      </p:ext>
    </p:extLst>
  </p:cSld>
  <p:clrMapOvr>
    <a:masterClrMapping/>
  </p:clrMapOvr>
</p:sldLayout>
</file>

<file path=ppt/slideLayouts/slideLayout26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Google Shape;473;p4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4" name="Google Shape;474;p4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5" name="Google Shape;475;p4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6" name="Google Shape;476;p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8" name="Google Shape;478;p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9" name="Google Shape;479;p4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45223160"/>
      </p:ext>
    </p:extLst>
  </p:cSld>
  <p:clrMapOvr>
    <a:masterClrMapping/>
  </p:clrMapOvr>
</p:sldLayout>
</file>

<file path=ppt/slideLayouts/slideLayout26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" name="Google Shape;481;p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2" name="Google Shape;482;p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3" name="Google Shape;483;p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" name="Google Shape;484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5" name="Google Shape;485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6" name="Google Shape;486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7" name="Google Shape;487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8" name="Google Shape;488;p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9" name="Google Shape;489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0" name="Google Shape;490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1" name="Google Shape;491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2" name="Google Shape;492;p4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5036516"/>
      </p:ext>
    </p:extLst>
  </p:cSld>
  <p:clrMapOvr>
    <a:masterClrMapping/>
  </p:clrMapOvr>
</p:sldLayout>
</file>

<file path=ppt/slideLayouts/slideLayout2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4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5" name="Google Shape;495;p4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6" name="Google Shape;496;p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7" name="Google Shape;497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8" name="Google Shape;498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9" name="Google Shape;499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00" name="Google Shape;500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1" name="Google Shape;501;p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2" name="Google Shape;502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3" name="Google Shape;503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5" name="Google Shape;505;p4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4466047"/>
      </p:ext>
    </p:extLst>
  </p:cSld>
  <p:clrMapOvr>
    <a:masterClrMapping/>
  </p:clrMapOvr>
</p:sldLayout>
</file>

<file path=ppt/slideLayouts/slideLayout26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09" name="Google Shape;509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0" name="Google Shape;510;p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1" name="Google Shape;511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2" name="Google Shape;512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4" name="Google Shape;514;p4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4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" name="Google Shape;516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" name="Google Shape;517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75952450"/>
      </p:ext>
    </p:extLst>
  </p:cSld>
  <p:clrMapOvr>
    <a:masterClrMapping/>
  </p:clrMapOvr>
</p:sldLayout>
</file>

<file path=ppt/slideLayouts/slideLayout26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9" name="Google Shape;519;p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0" name="Google Shape;520;p5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1" name="Google Shape;521;p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2" name="Google Shape;522;p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3" name="Google Shape;523;p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4" name="Google Shape;524;p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" name="Google Shape;525;p5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6" name="Google Shape;526;p5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7" name="Google Shape;527;p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8" name="Google Shape;528;p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9" name="Google Shape;529;p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0" name="Google Shape;530;p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1" name="Google Shape;531;p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71526288"/>
      </p:ext>
    </p:extLst>
  </p:cSld>
  <p:clrMapOvr>
    <a:masterClrMapping/>
  </p:clrMapOvr>
</p:sldLayout>
</file>

<file path=ppt/slideLayouts/slideLayout26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3" name="Google Shape;533;p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4" name="Google Shape;534;p5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5" name="Google Shape;535;p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6" name="Google Shape;536;p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7" name="Google Shape;537;p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8" name="Google Shape;538;p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p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0" name="Google Shape;540;p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1" name="Google Shape;541;p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089245"/>
      </p:ext>
    </p:extLst>
  </p:cSld>
  <p:clrMapOvr>
    <a:masterClrMapping/>
  </p:clrMapOvr>
</p:sldLayout>
</file>

<file path=ppt/slideLayouts/slideLayout26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3" name="Google Shape;543;p5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44" name="Google Shape;544;p5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5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6" name="Google Shape;546;p5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7" name="Google Shape;547;p5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8" name="Google Shape;548;p5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49" name="Google Shape;549;p5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50" name="Google Shape;550;p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911437823"/>
      </p:ext>
    </p:extLst>
  </p:cSld>
  <p:clrMapOvr>
    <a:masterClrMapping/>
  </p:clrMapOvr>
</p:sldLayout>
</file>

<file path=ppt/slideLayouts/slideLayout26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3" name="Google Shape;553;p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4" name="Google Shape;554;p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5" name="Google Shape;555;p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6" name="Google Shape;556;p5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7" name="Google Shape;557;p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8" name="Google Shape;558;p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47400008"/>
      </p:ext>
    </p:extLst>
  </p:cSld>
  <p:clrMapOvr>
    <a:masterClrMapping/>
  </p:clrMapOvr>
</p:sldLayout>
</file>

<file path=ppt/slideLayouts/slideLayout26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" name="Google Shape;561;p54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2" name="Google Shape;562;p54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63" name="Google Shape;563;p54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64" name="Google Shape;564;p54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5" name="Google Shape;565;p54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66" name="Google Shape;566;p5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0185691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5" name="Google Shape;1925;p1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26" name="Google Shape;1926;p1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7" name="Google Shape;1927;p1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28" name="Google Shape;1928;p1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9" name="Google Shape;1929;p1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0" name="Google Shape;1930;p1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31" name="Google Shape;1931;p19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32" name="Google Shape;1932;p1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6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4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4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4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9" name="Google Shape;459;p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60" name="Google Shape;460;p4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61" name="Google Shape;461;p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2" name="Google Shape;462;p4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3" name="Google Shape;463;p4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493640121"/>
      </p:ext>
    </p:extLst>
  </p:cSld>
  <p:clrMapOvr>
    <a:masterClrMapping/>
  </p:clrMapOvr>
</p:sldLayout>
</file>

<file path=ppt/slideLayouts/slideLayout26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5" name="Google Shape;465;p4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66" name="Google Shape;466;p4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" name="Google Shape;467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8" name="Google Shape;468;p4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9" name="Google Shape;469;p4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70" name="Google Shape;470;p4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1" name="Google Shape;471;p4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72571483"/>
      </p:ext>
    </p:extLst>
  </p:cSld>
  <p:clrMapOvr>
    <a:masterClrMapping/>
  </p:clrMapOvr>
</p:sldLayout>
</file>

<file path=ppt/slideLayouts/slideLayout2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Google Shape;473;p4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4" name="Google Shape;474;p4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5" name="Google Shape;475;p4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6" name="Google Shape;476;p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8" name="Google Shape;478;p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9" name="Google Shape;479;p4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60285769"/>
      </p:ext>
    </p:extLst>
  </p:cSld>
  <p:clrMapOvr>
    <a:masterClrMapping/>
  </p:clrMapOvr>
</p:sldLayout>
</file>

<file path=ppt/slideLayouts/slideLayout26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" name="Google Shape;481;p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2" name="Google Shape;482;p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3" name="Google Shape;483;p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" name="Google Shape;484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5" name="Google Shape;485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6" name="Google Shape;486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7" name="Google Shape;487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8" name="Google Shape;488;p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9" name="Google Shape;489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0" name="Google Shape;490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1" name="Google Shape;491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2" name="Google Shape;492;p4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7355532"/>
      </p:ext>
    </p:extLst>
  </p:cSld>
  <p:clrMapOvr>
    <a:masterClrMapping/>
  </p:clrMapOvr>
</p:sldLayout>
</file>

<file path=ppt/slideLayouts/slideLayout26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4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5" name="Google Shape;495;p4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6" name="Google Shape;496;p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7" name="Google Shape;497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8" name="Google Shape;498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9" name="Google Shape;499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00" name="Google Shape;500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1" name="Google Shape;501;p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2" name="Google Shape;502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3" name="Google Shape;503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5" name="Google Shape;505;p4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45213334"/>
      </p:ext>
    </p:extLst>
  </p:cSld>
  <p:clrMapOvr>
    <a:masterClrMapping/>
  </p:clrMapOvr>
</p:sldLayout>
</file>

<file path=ppt/slideLayouts/slideLayout26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09" name="Google Shape;509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0" name="Google Shape;510;p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1" name="Google Shape;511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2" name="Google Shape;512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4" name="Google Shape;514;p4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4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" name="Google Shape;516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" name="Google Shape;517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41089224"/>
      </p:ext>
    </p:extLst>
  </p:cSld>
  <p:clrMapOvr>
    <a:masterClrMapping/>
  </p:clrMapOvr>
</p:sldLayout>
</file>

<file path=ppt/slideLayouts/slideLayout26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9" name="Google Shape;519;p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0" name="Google Shape;520;p5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1" name="Google Shape;521;p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2" name="Google Shape;522;p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3" name="Google Shape;523;p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4" name="Google Shape;524;p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" name="Google Shape;525;p5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6" name="Google Shape;526;p5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7" name="Google Shape;527;p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8" name="Google Shape;528;p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9" name="Google Shape;529;p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0" name="Google Shape;530;p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1" name="Google Shape;531;p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12732253"/>
      </p:ext>
    </p:extLst>
  </p:cSld>
  <p:clrMapOvr>
    <a:masterClrMapping/>
  </p:clrMapOvr>
</p:sldLayout>
</file>

<file path=ppt/slideLayouts/slideLayout26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3" name="Google Shape;533;p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4" name="Google Shape;534;p5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5" name="Google Shape;535;p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6" name="Google Shape;536;p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7" name="Google Shape;537;p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8" name="Google Shape;538;p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p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0" name="Google Shape;540;p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1" name="Google Shape;541;p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72613702"/>
      </p:ext>
    </p:extLst>
  </p:cSld>
  <p:clrMapOvr>
    <a:masterClrMapping/>
  </p:clrMapOvr>
</p:sldLayout>
</file>

<file path=ppt/slideLayouts/slideLayout26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3" name="Google Shape;543;p5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44" name="Google Shape;544;p5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5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6" name="Google Shape;546;p5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7" name="Google Shape;547;p5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8" name="Google Shape;548;p5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49" name="Google Shape;549;p5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50" name="Google Shape;550;p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902097525"/>
      </p:ext>
    </p:extLst>
  </p:cSld>
  <p:clrMapOvr>
    <a:masterClrMapping/>
  </p:clrMapOvr>
</p:sldLayout>
</file>

<file path=ppt/slideLayouts/slideLayout26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3" name="Google Shape;553;p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4" name="Google Shape;554;p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5" name="Google Shape;555;p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6" name="Google Shape;556;p5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7" name="Google Shape;557;p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8" name="Google Shape;558;p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8038417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4" name="Google Shape;1934;p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5" name="Google Shape;1935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6" name="Google Shape;1936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37" name="Google Shape;1937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38" name="Google Shape;1938;p19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39" name="Google Shape;1939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40" name="Google Shape;1940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1" name="Google Shape;1941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6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8" name="Google Shape;568;p5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69" name="Google Shape;569;p5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0" name="Google Shape;570;p5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1" name="Google Shape;571;p5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2" name="Google Shape;572;p5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73" name="Google Shape;573;p5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5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37839330"/>
      </p:ext>
    </p:extLst>
  </p:cSld>
  <p:clrMapOvr>
    <a:masterClrMapping/>
  </p:clrMapOvr>
</p:sldLayout>
</file>

<file path=ppt/slideLayouts/slideLayout26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" name="Google Shape;576;p5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77" name="Google Shape;577;p5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78" name="Google Shape;578;p5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79" name="Google Shape;579;p5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5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81" name="Google Shape;581;p5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82" name="Google Shape;582;p5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61197290"/>
      </p:ext>
    </p:extLst>
  </p:cSld>
  <p:clrMapOvr>
    <a:masterClrMapping/>
  </p:clrMapOvr>
</p:sldLayout>
</file>

<file path=ppt/slideLayouts/slideLayout2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4" name="Google Shape;584;p5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5" name="Google Shape;585;p5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6" name="Google Shape;586;p5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87" name="Google Shape;587;p5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88" name="Google Shape;588;p5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89" name="Google Shape;589;p5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0" name="Google Shape;590;p5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1" name="Google Shape;591;p5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389413031"/>
      </p:ext>
    </p:extLst>
  </p:cSld>
  <p:clrMapOvr>
    <a:masterClrMapping/>
  </p:clrMapOvr>
</p:sldLayout>
</file>

<file path=ppt/slideLayouts/slideLayout26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3" name="Google Shape;593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4" name="Google Shape;594;p5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5" name="Google Shape;595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6" name="Google Shape;596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7" name="Google Shape;597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8" name="Google Shape;598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" name="Google Shape;599;p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0" name="Google Shape;600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1" name="Google Shape;601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2" name="Google Shape;602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1901529"/>
      </p:ext>
    </p:extLst>
  </p:cSld>
  <p:clrMapOvr>
    <a:masterClrMapping/>
  </p:clrMapOvr>
</p:sldLayout>
</file>

<file path=ppt/slideLayouts/slideLayout26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" name="Google Shape;604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p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06" name="Google Shape;606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7" name="Google Shape;607;p5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8" name="Google Shape;608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9" name="Google Shape;609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0" name="Google Shape;610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1" name="Google Shape;611;p5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2" name="Google Shape;612;p5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3" name="Google Shape;613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4" name="Google Shape;614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41617968"/>
      </p:ext>
    </p:extLst>
  </p:cSld>
  <p:clrMapOvr>
    <a:masterClrMapping/>
  </p:clrMapOvr>
</p:sldLayout>
</file>

<file path=ppt/slideLayouts/slideLayout2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6" name="Google Shape;616;p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7" name="Google Shape;617;p6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8" name="Google Shape;618;p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9" name="Google Shape;619;p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0" name="Google Shape;620;p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1" name="Google Shape;621;p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2" name="Google Shape;622;p6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23" name="Google Shape;623;p6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4" name="Google Shape;624;p6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25" name="Google Shape;625;p6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6" name="Google Shape;626;p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7" name="Google Shape;627;p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8" name="Google Shape;628;p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21702304"/>
      </p:ext>
    </p:extLst>
  </p:cSld>
  <p:clrMapOvr>
    <a:masterClrMapping/>
  </p:clrMapOvr>
</p:sldLayout>
</file>

<file path=ppt/slideLayouts/slideLayout2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6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" name="Google Shape;631;p6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6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3" name="Google Shape;633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4" name="Google Shape;634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5" name="Google Shape;635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36" name="Google Shape;636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7" name="Google Shape;637;p6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8" name="Google Shape;638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9" name="Google Shape;639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0" name="Google Shape;640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1" name="Google Shape;641;p6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72097800"/>
      </p:ext>
    </p:extLst>
  </p:cSld>
  <p:clrMapOvr>
    <a:masterClrMapping/>
  </p:clrMapOvr>
</p:sldLayout>
</file>

<file path=ppt/slideLayouts/slideLayout2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6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" name="Google Shape;631;p6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6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3" name="Google Shape;633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4" name="Google Shape;634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5" name="Google Shape;635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36" name="Google Shape;636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7" name="Google Shape;637;p6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8" name="Google Shape;638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9" name="Google Shape;639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0" name="Google Shape;640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1" name="Google Shape;641;p6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74643711"/>
      </p:ext>
    </p:extLst>
  </p:cSld>
  <p:clrMapOvr>
    <a:masterClrMapping/>
  </p:clrMapOvr>
</p:sldLayout>
</file>

<file path=ppt/slideLayouts/slideLayout2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3" name="Google Shape;643;p6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44" name="Google Shape;644;p6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5" name="Google Shape;645;p6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6" name="Google Shape;646;p6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Google Shape;647;p6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8" name="Google Shape;648;p6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49" name="Google Shape;649;p6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50" name="Google Shape;650;p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15690302"/>
      </p:ext>
    </p:extLst>
  </p:cSld>
  <p:clrMapOvr>
    <a:masterClrMapping/>
  </p:clrMapOvr>
</p:sldLayout>
</file>

<file path=ppt/slideLayouts/slideLayout2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2" name="Google Shape;652;p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3" name="Google Shape;653;p6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4" name="Google Shape;654;p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5" name="Google Shape;655;p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6" name="Google Shape;656;p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7" name="Google Shape;657;p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8" name="Google Shape;658;p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9" name="Google Shape;659;p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0" name="Google Shape;660;p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84794942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" name="Google Shape;1740;p1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41" name="Google Shape;1741;p1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2" name="Google Shape;1742;p1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3" name="Google Shape;1743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4" name="Google Shape;1744;p1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5" name="Google Shape;1745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46" name="Google Shape;1746;p1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7" name="Google Shape;1747;p17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8" name="Google Shape;1748;p1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49" name="Google Shape;1749;p1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0" name="Google Shape;1750;p1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51" name="Google Shape;1751;p17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2" name="Google Shape;662;p6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63" name="Google Shape;663;p6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4" name="Google Shape;664;p6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65" name="Google Shape;665;p6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6" name="Google Shape;666;p6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7" name="Google Shape;667;p6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68" name="Google Shape;668;p64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69" name="Google Shape;669;p6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777824434"/>
      </p:ext>
    </p:extLst>
  </p:cSld>
  <p:clrMapOvr>
    <a:masterClrMapping/>
  </p:clrMapOvr>
</p:sldLayout>
</file>

<file path=ppt/slideLayouts/slideLayout26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2" name="Google Shape;672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3" name="Google Shape;673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74" name="Google Shape;674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5" name="Google Shape;675;p6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" name="Google Shape;676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7" name="Google Shape;677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" name="Google Shape;678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01017121"/>
      </p:ext>
    </p:extLst>
  </p:cSld>
  <p:clrMapOvr>
    <a:masterClrMapping/>
  </p:clrMapOvr>
</p:sldLayout>
</file>

<file path=ppt/slideLayouts/slideLayout26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Google Shape;680;p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1" name="Google Shape;681;p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2" name="Google Shape;682;p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3" name="Google Shape;683;p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4" name="Google Shape;684;p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5" name="Google Shape;685;p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86" name="Google Shape;686;p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7" name="Google Shape;687;p6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8" name="Google Shape;688;p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9" name="Google Shape;689;p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0" name="Google Shape;690;p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1" name="Google Shape;691;p6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89130800"/>
      </p:ext>
    </p:extLst>
  </p:cSld>
  <p:clrMapOvr>
    <a:masterClrMapping/>
  </p:clrMapOvr>
</p:sldLayout>
</file>

<file path=ppt/slideLayouts/slideLayout2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Google Shape;680;p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1" name="Google Shape;681;p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2" name="Google Shape;682;p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3" name="Google Shape;683;p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4" name="Google Shape;684;p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5" name="Google Shape;685;p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86" name="Google Shape;686;p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7" name="Google Shape;687;p6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8" name="Google Shape;688;p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9" name="Google Shape;689;p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0" name="Google Shape;690;p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1" name="Google Shape;691;p6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39514504"/>
      </p:ext>
    </p:extLst>
  </p:cSld>
  <p:clrMapOvr>
    <a:masterClrMapping/>
  </p:clrMapOvr>
</p:sldLayout>
</file>

<file path=ppt/slideLayouts/slideLayout26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3" name="Google Shape;693;p6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4" name="Google Shape;694;p6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5" name="Google Shape;695;p6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96" name="Google Shape;696;p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97" name="Google Shape;697;p6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98" name="Google Shape;698;p6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" name="Google Shape;699;p6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0" name="Google Shape;700;p6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992268447"/>
      </p:ext>
    </p:extLst>
  </p:cSld>
  <p:clrMapOvr>
    <a:masterClrMapping/>
  </p:clrMapOvr>
</p:sldLayout>
</file>

<file path=ppt/slideLayouts/slideLayout26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2" name="Google Shape;702;p6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03" name="Google Shape;703;p6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4" name="Google Shape;704;p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5" name="Google Shape;705;p6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6" name="Google Shape;706;p6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07" name="Google Shape;707;p6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" name="Google Shape;708;p6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5934040"/>
      </p:ext>
    </p:extLst>
  </p:cSld>
  <p:clrMapOvr>
    <a:masterClrMapping/>
  </p:clrMapOvr>
</p:sldLayout>
</file>

<file path=ppt/slideLayouts/slideLayout26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p6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11" name="Google Shape;711;p6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12" name="Google Shape;712;p6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13" name="Google Shape;713;p6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4" name="Google Shape;714;p6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5" name="Google Shape;715;p6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16" name="Google Shape;716;p69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8876701"/>
      </p:ext>
    </p:extLst>
  </p:cSld>
  <p:clrMapOvr>
    <a:masterClrMapping/>
  </p:clrMapOvr>
</p:sldLayout>
</file>

<file path=ppt/slideLayouts/slideLayout26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8" name="Google Shape;718;p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9" name="Google Shape;719;p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0" name="Google Shape;720;p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1" name="Google Shape;721;p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2" name="Google Shape;722;p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3" name="Google Shape;723;p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24" name="Google Shape;724;p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5" name="Google Shape;725;p7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6" name="Google Shape;726;p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7" name="Google Shape;727;p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" name="Google Shape;728;p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9" name="Google Shape;729;p7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13832832"/>
      </p:ext>
    </p:extLst>
  </p:cSld>
  <p:clrMapOvr>
    <a:masterClrMapping/>
  </p:clrMapOvr>
</p:sldLayout>
</file>

<file path=ppt/slideLayouts/slideLayout26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1" name="Google Shape;731;p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2" name="Google Shape;732;p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3" name="Google Shape;733;p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4" name="Google Shape;734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5" name="Google Shape;735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6" name="Google Shape;736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7" name="Google Shape;737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8" name="Google Shape;738;p7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9" name="Google Shape;739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0" name="Google Shape;740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1" name="Google Shape;741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42" name="Google Shape;742;p7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1525420"/>
      </p:ext>
    </p:extLst>
  </p:cSld>
  <p:clrMapOvr>
    <a:masterClrMapping/>
  </p:clrMapOvr>
</p:sldLayout>
</file>

<file path=ppt/slideLayouts/slideLayout2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8" name="Google Shape;718;p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9" name="Google Shape;719;p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0" name="Google Shape;720;p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1" name="Google Shape;721;p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2" name="Google Shape;722;p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3" name="Google Shape;723;p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24" name="Google Shape;724;p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5" name="Google Shape;725;p7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6" name="Google Shape;726;p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7" name="Google Shape;727;p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" name="Google Shape;728;p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9" name="Google Shape;729;p7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3310561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3" name="Google Shape;1753;p1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4" name="Google Shape;1754;p17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55" name="Google Shape;1755;p1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6" name="Google Shape;1756;p17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57" name="Google Shape;1757;p1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58" name="Google Shape;1758;p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9" name="Google Shape;1759;p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60" name="Google Shape;1760;p17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1" name="Google Shape;1761;p17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2" name="Google Shape;1762;p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3" name="Google Shape;1763;p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1" name="Google Shape;731;p7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2" name="Google Shape;732;p7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3" name="Google Shape;733;p7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4" name="Google Shape;734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5" name="Google Shape;735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36" name="Google Shape;736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37" name="Google Shape;737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8" name="Google Shape;738;p7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9" name="Google Shape;739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0" name="Google Shape;740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1" name="Google Shape;741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42" name="Google Shape;742;p7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407987"/>
      </p:ext>
    </p:extLst>
  </p:cSld>
  <p:clrMapOvr>
    <a:masterClrMapping/>
  </p:clrMapOvr>
</p:sldLayout>
</file>

<file path=ppt/slideLayouts/slideLayout26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7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4" name="Google Shape;744;p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5" name="Google Shape;745;p7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6" name="Google Shape;746;p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7" name="Google Shape;747;p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8" name="Google Shape;748;p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9" name="Google Shape;749;p7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0" name="Google Shape;750;p7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1" name="Google Shape;751;p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52" name="Google Shape;752;p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53" name="Google Shape;753;p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67457471"/>
      </p:ext>
    </p:extLst>
  </p:cSld>
  <p:clrMapOvr>
    <a:masterClrMapping/>
  </p:clrMapOvr>
</p:sldLayout>
</file>

<file path=ppt/slideLayouts/slideLayout26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7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5" name="Google Shape;755;p7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6" name="Google Shape;756;p7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57" name="Google Shape;757;p7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58" name="Google Shape;758;p7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59" name="Google Shape;759;p7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60" name="Google Shape;760;p7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1" name="Google Shape;761;p7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2" name="Google Shape;762;p7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3" name="Google Shape;763;p7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64" name="Google Shape;764;p7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65" name="Google Shape;765;p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74423014"/>
      </p:ext>
    </p:extLst>
  </p:cSld>
  <p:clrMapOvr>
    <a:masterClrMapping/>
  </p:clrMapOvr>
</p:sldLayout>
</file>

<file path=ppt/slideLayouts/slideLayout26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7" name="Google Shape;767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68" name="Google Shape;768;p7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9" name="Google Shape;769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0" name="Google Shape;770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1" name="Google Shape;771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2" name="Google Shape;772;p7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3" name="Google Shape;773;p7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74" name="Google Shape;774;p7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5" name="Google Shape;775;p7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76" name="Google Shape;776;p7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7" name="Google Shape;777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8" name="Google Shape;778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9" name="Google Shape;779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55466653"/>
      </p:ext>
    </p:extLst>
  </p:cSld>
  <p:clrMapOvr>
    <a:masterClrMapping/>
  </p:clrMapOvr>
</p:sldLayout>
</file>

<file path=ppt/slideLayouts/slideLayout26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1" name="Google Shape;781;p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2" name="Google Shape;782;p7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3" name="Google Shape;783;p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4" name="Google Shape;784;p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5" name="Google Shape;785;p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6" name="Google Shape;786;p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7" name="Google Shape;787;p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8" name="Google Shape;788;p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89" name="Google Shape;789;p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33186233"/>
      </p:ext>
    </p:extLst>
  </p:cSld>
  <p:clrMapOvr>
    <a:masterClrMapping/>
  </p:clrMapOvr>
</p:sldLayout>
</file>

<file path=ppt/slideLayouts/slideLayout26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1" name="Google Shape;791;p7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92" name="Google Shape;792;p7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93" name="Google Shape;793;p7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94" name="Google Shape;794;p7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95" name="Google Shape;795;p7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6" name="Google Shape;796;p7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97" name="Google Shape;797;p7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98" name="Google Shape;798;p7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741949616"/>
      </p:ext>
    </p:extLst>
  </p:cSld>
  <p:clrMapOvr>
    <a:masterClrMapping/>
  </p:clrMapOvr>
</p:sldLayout>
</file>

<file path=ppt/slideLayouts/slideLayout26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0" name="Google Shape;800;p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1" name="Google Shape;801;p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2" name="Google Shape;802;p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03" name="Google Shape;803;p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4" name="Google Shape;804;p7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5" name="Google Shape;805;p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06" name="Google Shape;806;p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7" name="Google Shape;807;p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51393254"/>
      </p:ext>
    </p:extLst>
  </p:cSld>
  <p:clrMapOvr>
    <a:masterClrMapping/>
  </p:clrMapOvr>
</p:sldLayout>
</file>

<file path=ppt/slideLayouts/slideLayout26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" name="Google Shape;809;p7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0" name="Google Shape;810;p7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1" name="Google Shape;811;p7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12" name="Google Shape;812;p7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13" name="Google Shape;813;p7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14" name="Google Shape;814;p7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15" name="Google Shape;815;p7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16" name="Google Shape;816;p7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632939183"/>
      </p:ext>
    </p:extLst>
  </p:cSld>
  <p:clrMapOvr>
    <a:masterClrMapping/>
  </p:clrMapOvr>
</p:sldLayout>
</file>

<file path=ppt/slideLayouts/slideLayout26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8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8" name="Google Shape;818;p7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19" name="Google Shape;819;p7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0" name="Google Shape;820;p7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1" name="Google Shape;821;p7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2" name="Google Shape;822;p7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23" name="Google Shape;823;p7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4" name="Google Shape;824;p7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71101799"/>
      </p:ext>
    </p:extLst>
  </p:cSld>
  <p:clrMapOvr>
    <a:masterClrMapping/>
  </p:clrMapOvr>
</p:sldLayout>
</file>

<file path=ppt/slideLayouts/slideLayout2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" name="Google Shape;826;p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" name="Google Shape;828;p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9" name="Google Shape;829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0" name="Google Shape;830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1" name="Google Shape;831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32" name="Google Shape;832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" name="Google Shape;833;p8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4" name="Google Shape;834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" name="Google Shape;835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" name="Google Shape;836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37" name="Google Shape;837;p8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95816228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5" name="Google Shape;1765;p1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6" name="Google Shape;1766;p18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7" name="Google Shape;1767;p1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8" name="Google Shape;1768;p1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9" name="Google Shape;1769;p1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70" name="Google Shape;1770;p1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1" name="Google Shape;1771;p18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2" name="Google Shape;1772;p18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3" name="Google Shape;1773;p18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4" name="Google Shape;1774;p18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5" name="Google Shape;1775;p1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76" name="Google Shape;1776;p1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7" name="Google Shape;1777;p1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" name="Google Shape;826;p8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27" name="Google Shape;827;p8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8" name="Google Shape;828;p8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9" name="Google Shape;829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0" name="Google Shape;830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1" name="Google Shape;831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32" name="Google Shape;832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33" name="Google Shape;833;p8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4" name="Google Shape;834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35" name="Google Shape;835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36" name="Google Shape;836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37" name="Google Shape;837;p8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26004069"/>
      </p:ext>
    </p:extLst>
  </p:cSld>
  <p:clrMapOvr>
    <a:masterClrMapping/>
  </p:clrMapOvr>
</p:sldLayout>
</file>

<file path=ppt/slideLayouts/slideLayout26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9" name="Google Shape;839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40" name="Google Shape;840;p8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1" name="Google Shape;841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42" name="Google Shape;842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3" name="Google Shape;843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44" name="Google Shape;844;p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5" name="Google Shape;845;p8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46" name="Google Shape;846;p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7" name="Google Shape;847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8" name="Google Shape;848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06166733"/>
      </p:ext>
    </p:extLst>
  </p:cSld>
  <p:clrMapOvr>
    <a:masterClrMapping/>
  </p:clrMapOvr>
</p:sldLayout>
</file>

<file path=ppt/slideLayouts/slideLayout26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8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0" name="Google Shape;850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1" name="Google Shape;851;p8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52" name="Google Shape;852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3" name="Google Shape;853;p8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4" name="Google Shape;854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5" name="Google Shape;855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6" name="Google Shape;856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57" name="Google Shape;857;p8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8" name="Google Shape;858;p8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9" name="Google Shape;859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0" name="Google Shape;860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86264709"/>
      </p:ext>
    </p:extLst>
  </p:cSld>
  <p:clrMapOvr>
    <a:masterClrMapping/>
  </p:clrMapOvr>
</p:sldLayout>
</file>

<file path=ppt/slideLayouts/slideLayout26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8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2" name="Google Shape;862;p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3" name="Google Shape;863;p8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4" name="Google Shape;864;p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5" name="Google Shape;865;p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6" name="Google Shape;866;p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7" name="Google Shape;867;p8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8" name="Google Shape;868;p8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69" name="Google Shape;869;p8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0" name="Google Shape;870;p8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71" name="Google Shape;871;p8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2" name="Google Shape;872;p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73" name="Google Shape;873;p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74" name="Google Shape;874;p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71589154"/>
      </p:ext>
    </p:extLst>
  </p:cSld>
  <p:clrMapOvr>
    <a:masterClrMapping/>
  </p:clrMapOvr>
</p:sldLayout>
</file>

<file path=ppt/slideLayouts/slideLayout26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6" name="Google Shape;876;p8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7" name="Google Shape;877;p8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78" name="Google Shape;878;p8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79" name="Google Shape;879;p8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0" name="Google Shape;880;p8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1" name="Google Shape;881;p8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82" name="Google Shape;882;p84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2858906"/>
      </p:ext>
    </p:extLst>
  </p:cSld>
  <p:clrMapOvr>
    <a:masterClrMapping/>
  </p:clrMapOvr>
</p:sldLayout>
</file>

<file path=ppt/slideLayouts/slideLayout26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8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84" name="Google Shape;884;p8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85" name="Google Shape;885;p8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6" name="Google Shape;886;p8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87" name="Google Shape;887;p8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88" name="Google Shape;888;p8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9" name="Google Shape;889;p8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90" name="Google Shape;890;p8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91" name="Google Shape;891;p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236747091"/>
      </p:ext>
    </p:extLst>
  </p:cSld>
  <p:clrMapOvr>
    <a:masterClrMapping/>
  </p:clrMapOvr>
</p:sldLayout>
</file>

<file path=ppt/slideLayouts/slideLayout26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3" name="Google Shape;893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4" name="Google Shape;894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5" name="Google Shape;895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96" name="Google Shape;896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7" name="Google Shape;897;p8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8" name="Google Shape;898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9" name="Google Shape;899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0" name="Google Shape;900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29359604"/>
      </p:ext>
    </p:extLst>
  </p:cSld>
  <p:clrMapOvr>
    <a:masterClrMapping/>
  </p:clrMapOvr>
</p:sldLayout>
</file>

<file path=ppt/slideLayouts/slideLayout26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2" name="Google Shape;902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3" name="Google Shape;903;p8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4" name="Google Shape;904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5" name="Google Shape;905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6" name="Google Shape;906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7" name="Google Shape;907;p8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08" name="Google Shape;908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9" name="Google Shape;909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0" name="Google Shape;910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88332131"/>
      </p:ext>
    </p:extLst>
  </p:cSld>
  <p:clrMapOvr>
    <a:masterClrMapping/>
  </p:clrMapOvr>
</p:sldLayout>
</file>

<file path=ppt/slideLayouts/slideLayout26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1_Cover B">
    <p:spTree>
      <p:nvGrpSpPr>
        <p:cNvPr id="1" name="Shape 9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2" name="Google Shape;912;p88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3" name="Google Shape;913;p88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914" name="Google Shape;914;p88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915" name="Google Shape;915;p88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6" name="Google Shape;916;p88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917" name="Google Shape;917;p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73262039"/>
      </p:ext>
    </p:extLst>
  </p:cSld>
  <p:clrMapOvr>
    <a:masterClrMapping/>
  </p:clrMapOvr>
</p:sldLayout>
</file>

<file path=ppt/slideLayouts/slideLayout26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0" name="Google Shape;920;p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1" name="Google Shape;921;p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2" name="Google Shape;922;p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3" name="Google Shape;923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4" name="Google Shape;924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5" name="Google Shape;925;p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6" name="Google Shape;926;p8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" name="Google Shape;927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8" name="Google Shape;928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" name="Google Shape;929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0" name="Google Shape;930;p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32640232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9" name="Google Shape;1779;p1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0" name="Google Shape;1780;p18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1" name="Google Shape;1781;p1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2" name="Google Shape;1782;p1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3" name="Google Shape;1783;p1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84" name="Google Shape;1784;p1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5" name="Google Shape;1785;p1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6" name="Google Shape;1786;p1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7" name="Google Shape;1787;p1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4_Quotation">
    <p:spTree>
      <p:nvGrpSpPr>
        <p:cNvPr id="1" name="Shape 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2" name="Google Shape;932;p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3" name="Google Shape;933;p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4" name="Google Shape;934;p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" name="Google Shape;935;p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6" name="Google Shape;936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7" name="Google Shape;937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8" name="Google Shape;938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9" name="Google Shape;939;p9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0" name="Google Shape;940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1" name="Google Shape;941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2" name="Google Shape;942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3" name="Google Shape;943;p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31919927"/>
      </p:ext>
    </p:extLst>
  </p:cSld>
  <p:clrMapOvr>
    <a:masterClrMapping/>
  </p:clrMapOvr>
</p:sldLayout>
</file>

<file path=ppt/slideLayouts/slideLayout2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" name="Google Shape;945;p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6" name="Google Shape;946;p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" name="Google Shape;947;p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" name="Google Shape;948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9" name="Google Shape;949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0" name="Google Shape;950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1" name="Google Shape;951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2" name="Google Shape;952;p9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3" name="Google Shape;953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4" name="Google Shape;954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5" name="Google Shape;955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6" name="Google Shape;956;p9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86807144"/>
      </p:ext>
    </p:extLst>
  </p:cSld>
  <p:clrMapOvr>
    <a:masterClrMapping/>
  </p:clrMapOvr>
</p:sldLayout>
</file>

<file path=ppt/slideLayouts/slideLayout2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9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9" name="Google Shape;919;p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0" name="Google Shape;920;p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1" name="Google Shape;921;p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2" name="Google Shape;922;p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3" name="Google Shape;923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4" name="Google Shape;924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5" name="Google Shape;925;p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6" name="Google Shape;926;p8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7" name="Google Shape;927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8" name="Google Shape;928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9" name="Google Shape;929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0" name="Google Shape;930;p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16191858"/>
      </p:ext>
    </p:extLst>
  </p:cSld>
  <p:clrMapOvr>
    <a:masterClrMapping/>
  </p:clrMapOvr>
</p:sldLayout>
</file>

<file path=ppt/slideLayouts/slideLayout26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4_Quotation">
    <p:spTree>
      <p:nvGrpSpPr>
        <p:cNvPr id="1" name="Shape 9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2" name="Google Shape;932;p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33" name="Google Shape;933;p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4" name="Google Shape;934;p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5" name="Google Shape;935;p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6" name="Google Shape;936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7" name="Google Shape;937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8" name="Google Shape;938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9" name="Google Shape;939;p9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0" name="Google Shape;940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1" name="Google Shape;941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2" name="Google Shape;942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43" name="Google Shape;943;p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09805418"/>
      </p:ext>
    </p:extLst>
  </p:cSld>
  <p:clrMapOvr>
    <a:masterClrMapping/>
  </p:clrMapOvr>
</p:sldLayout>
</file>

<file path=ppt/slideLayouts/slideLayout26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9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5" name="Google Shape;945;p9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6" name="Google Shape;946;p9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7" name="Google Shape;947;p9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" name="Google Shape;948;p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9" name="Google Shape;949;p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0" name="Google Shape;950;p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51" name="Google Shape;951;p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2" name="Google Shape;952;p9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3" name="Google Shape;953;p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4" name="Google Shape;954;p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5" name="Google Shape;955;p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6" name="Google Shape;956;p9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54377901"/>
      </p:ext>
    </p:extLst>
  </p:cSld>
  <p:clrMapOvr>
    <a:masterClrMapping/>
  </p:clrMapOvr>
</p:sldLayout>
</file>

<file path=ppt/slideLayouts/slideLayout26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9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8" name="Google Shape;958;p9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9" name="Google Shape;959;p92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60" name="Google Shape;960;p9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61" name="Google Shape;961;p92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62" name="Google Shape;962;p92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63" name="Google Shape;963;p92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4" name="Google Shape;964;p92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5" name="Google Shape;965;p92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6" name="Google Shape;966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7" name="Google Shape;967;p9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68" name="Google Shape;968;p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488649457"/>
      </p:ext>
    </p:extLst>
  </p:cSld>
  <p:clrMapOvr>
    <a:masterClrMapping/>
  </p:clrMapOvr>
</p:sldLayout>
</file>

<file path=ppt/slideLayouts/slideLayout2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4_Quotation">
    <p:spTree>
      <p:nvGrpSpPr>
        <p:cNvPr id="1" name="Shape 9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" name="Google Shape;970;p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1" name="Google Shape;971;p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2" name="Google Shape;972;p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" name="Google Shape;973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" name="Google Shape;974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" name="Google Shape;975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" name="Google Shape;976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7" name="Google Shape;977;p9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8" name="Google Shape;978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9" name="Google Shape;979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0" name="Google Shape;980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1" name="Google Shape;981;p9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41759004"/>
      </p:ext>
    </p:extLst>
  </p:cSld>
  <p:clrMapOvr>
    <a:masterClrMapping/>
  </p:clrMapOvr>
</p:sldLayout>
</file>

<file path=ppt/slideLayouts/slideLayout2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4_Quotation">
    <p:spTree>
      <p:nvGrpSpPr>
        <p:cNvPr id="1" name="Shape 9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0" name="Google Shape;970;p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1" name="Google Shape;971;p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2" name="Google Shape;972;p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3" name="Google Shape;973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4" name="Google Shape;974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5" name="Google Shape;975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6" name="Google Shape;976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77" name="Google Shape;977;p9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8" name="Google Shape;978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79" name="Google Shape;979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0" name="Google Shape;980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1" name="Google Shape;981;p9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81467129"/>
      </p:ext>
    </p:extLst>
  </p:cSld>
  <p:clrMapOvr>
    <a:masterClrMapping/>
  </p:clrMapOvr>
</p:sldLayout>
</file>

<file path=ppt/slideLayouts/slideLayout2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9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3" name="Google Shape;983;p9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4" name="Google Shape;984;p9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5" name="Google Shape;985;p9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86" name="Google Shape;986;p9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87" name="Google Shape;987;p9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88" name="Google Shape;988;p9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89" name="Google Shape;989;p9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90" name="Google Shape;990;p9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197719088"/>
      </p:ext>
    </p:extLst>
  </p:cSld>
  <p:clrMapOvr>
    <a:masterClrMapping/>
  </p:clrMapOvr>
</p:sldLayout>
</file>

<file path=ppt/slideLayouts/slideLayout2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92" name="Google Shape;992;p9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993" name="Google Shape;993;p9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4" name="Google Shape;994;p9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5" name="Google Shape;995;p9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96" name="Google Shape;996;p9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997" name="Google Shape;997;p9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8" name="Google Shape;998;p9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985615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4" name="Google Shape;254;p2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5" name="Google Shape;255;p2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2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7" name="Google Shape;257;p2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258;p2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" name="Google Shape;259;p2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0" name="Google Shape;260;p2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1" name="Google Shape;261;p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9" name="Google Shape;1789;p1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90" name="Google Shape;1790;p1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1" name="Google Shape;1791;p1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92" name="Google Shape;1792;p18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93" name="Google Shape;1793;p1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4" name="Google Shape;1794;p1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95" name="Google Shape;1795;p18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96" name="Google Shape;1796;p1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9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0" name="Google Shape;1000;p9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01" name="Google Shape;1001;p9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02" name="Google Shape;1002;p9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03" name="Google Shape;1003;p9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4" name="Google Shape;1004;p9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05" name="Google Shape;1005;p9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06" name="Google Shape;1006;p9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7919793"/>
      </p:ext>
    </p:extLst>
  </p:cSld>
  <p:clrMapOvr>
    <a:masterClrMapping/>
  </p:clrMapOvr>
</p:sldLayout>
</file>

<file path=ppt/slideLayouts/slideLayout2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9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9" name="Google Shape;1009;p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0" name="Google Shape;1010;p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1" name="Google Shape;1011;p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2" name="Google Shape;1012;p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3" name="Google Shape;1013;p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4" name="Google Shape;1014;p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5" name="Google Shape;1015;p9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6" name="Google Shape;1016;p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7" name="Google Shape;1017;p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8" name="Google Shape;1018;p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19" name="Google Shape;1019;p9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13319015"/>
      </p:ext>
    </p:extLst>
  </p:cSld>
  <p:clrMapOvr>
    <a:masterClrMapping/>
  </p:clrMapOvr>
</p:sldLayout>
</file>

<file path=ppt/slideLayouts/slideLayout2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9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9" name="Google Shape;1009;p9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0" name="Google Shape;1010;p9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11" name="Google Shape;1011;p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2" name="Google Shape;1012;p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13" name="Google Shape;1013;p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14" name="Google Shape;1014;p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15" name="Google Shape;1015;p9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16" name="Google Shape;1016;p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17" name="Google Shape;1017;p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18" name="Google Shape;1018;p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19" name="Google Shape;1019;p9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54600534"/>
      </p:ext>
    </p:extLst>
  </p:cSld>
  <p:clrMapOvr>
    <a:masterClrMapping/>
  </p:clrMapOvr>
</p:sldLayout>
</file>

<file path=ppt/slideLayouts/slideLayout27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0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1" name="Google Shape;1021;p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2" name="Google Shape;1022;p9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3" name="Google Shape;1023;p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4" name="Google Shape;1024;p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5" name="Google Shape;1025;p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26" name="Google Shape;1026;p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7" name="Google Shape;1027;p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8" name="Google Shape;1028;p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9" name="Google Shape;1029;p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0" name="Google Shape;1030;p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1716319"/>
      </p:ext>
    </p:extLst>
  </p:cSld>
  <p:clrMapOvr>
    <a:masterClrMapping/>
  </p:clrMapOvr>
</p:sldLayout>
</file>

<file path=ppt/slideLayouts/slideLayout27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0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2" name="Google Shape;1032;p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3" name="Google Shape;1033;p9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34" name="Google Shape;1034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5" name="Google Shape;1035;p9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6" name="Google Shape;1036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7" name="Google Shape;1037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8" name="Google Shape;1038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9" name="Google Shape;1039;p9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0" name="Google Shape;1040;p9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1" name="Google Shape;1041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2" name="Google Shape;1042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34004056"/>
      </p:ext>
    </p:extLst>
  </p:cSld>
  <p:clrMapOvr>
    <a:masterClrMapping/>
  </p:clrMapOvr>
</p:sldLayout>
</file>

<file path=ppt/slideLayouts/slideLayout27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0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44" name="Google Shape;1044;p1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5" name="Google Shape;1045;p10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6" name="Google Shape;1046;p1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7" name="Google Shape;1047;p1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8" name="Google Shape;1048;p1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9" name="Google Shape;1049;p1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0" name="Google Shape;1050;p10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1" name="Google Shape;1051;p10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2" name="Google Shape;1052;p10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53" name="Google Shape;1053;p10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4" name="Google Shape;1054;p10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5" name="Google Shape;1055;p1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6" name="Google Shape;1056;p1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20030262"/>
      </p:ext>
    </p:extLst>
  </p:cSld>
  <p:clrMapOvr>
    <a:masterClrMapping/>
  </p:clrMapOvr>
</p:sldLayout>
</file>

<file path=ppt/slideLayouts/slideLayout27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0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8" name="Google Shape;1058;p1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9" name="Google Shape;1059;p10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0" name="Google Shape;1060;p1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1" name="Google Shape;1061;p1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2" name="Google Shape;1062;p1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3" name="Google Shape;1063;p1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4" name="Google Shape;1064;p1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5" name="Google Shape;1065;p1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6" name="Google Shape;1066;p1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86528468"/>
      </p:ext>
    </p:extLst>
  </p:cSld>
  <p:clrMapOvr>
    <a:masterClrMapping/>
  </p:clrMapOvr>
</p:sldLayout>
</file>

<file path=ppt/slideLayouts/slideLayout27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0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8" name="Google Shape;1068;p10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69" name="Google Shape;1069;p10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0" name="Google Shape;1070;p10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71" name="Google Shape;1071;p10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72" name="Google Shape;1072;p10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3" name="Google Shape;1073;p10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74" name="Google Shape;1074;p10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75" name="Google Shape;1075;p10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862578290"/>
      </p:ext>
    </p:extLst>
  </p:cSld>
  <p:clrMapOvr>
    <a:masterClrMapping/>
  </p:clrMapOvr>
</p:sldLayout>
</file>

<file path=ppt/slideLayouts/slideLayout27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7" name="Google Shape;1077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8" name="Google Shape;1078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9" name="Google Shape;1079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0" name="Google Shape;1080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81" name="Google Shape;1081;p10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82" name="Google Shape;1082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83" name="Google Shape;1083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4" name="Google Shape;1084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96313855"/>
      </p:ext>
    </p:extLst>
  </p:cSld>
  <p:clrMapOvr>
    <a:masterClrMapping/>
  </p:clrMapOvr>
</p:sldLayout>
</file>

<file path=ppt/slideLayouts/slideLayout27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" name="Google Shape;1086;p10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7" name="Google Shape;1087;p10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" name="Google Shape;1088;p10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89" name="Google Shape;1089;p1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0" name="Google Shape;1090;p10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1" name="Google Shape;1091;p1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2" name="Google Shape;1092;p10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3" name="Google Shape;1093;p10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286600722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8" name="Google Shape;1798;p1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9" name="Google Shape;1799;p1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0" name="Google Shape;1800;p1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01" name="Google Shape;1801;p1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02" name="Google Shape;1802;p18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3" name="Google Shape;1803;p1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04" name="Google Shape;1804;p1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5" name="Google Shape;1805;p1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7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5" name="Google Shape;1095;p10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96" name="Google Shape;1096;p10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7" name="Google Shape;1097;p10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8" name="Google Shape;1098;p10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9" name="Google Shape;1099;p10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0" name="Google Shape;1100;p10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1" name="Google Shape;1101;p10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30399307"/>
      </p:ext>
    </p:extLst>
  </p:cSld>
  <p:clrMapOvr>
    <a:masterClrMapping/>
  </p:clrMapOvr>
</p:sldLayout>
</file>

<file path=ppt/slideLayouts/slideLayout27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" name="Google Shape;1103;p10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4" name="Google Shape;1104;p10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5" name="Google Shape;1105;p10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6" name="Google Shape;1106;p10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0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8" name="Google Shape;1108;p10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09" name="Google Shape;1109;p10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9927130"/>
      </p:ext>
    </p:extLst>
  </p:cSld>
  <p:clrMapOvr>
    <a:masterClrMapping/>
  </p:clrMapOvr>
</p:sldLayout>
</file>

<file path=ppt/slideLayouts/slideLayout27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1" name="Google Shape;1111;p1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2" name="Google Shape;1112;p1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3" name="Google Shape;1113;p1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4" name="Google Shape;1114;p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5" name="Google Shape;1115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6" name="Google Shape;1116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7" name="Google Shape;1117;p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8" name="Google Shape;1118;p10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9" name="Google Shape;1119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0" name="Google Shape;1120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1" name="Google Shape;1121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22" name="Google Shape;1122;p10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18876642"/>
      </p:ext>
    </p:extLst>
  </p:cSld>
  <p:clrMapOvr>
    <a:masterClrMapping/>
  </p:clrMapOvr>
</p:sldLayout>
</file>

<file path=ppt/slideLayouts/slideLayout27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4" name="Google Shape;1124;p1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5" name="Google Shape;1125;p10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6" name="Google Shape;1126;p1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7" name="Google Shape;1127;p1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8" name="Google Shape;1128;p1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9" name="Google Shape;1129;p1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" name="Google Shape;1130;p1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1" name="Google Shape;1131;p1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2" name="Google Shape;1132;p1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3" name="Google Shape;1133;p1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65405376"/>
      </p:ext>
    </p:extLst>
  </p:cSld>
  <p:clrMapOvr>
    <a:masterClrMapping/>
  </p:clrMapOvr>
</p:sldLayout>
</file>

<file path=ppt/slideLayouts/slideLayout27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" name="Google Shape;1135;p1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1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37" name="Google Shape;1137;p1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8" name="Google Shape;1138;p10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9" name="Google Shape;1139;p1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0" name="Google Shape;1140;p1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1" name="Google Shape;1141;p1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2" name="Google Shape;1142;p1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3" name="Google Shape;1143;p1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4" name="Google Shape;1144;p1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5" name="Google Shape;1145;p1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03858013"/>
      </p:ext>
    </p:extLst>
  </p:cSld>
  <p:clrMapOvr>
    <a:masterClrMapping/>
  </p:clrMapOvr>
</p:sldLayout>
</file>

<file path=ppt/slideLayouts/slideLayout27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" name="Google Shape;1147;p1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" name="Google Shape;1148;p11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" name="Google Shape;1149;p1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" name="Google Shape;1150;p1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" name="Google Shape;1151;p1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" name="Google Shape;1152;p1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" name="Google Shape;1153;p1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4" name="Google Shape;1154;p1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5" name="Google Shape;1155;p1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6" name="Google Shape;1156;p1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" name="Google Shape;1157;p1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" name="Google Shape;1158;p1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9" name="Google Shape;1159;p1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43504164"/>
      </p:ext>
    </p:extLst>
  </p:cSld>
  <p:clrMapOvr>
    <a:masterClrMapping/>
  </p:clrMapOvr>
</p:sldLayout>
</file>

<file path=ppt/slideLayouts/slideLayout27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1" name="Google Shape;1161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2" name="Google Shape;1162;p11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3" name="Google Shape;1163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4" name="Google Shape;1164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5" name="Google Shape;1165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6" name="Google Shape;1166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" name="Google Shape;1167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8" name="Google Shape;1168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9" name="Google Shape;1169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09527932"/>
      </p:ext>
    </p:extLst>
  </p:cSld>
  <p:clrMapOvr>
    <a:masterClrMapping/>
  </p:clrMapOvr>
</p:sldLayout>
</file>

<file path=ppt/slideLayouts/slideLayout27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1" name="Google Shape;1171;p1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72" name="Google Shape;1172;p1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3" name="Google Shape;1173;p1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4" name="Google Shape;1174;p1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5" name="Google Shape;1175;p1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6" name="Google Shape;1176;p1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7" name="Google Shape;1177;p1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78" name="Google Shape;1178;p1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953353348"/>
      </p:ext>
    </p:extLst>
  </p:cSld>
  <p:clrMapOvr>
    <a:masterClrMapping/>
  </p:clrMapOvr>
</p:sldLayout>
</file>

<file path=ppt/slideLayouts/slideLayout27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" name="Google Shape;1180;p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" name="Google Shape;1181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" name="Google Shape;1182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3" name="Google Shape;1183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4" name="Google Shape;1184;p1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5" name="Google Shape;1185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6" name="Google Shape;1186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7" name="Google Shape;1187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67457524"/>
      </p:ext>
    </p:extLst>
  </p:cSld>
  <p:clrMapOvr>
    <a:masterClrMapping/>
  </p:clrMapOvr>
</p:sldLayout>
</file>

<file path=ppt/slideLayouts/slideLayout27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4_Quotation">
    <p:spTree>
      <p:nvGrpSpPr>
        <p:cNvPr id="1" name="Shape 1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" name="Google Shape;1189;p1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0" name="Google Shape;1190;p1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1" name="Google Shape;1191;p1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2" name="Google Shape;1192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3" name="Google Shape;1193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4" name="Google Shape;1194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5" name="Google Shape;1195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6" name="Google Shape;1196;p11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7" name="Google Shape;1197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98" name="Google Shape;1198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9" name="Google Shape;1199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00" name="Google Shape;1200;p11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0983111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1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7" name="Google Shape;1807;p18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8" name="Google Shape;1808;p18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9" name="Google Shape;1809;p1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1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1" name="Google Shape;1811;p1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2" name="Google Shape;1812;p1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3" name="Google Shape;1813;p1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14" name="Google Shape;1814;p18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15" name="Google Shape;1815;p1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16" name="Google Shape;1816;p1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7" name="Google Shape;1817;p1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18" name="Google Shape;1818;p18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" name="Google Shape;1086;p10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7" name="Google Shape;1087;p10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8" name="Google Shape;1088;p10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89" name="Google Shape;1089;p1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0" name="Google Shape;1090;p10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1" name="Google Shape;1091;p10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2" name="Google Shape;1092;p10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3" name="Google Shape;1093;p10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993004840"/>
      </p:ext>
    </p:extLst>
  </p:cSld>
  <p:clrMapOvr>
    <a:masterClrMapping/>
  </p:clrMapOvr>
</p:sldLayout>
</file>

<file path=ppt/slideLayouts/slideLayout27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5" name="Google Shape;1095;p10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96" name="Google Shape;1096;p10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7" name="Google Shape;1097;p10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8" name="Google Shape;1098;p10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99" name="Google Shape;1099;p10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0" name="Google Shape;1100;p10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1" name="Google Shape;1101;p10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16513200"/>
      </p:ext>
    </p:extLst>
  </p:cSld>
  <p:clrMapOvr>
    <a:masterClrMapping/>
  </p:clrMapOvr>
</p:sldLayout>
</file>

<file path=ppt/slideLayouts/slideLayout27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3" name="Google Shape;1103;p10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4" name="Google Shape;1104;p10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05" name="Google Shape;1105;p10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06" name="Google Shape;1106;p10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0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08" name="Google Shape;1108;p10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09" name="Google Shape;1109;p10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78204251"/>
      </p:ext>
    </p:extLst>
  </p:cSld>
  <p:clrMapOvr>
    <a:masterClrMapping/>
  </p:clrMapOvr>
</p:sldLayout>
</file>

<file path=ppt/slideLayouts/slideLayout27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1" name="Google Shape;1111;p1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2" name="Google Shape;1112;p1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3" name="Google Shape;1113;p1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4" name="Google Shape;1114;p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15" name="Google Shape;1115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16" name="Google Shape;1116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17" name="Google Shape;1117;p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18" name="Google Shape;1118;p10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9" name="Google Shape;1119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0" name="Google Shape;1120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1" name="Google Shape;1121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22" name="Google Shape;1122;p10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3522336"/>
      </p:ext>
    </p:extLst>
  </p:cSld>
  <p:clrMapOvr>
    <a:masterClrMapping/>
  </p:clrMapOvr>
</p:sldLayout>
</file>

<file path=ppt/slideLayouts/slideLayout27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1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24" name="Google Shape;1124;p1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5" name="Google Shape;1125;p10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6" name="Google Shape;1126;p1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7" name="Google Shape;1127;p1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28" name="Google Shape;1128;p1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29" name="Google Shape;1129;p10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0" name="Google Shape;1130;p10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1" name="Google Shape;1131;p1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2" name="Google Shape;1132;p1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3" name="Google Shape;1133;p1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5282148"/>
      </p:ext>
    </p:extLst>
  </p:cSld>
  <p:clrMapOvr>
    <a:masterClrMapping/>
  </p:clrMapOvr>
</p:sldLayout>
</file>

<file path=ppt/slideLayouts/slideLayout27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5" name="Google Shape;1135;p1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6" name="Google Shape;1136;p10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37" name="Google Shape;1137;p1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8" name="Google Shape;1138;p10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9" name="Google Shape;1139;p1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0" name="Google Shape;1140;p1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1" name="Google Shape;1141;p1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2" name="Google Shape;1142;p10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3" name="Google Shape;1143;p10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4" name="Google Shape;1144;p1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5" name="Google Shape;1145;p1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57688410"/>
      </p:ext>
    </p:extLst>
  </p:cSld>
  <p:clrMapOvr>
    <a:masterClrMapping/>
  </p:clrMapOvr>
</p:sldLayout>
</file>

<file path=ppt/slideLayouts/slideLayout27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1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7" name="Google Shape;1147;p11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8" name="Google Shape;1148;p11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9" name="Google Shape;1149;p11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0" name="Google Shape;1150;p11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1" name="Google Shape;1151;p11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2" name="Google Shape;1152;p11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3" name="Google Shape;1153;p11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4" name="Google Shape;1154;p11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5" name="Google Shape;1155;p11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56" name="Google Shape;1156;p11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7" name="Google Shape;1157;p1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8" name="Google Shape;1158;p11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9" name="Google Shape;1159;p1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28894061"/>
      </p:ext>
    </p:extLst>
  </p:cSld>
  <p:clrMapOvr>
    <a:masterClrMapping/>
  </p:clrMapOvr>
</p:sldLayout>
</file>

<file path=ppt/slideLayouts/slideLayout2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1" name="Google Shape;1161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2" name="Google Shape;1162;p11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3" name="Google Shape;1163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4" name="Google Shape;1164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5" name="Google Shape;1165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6" name="Google Shape;1166;p11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7" name="Google Shape;1167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8" name="Google Shape;1168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9" name="Google Shape;1169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109656386"/>
      </p:ext>
    </p:extLst>
  </p:cSld>
  <p:clrMapOvr>
    <a:masterClrMapping/>
  </p:clrMapOvr>
</p:sldLayout>
</file>

<file path=ppt/slideLayouts/slideLayout27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1" name="Google Shape;1171;p11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72" name="Google Shape;1172;p11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73" name="Google Shape;1173;p11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74" name="Google Shape;1174;p11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75" name="Google Shape;1175;p11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6" name="Google Shape;1176;p11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77" name="Google Shape;1177;p1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78" name="Google Shape;1178;p11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841233636"/>
      </p:ext>
    </p:extLst>
  </p:cSld>
  <p:clrMapOvr>
    <a:masterClrMapping/>
  </p:clrMapOvr>
</p:sldLayout>
</file>

<file path=ppt/slideLayouts/slideLayout27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0" name="Google Shape;1180;p1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1" name="Google Shape;1181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2" name="Google Shape;1182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83" name="Google Shape;1183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84" name="Google Shape;1184;p1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85" name="Google Shape;1185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6" name="Google Shape;1186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7" name="Google Shape;1187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8460395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8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7" name="Google Shape;1827;p1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8" name="Google Shape;1828;p1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9" name="Google Shape;1829;p1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30" name="Google Shape;1830;p1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31" name="Google Shape;1831;p1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32" name="Google Shape;1832;p1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3" name="Google Shape;1833;p1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34" name="Google Shape;1834;p18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27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4_Quotation">
    <p:spTree>
      <p:nvGrpSpPr>
        <p:cNvPr id="1" name="Shape 1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" name="Google Shape;1189;p11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0" name="Google Shape;1190;p11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91" name="Google Shape;1191;p11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2" name="Google Shape;1192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3" name="Google Shape;1193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4" name="Google Shape;1194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5" name="Google Shape;1195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6" name="Google Shape;1196;p11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7" name="Google Shape;1197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98" name="Google Shape;1198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9" name="Google Shape;1199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00" name="Google Shape;1200;p11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83649617"/>
      </p:ext>
    </p:extLst>
  </p:cSld>
  <p:clrMapOvr>
    <a:masterClrMapping/>
  </p:clrMapOvr>
</p:sldLayout>
</file>

<file path=ppt/slideLayouts/slideLayout27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1_Title Slide">
    <p:spTree>
      <p:nvGrpSpPr>
        <p:cNvPr id="1" name="Shape 1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2" name="Google Shape;1202;p115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3" name="Google Shape;1203;p115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04" name="Google Shape;1204;p11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05" name="Google Shape;1205;p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6" name="Google Shape;1206;p1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74313526"/>
      </p:ext>
    </p:extLst>
  </p:cSld>
  <p:clrMapOvr>
    <a:masterClrMapping/>
  </p:clrMapOvr>
</p:sldLayout>
</file>

<file path=ppt/slideLayouts/slideLayout2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2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" name="Google Shape;1208;p11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9" name="Google Shape;1209;p11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0" name="Google Shape;1210;p11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11" name="Google Shape;1211;p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2" name="Google Shape;1212;p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3" name="Google Shape;1213;p11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4" name="Google Shape;1214;p11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5" name="Google Shape;1215;p11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16" name="Google Shape;1216;p11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6928505"/>
      </p:ext>
    </p:extLst>
  </p:cSld>
  <p:clrMapOvr>
    <a:masterClrMapping/>
  </p:clrMapOvr>
</p:sldLayout>
</file>

<file path=ppt/slideLayouts/slideLayout27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" name="Google Shape;1218;p11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9" name="Google Shape;1219;p11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0" name="Google Shape;1220;p11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21" name="Google Shape;1221;p1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2" name="Google Shape;1222;p1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23" name="Google Shape;1223;p11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4" name="Google Shape;1224;p11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5" name="Google Shape;1225;p11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26" name="Google Shape;1226;p11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34456215"/>
      </p:ext>
    </p:extLst>
  </p:cSld>
  <p:clrMapOvr>
    <a:masterClrMapping/>
  </p:clrMapOvr>
</p:sldLayout>
</file>

<file path=ppt/slideLayouts/slideLayout27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" name="Google Shape;1228;p11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9" name="Google Shape;1229;p11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0" name="Google Shape;1230;p11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1" name="Google Shape;1231;p11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32" name="Google Shape;1232;p11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62493328"/>
      </p:ext>
    </p:extLst>
  </p:cSld>
  <p:clrMapOvr>
    <a:masterClrMapping/>
  </p:clrMapOvr>
</p:sldLayout>
</file>

<file path=ppt/slideLayouts/slideLayout27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2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4" name="Google Shape;1234;p11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35" name="Google Shape;1235;p1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36" name="Google Shape;1236;p11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7" name="Google Shape;1237;p11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8" name="Google Shape;1238;p11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30161343"/>
      </p:ext>
    </p:extLst>
  </p:cSld>
  <p:clrMapOvr>
    <a:masterClrMapping/>
  </p:clrMapOvr>
</p:sldLayout>
</file>

<file path=ppt/slideLayouts/slideLayout27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0" name="Google Shape;1240;p12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1" name="Google Shape;1241;p12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2" name="Google Shape;1242;p12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3" name="Google Shape;1243;p12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4" name="Google Shape;1244;p12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45" name="Google Shape;1245;p12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32305772"/>
      </p:ext>
    </p:extLst>
  </p:cSld>
  <p:clrMapOvr>
    <a:masterClrMapping/>
  </p:clrMapOvr>
</p:sldLayout>
</file>

<file path=ppt/slideLayouts/slideLayout27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2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7" name="Google Shape;1247;p12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8" name="Google Shape;1248;p12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9" name="Google Shape;1249;p12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50" name="Google Shape;1250;p1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1" name="Google Shape;1251;p1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52" name="Google Shape;1252;p12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3" name="Google Shape;1253;p12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4" name="Google Shape;1254;p12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55" name="Google Shape;1255;p12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15332889"/>
      </p:ext>
    </p:extLst>
  </p:cSld>
  <p:clrMapOvr>
    <a:masterClrMapping/>
  </p:clrMapOvr>
</p:sldLayout>
</file>

<file path=ppt/slideLayouts/slideLayout27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7" name="Google Shape;1257;p12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8" name="Google Shape;1258;p12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9" name="Google Shape;1259;p12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0" name="Google Shape;1260;p12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61" name="Google Shape;1261;p12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32623948"/>
      </p:ext>
    </p:extLst>
  </p:cSld>
  <p:clrMapOvr>
    <a:masterClrMapping/>
  </p:clrMapOvr>
</p:sldLayout>
</file>

<file path=ppt/slideLayouts/slideLayout27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3" name="Google Shape;1263;p12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4" name="Google Shape;1264;p123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65" name="Google Shape;1265;p12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6" name="Google Shape;1266;p12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7" name="Google Shape;1267;p12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86728275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5">
    <p:bg>
      <p:bgPr>
        <a:solidFill>
          <a:schemeClr val="lt2"/>
        </a:solidFill>
        <a:effectLst/>
      </p:bgPr>
    </p:bg>
    <p:spTree>
      <p:nvGrpSpPr>
        <p:cNvPr id="1" name="Shape 1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6" name="Google Shape;1836;p1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37" name="Google Shape;1837;p1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8" name="Google Shape;1838;p1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9" name="Google Shape;1839;p1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40" name="Google Shape;1840;p18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41" name="Google Shape;1841;p1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2" name="Google Shape;1842;p1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2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" name="Google Shape;1269;p12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0" name="Google Shape;1270;p12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1" name="Google Shape;1271;p12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2" name="Google Shape;1272;p12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3" name="Google Shape;1273;p12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74" name="Google Shape;1274;p124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37521152"/>
      </p:ext>
    </p:extLst>
  </p:cSld>
  <p:clrMapOvr>
    <a:masterClrMapping/>
  </p:clrMapOvr>
</p:sldLayout>
</file>

<file path=ppt/slideLayouts/slideLayout27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2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6" name="Google Shape;1276;p12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7" name="Google Shape;1277;p12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8" name="Google Shape;1278;p12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9" name="Google Shape;1279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0" name="Google Shape;1280;p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81" name="Google Shape;1281;p12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2" name="Google Shape;1282;p12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3" name="Google Shape;1283;p12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84" name="Google Shape;1284;p12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9402226"/>
      </p:ext>
    </p:extLst>
  </p:cSld>
  <p:clrMapOvr>
    <a:masterClrMapping/>
  </p:clrMapOvr>
</p:sldLayout>
</file>

<file path=ppt/slideLayouts/slideLayout27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6" name="Google Shape;1286;p12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7" name="Google Shape;1287;p12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8" name="Google Shape;1288;p12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9" name="Google Shape;1289;p12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90" name="Google Shape;1290;p12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89390349"/>
      </p:ext>
    </p:extLst>
  </p:cSld>
  <p:clrMapOvr>
    <a:masterClrMapping/>
  </p:clrMapOvr>
</p:sldLayout>
</file>

<file path=ppt/slideLayouts/slideLayout27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2" name="Google Shape;1292;p12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93" name="Google Shape;1293;p12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94" name="Google Shape;1294;p12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5" name="Google Shape;1295;p12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6" name="Google Shape;1296;p12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04816150"/>
      </p:ext>
    </p:extLst>
  </p:cSld>
  <p:clrMapOvr>
    <a:masterClrMapping/>
  </p:clrMapOvr>
</p:sldLayout>
</file>

<file path=ppt/slideLayouts/slideLayout27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8" name="Google Shape;1298;p12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9" name="Google Shape;1299;p12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0" name="Google Shape;1300;p12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1" name="Google Shape;1301;p12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2" name="Google Shape;1302;p12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03" name="Google Shape;1303;p12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73052829"/>
      </p:ext>
    </p:extLst>
  </p:cSld>
  <p:clrMapOvr>
    <a:masterClrMapping/>
  </p:clrMapOvr>
</p:sldLayout>
</file>

<file path=ppt/slideLayouts/slideLayout27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5" name="Google Shape;1305;p12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6" name="Google Shape;1306;p12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7" name="Google Shape;1307;p1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8" name="Google Shape;1308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9" name="Google Shape;1309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10" name="Google Shape;1310;p12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1" name="Google Shape;1311;p12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2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3" name="Google Shape;1313;p12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06310590"/>
      </p:ext>
    </p:extLst>
  </p:cSld>
  <p:clrMapOvr>
    <a:masterClrMapping/>
  </p:clrMapOvr>
</p:sldLayout>
</file>

<file path=ppt/slideLayouts/slideLayout27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" name="Google Shape;1315;p1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6" name="Google Shape;1316;p1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7" name="Google Shape;1317;p1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18" name="Google Shape;1318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" name="Google Shape;1319;p1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20" name="Google Shape;1320;p1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1" name="Google Shape;1321;p1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2" name="Google Shape;1322;p1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3" name="Google Shape;1323;p13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599438"/>
      </p:ext>
    </p:extLst>
  </p:cSld>
  <p:clrMapOvr>
    <a:masterClrMapping/>
  </p:clrMapOvr>
</p:sldLayout>
</file>

<file path=ppt/slideLayouts/slideLayout27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p1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" name="Google Shape;1326;p1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7" name="Google Shape;1327;p1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8" name="Google Shape;1328;p1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9" name="Google Shape;1329;p13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60346309"/>
      </p:ext>
    </p:extLst>
  </p:cSld>
  <p:clrMapOvr>
    <a:masterClrMapping/>
  </p:clrMapOvr>
</p:sldLayout>
</file>

<file path=ppt/slideLayouts/slideLayout27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" name="Google Shape;1331;p1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32" name="Google Shape;1332;p13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33" name="Google Shape;1333;p1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4" name="Google Shape;1334;p1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5" name="Google Shape;1335;p1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60146206"/>
      </p:ext>
    </p:extLst>
  </p:cSld>
  <p:clrMapOvr>
    <a:masterClrMapping/>
  </p:clrMapOvr>
</p:sldLayout>
</file>

<file path=ppt/slideLayouts/slideLayout27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Google Shape;1337;p1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1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9" name="Google Shape;1339;p1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0" name="Google Shape;1340;p1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1" name="Google Shape;1341;p1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42" name="Google Shape;1342;p13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32882757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" name="Google Shape;1844;p1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45" name="Google Shape;1845;p1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46" name="Google Shape;1846;p1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47" name="Google Shape;1847;p1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8" name="Google Shape;1848;p1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49" name="Google Shape;1849;p1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50" name="Google Shape;1850;p1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4" name="Google Shape;1344;p1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5" name="Google Shape;1345;p1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6" name="Google Shape;1346;p1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7" name="Google Shape;1347;p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8" name="Google Shape;1348;p1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49" name="Google Shape;1349;p1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0" name="Google Shape;1350;p1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1" name="Google Shape;1351;p1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2" name="Google Shape;1352;p13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0591600"/>
      </p:ext>
    </p:extLst>
  </p:cSld>
  <p:clrMapOvr>
    <a:masterClrMapping/>
  </p:clrMapOvr>
</p:sldLayout>
</file>

<file path=ppt/slideLayouts/slideLayout27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5" name="Google Shape;1355;p1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6" name="Google Shape;1356;p1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7" name="Google Shape;1357;p1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8" name="Google Shape;1358;p13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15406961"/>
      </p:ext>
    </p:extLst>
  </p:cSld>
  <p:clrMapOvr>
    <a:masterClrMapping/>
  </p:clrMapOvr>
</p:sldLayout>
</file>

<file path=ppt/slideLayouts/slideLayout27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" name="Google Shape;1360;p1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61" name="Google Shape;1361;p13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62" name="Google Shape;1362;p1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3" name="Google Shape;1363;p1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517739304"/>
      </p:ext>
    </p:extLst>
  </p:cSld>
  <p:clrMapOvr>
    <a:masterClrMapping/>
  </p:clrMapOvr>
</p:sldLayout>
</file>

<file path=ppt/slideLayouts/slideLayout27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6" name="Google Shape;1366;p1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7" name="Google Shape;1367;p1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8" name="Google Shape;1368;p1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9" name="Google Shape;1369;p1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0" name="Google Shape;1370;p1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71" name="Google Shape;1371;p13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05150926"/>
      </p:ext>
    </p:extLst>
  </p:cSld>
  <p:clrMapOvr>
    <a:masterClrMapping/>
  </p:clrMapOvr>
</p:sldLayout>
</file>

<file path=ppt/slideLayouts/slideLayout27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3" name="Google Shape;1373;p138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4" name="Google Shape;1374;p13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5" name="Google Shape;1375;p13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6" name="Google Shape;1376;p138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77" name="Google Shape;1377;p13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8319588"/>
      </p:ext>
    </p:extLst>
  </p:cSld>
  <p:clrMapOvr>
    <a:masterClrMapping/>
  </p:clrMapOvr>
</p:sldLayout>
</file>

<file path=ppt/slideLayouts/slideLayout27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9" name="Google Shape;1379;p13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80" name="Google Shape;1380;p13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81" name="Google Shape;1381;p13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2" name="Google Shape;1382;p139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3" name="Google Shape;1383;p139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970730863"/>
      </p:ext>
    </p:extLst>
  </p:cSld>
  <p:clrMapOvr>
    <a:masterClrMapping/>
  </p:clrMapOvr>
</p:sldLayout>
</file>

<file path=ppt/slideLayouts/slideLayout27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3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5" name="Google Shape;1385;p14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6" name="Google Shape;1386;p14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7" name="Google Shape;1387;p140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8" name="Google Shape;1388;p140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9" name="Google Shape;1389;p140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90" name="Google Shape;1390;p14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19964572"/>
      </p:ext>
    </p:extLst>
  </p:cSld>
  <p:clrMapOvr>
    <a:masterClrMapping/>
  </p:clrMapOvr>
</p:sldLayout>
</file>

<file path=ppt/slideLayouts/slideLayout27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5" name="Google Shape;1305;p12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6" name="Google Shape;1306;p12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7" name="Google Shape;1307;p12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8" name="Google Shape;1308;p1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9" name="Google Shape;1309;p1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10" name="Google Shape;1310;p12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1" name="Google Shape;1311;p12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2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3" name="Google Shape;1313;p12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80746845"/>
      </p:ext>
    </p:extLst>
  </p:cSld>
  <p:clrMapOvr>
    <a:masterClrMapping/>
  </p:clrMapOvr>
</p:sldLayout>
</file>

<file path=ppt/slideLayouts/slideLayout27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" name="Google Shape;1315;p13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6" name="Google Shape;1316;p13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7" name="Google Shape;1317;p13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18" name="Google Shape;1318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" name="Google Shape;1319;p1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20" name="Google Shape;1320;p13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1" name="Google Shape;1321;p13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2" name="Google Shape;1322;p13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3" name="Google Shape;1323;p13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1078730"/>
      </p:ext>
    </p:extLst>
  </p:cSld>
  <p:clrMapOvr>
    <a:masterClrMapping/>
  </p:clrMapOvr>
</p:sldLayout>
</file>

<file path=ppt/slideLayouts/slideLayout27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5" name="Google Shape;1325;p13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6" name="Google Shape;1326;p13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7" name="Google Shape;1327;p13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8" name="Google Shape;1328;p13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9" name="Google Shape;1329;p13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59839820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p1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3" name="Google Shape;1853;p1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1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5" name="Google Shape;1855;p1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56" name="Google Shape;1856;p1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57" name="Google Shape;1857;p1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58" name="Google Shape;1858;p1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9" name="Google Shape;1859;p18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0" name="Google Shape;1860;p1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61" name="Google Shape;1861;p1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2" name="Google Shape;1862;p1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63" name="Google Shape;1863;p1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" name="Google Shape;1331;p13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32" name="Google Shape;1332;p13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33" name="Google Shape;1333;p13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4" name="Google Shape;1334;p13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5" name="Google Shape;1335;p13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41662271"/>
      </p:ext>
    </p:extLst>
  </p:cSld>
  <p:clrMapOvr>
    <a:masterClrMapping/>
  </p:clrMapOvr>
</p:sldLayout>
</file>

<file path=ppt/slideLayouts/slideLayout27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3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7" name="Google Shape;1337;p13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8" name="Google Shape;1338;p13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9" name="Google Shape;1339;p13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0" name="Google Shape;1340;p13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1" name="Google Shape;1341;p13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42" name="Google Shape;1342;p13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94244951"/>
      </p:ext>
    </p:extLst>
  </p:cSld>
  <p:clrMapOvr>
    <a:masterClrMapping/>
  </p:clrMapOvr>
</p:sldLayout>
</file>

<file path=ppt/slideLayouts/slideLayout27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3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4" name="Google Shape;1344;p13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5" name="Google Shape;1345;p13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6" name="Google Shape;1346;p13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7" name="Google Shape;1347;p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8" name="Google Shape;1348;p1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49" name="Google Shape;1349;p13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0" name="Google Shape;1350;p13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1" name="Google Shape;1351;p13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2" name="Google Shape;1352;p13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49530545"/>
      </p:ext>
    </p:extLst>
  </p:cSld>
  <p:clrMapOvr>
    <a:masterClrMapping/>
  </p:clrMapOvr>
</p:sldLayout>
</file>

<file path=ppt/slideLayouts/slideLayout27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3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5" name="Google Shape;1355;p13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6" name="Google Shape;1356;p13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7" name="Google Shape;1357;p13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8" name="Google Shape;1358;p13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06834969"/>
      </p:ext>
    </p:extLst>
  </p:cSld>
  <p:clrMapOvr>
    <a:masterClrMapping/>
  </p:clrMapOvr>
</p:sldLayout>
</file>

<file path=ppt/slideLayouts/slideLayout2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" name="Google Shape;1360;p13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61" name="Google Shape;1361;p13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62" name="Google Shape;1362;p13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3" name="Google Shape;1363;p13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4" name="Google Shape;1364;p13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57477914"/>
      </p:ext>
    </p:extLst>
  </p:cSld>
  <p:clrMapOvr>
    <a:masterClrMapping/>
  </p:clrMapOvr>
</p:sldLayout>
</file>

<file path=ppt/slideLayouts/slideLayout27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3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6" name="Google Shape;1366;p13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7" name="Google Shape;1367;p13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8" name="Google Shape;1368;p13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9" name="Google Shape;1369;p13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0" name="Google Shape;1370;p13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71" name="Google Shape;1371;p13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98762418"/>
      </p:ext>
    </p:extLst>
  </p:cSld>
  <p:clrMapOvr>
    <a:masterClrMapping/>
  </p:clrMapOvr>
</p:sldLayout>
</file>

<file path=ppt/slideLayouts/slideLayout27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" name="Google Shape;1392;p14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3" name="Google Shape;1393;p14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4" name="Google Shape;1394;p14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95" name="Google Shape;1395;p1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96" name="Google Shape;1396;p14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397" name="Google Shape;1397;p14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8" name="Google Shape;1398;p14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399" name="Google Shape;1399;p14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1324617770"/>
      </p:ext>
    </p:extLst>
  </p:cSld>
  <p:clrMapOvr>
    <a:masterClrMapping/>
  </p:clrMapOvr>
</p:sldLayout>
</file>

<file path=ppt/slideLayouts/slideLayout27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1" name="Google Shape;1401;p14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02" name="Google Shape;1402;p14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3" name="Google Shape;1403;p1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4" name="Google Shape;1404;p14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05" name="Google Shape;1405;p14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06" name="Google Shape;1406;p14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7" name="Google Shape;1407;p14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00783415"/>
      </p:ext>
    </p:extLst>
  </p:cSld>
  <p:clrMapOvr>
    <a:masterClrMapping/>
  </p:clrMapOvr>
</p:sldLayout>
</file>

<file path=ppt/slideLayouts/slideLayout27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4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9" name="Google Shape;1409;p14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10" name="Google Shape;1410;p14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11" name="Google Shape;1411;p14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12" name="Google Shape;1412;p14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3" name="Google Shape;1413;p14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14" name="Google Shape;1414;p14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15" name="Google Shape;1415;p143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48322837"/>
      </p:ext>
    </p:extLst>
  </p:cSld>
  <p:clrMapOvr>
    <a:masterClrMapping/>
  </p:clrMapOvr>
</p:sldLayout>
</file>

<file path=ppt/slideLayouts/slideLayout27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7" name="Google Shape;1417;p1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8" name="Google Shape;1418;p1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9" name="Google Shape;1419;p1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0" name="Google Shape;1420;p1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1" name="Google Shape;1421;p1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2" name="Google Shape;1422;p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23" name="Google Shape;1423;p1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24" name="Google Shape;1424;p1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5" name="Google Shape;1425;p1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6" name="Google Shape;1426;p1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7" name="Google Shape;1427;p1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28" name="Google Shape;1428;p14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448005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Google Shape;1865;p1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6" name="Google Shape;1866;p1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7" name="Google Shape;1867;p1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8" name="Google Shape;1868;p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69" name="Google Shape;1869;p1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70" name="Google Shape;1870;p1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71" name="Google Shape;1871;p1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2" name="Google Shape;1872;p19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73" name="Google Shape;1873;p1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4" name="Google Shape;1874;p1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5" name="Google Shape;1875;p1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76" name="Google Shape;1876;p1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7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4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7" name="Google Shape;1417;p1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8" name="Google Shape;1418;p1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9" name="Google Shape;1419;p1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0" name="Google Shape;1420;p1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1" name="Google Shape;1421;p1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2" name="Google Shape;1422;p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23" name="Google Shape;1423;p1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24" name="Google Shape;1424;p1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5" name="Google Shape;1425;p1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6" name="Google Shape;1426;p1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7" name="Google Shape;1427;p1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28" name="Google Shape;1428;p14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17252234"/>
      </p:ext>
    </p:extLst>
  </p:cSld>
  <p:clrMapOvr>
    <a:masterClrMapping/>
  </p:clrMapOvr>
</p:sldLayout>
</file>

<file path=ppt/slideLayouts/slideLayout27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4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0" name="Google Shape;1430;p1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1" name="Google Shape;1431;p1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32" name="Google Shape;1432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33" name="Google Shape;1433;p14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4" name="Google Shape;1434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35" name="Google Shape;1435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6" name="Google Shape;1436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37" name="Google Shape;1437;p14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8" name="Google Shape;1438;p14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39" name="Google Shape;1439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40" name="Google Shape;1440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19185765"/>
      </p:ext>
    </p:extLst>
  </p:cSld>
  <p:clrMapOvr>
    <a:masterClrMapping/>
  </p:clrMapOvr>
</p:sldLayout>
</file>

<file path=ppt/slideLayouts/slideLayout27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2" name="Google Shape;1442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43" name="Google Shape;1443;p14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44" name="Google Shape;1444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45" name="Google Shape;1445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46" name="Google Shape;1446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47" name="Google Shape;1447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8" name="Google Shape;1448;p14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49" name="Google Shape;1449;p14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0" name="Google Shape;1450;p14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51" name="Google Shape;1451;p14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2" name="Google Shape;1452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53" name="Google Shape;1453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54" name="Google Shape;1454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07513768"/>
      </p:ext>
    </p:extLst>
  </p:cSld>
  <p:clrMapOvr>
    <a:masterClrMapping/>
  </p:clrMapOvr>
</p:sldLayout>
</file>

<file path=ppt/slideLayouts/slideLayout27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6" name="Google Shape;1456;p1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57" name="Google Shape;1457;p14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58" name="Google Shape;1458;p1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59" name="Google Shape;1459;p1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0" name="Google Shape;1460;p1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61" name="Google Shape;1461;p1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2" name="Google Shape;1462;p1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3" name="Google Shape;1463;p1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64" name="Google Shape;1464;p1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11041574"/>
      </p:ext>
    </p:extLst>
  </p:cSld>
  <p:clrMapOvr>
    <a:masterClrMapping/>
  </p:clrMapOvr>
</p:sldLayout>
</file>

<file path=ppt/slideLayouts/slideLayout27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66" name="Google Shape;1466;p14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67" name="Google Shape;1467;p14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8" name="Google Shape;1468;p14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69" name="Google Shape;1469;p14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0" name="Google Shape;1470;p14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1" name="Google Shape;1471;p14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72" name="Google Shape;1472;p14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73" name="Google Shape;1473;p14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406994863"/>
      </p:ext>
    </p:extLst>
  </p:cSld>
  <p:clrMapOvr>
    <a:masterClrMapping/>
  </p:clrMapOvr>
</p:sldLayout>
</file>

<file path=ppt/slideLayouts/slideLayout27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5" name="Google Shape;1475;p1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76" name="Google Shape;1476;p1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7" name="Google Shape;1477;p1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78" name="Google Shape;1478;p1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9" name="Google Shape;1479;p14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80" name="Google Shape;1480;p1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81" name="Google Shape;1481;p1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82" name="Google Shape;1482;p1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97159314"/>
      </p:ext>
    </p:extLst>
  </p:cSld>
  <p:clrMapOvr>
    <a:masterClrMapping/>
  </p:clrMapOvr>
</p:sldLayout>
</file>

<file path=ppt/slideLayouts/slideLayout27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4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" name="Google Shape;1484;p150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5" name="Google Shape;1485;p150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6" name="Google Shape;1486;p150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87" name="Google Shape;1487;p1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88" name="Google Shape;1488;p150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89" name="Google Shape;1489;p1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0" name="Google Shape;1490;p150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1" name="Google Shape;1491;p15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157425060"/>
      </p:ext>
    </p:extLst>
  </p:cSld>
  <p:clrMapOvr>
    <a:masterClrMapping/>
  </p:clrMapOvr>
</p:sldLayout>
</file>

<file path=ppt/slideLayouts/slideLayout27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3" name="Google Shape;1493;p15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94" name="Google Shape;1494;p15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5" name="Google Shape;1495;p15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6" name="Google Shape;1496;p15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7" name="Google Shape;1497;p15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98" name="Google Shape;1498;p15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9" name="Google Shape;1499;p15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37782791"/>
      </p:ext>
    </p:extLst>
  </p:cSld>
  <p:clrMapOvr>
    <a:masterClrMapping/>
  </p:clrMapOvr>
</p:sldLayout>
</file>

<file path=ppt/slideLayouts/slideLayout27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1" name="Google Shape;1501;p15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02" name="Google Shape;1502;p15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03" name="Google Shape;1503;p15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04" name="Google Shape;1504;p15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5" name="Google Shape;1505;p15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06" name="Google Shape;1506;p15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07" name="Google Shape;1507;p15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45583181"/>
      </p:ext>
    </p:extLst>
  </p:cSld>
  <p:clrMapOvr>
    <a:masterClrMapping/>
  </p:clrMapOvr>
</p:sldLayout>
</file>

<file path=ppt/slideLayouts/slideLayout27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9" name="Google Shape;1509;p15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0" name="Google Shape;1510;p15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1" name="Google Shape;1511;p1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2" name="Google Shape;1512;p1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3" name="Google Shape;1513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4" name="Google Shape;1514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15" name="Google Shape;1515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" name="Google Shape;1516;p15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7" name="Google Shape;1517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" name="Google Shape;1518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" name="Google Shape;1519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20" name="Google Shape;1520;p15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8777416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5">
    <p:spTree>
      <p:nvGrpSpPr>
        <p:cNvPr id="1" name="Shape 1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78" name="Google Shape;1878;p1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9" name="Google Shape;1879;p19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0" name="Google Shape;1880;p1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1" name="Google Shape;1881;p1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2" name="Google Shape;1882;p1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83" name="Google Shape;1883;p1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4" name="Google Shape;1884;p1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5" name="Google Shape;1885;p1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6" name="Google Shape;1886;p1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7" name="Google Shape;1887;p1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5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9" name="Google Shape;1509;p15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0" name="Google Shape;1510;p15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1" name="Google Shape;1511;p15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2" name="Google Shape;1512;p1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3" name="Google Shape;1513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14" name="Google Shape;1514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15" name="Google Shape;1515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16" name="Google Shape;1516;p15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17" name="Google Shape;1517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8" name="Google Shape;1518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19" name="Google Shape;1519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20" name="Google Shape;1520;p15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916013"/>
      </p:ext>
    </p:extLst>
  </p:cSld>
  <p:clrMapOvr>
    <a:masterClrMapping/>
  </p:clrMapOvr>
</p:sldLayout>
</file>

<file path=ppt/slideLayouts/slideLayout27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2" name="Google Shape;1522;p1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3" name="Google Shape;1523;p15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4" name="Google Shape;1524;p1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5" name="Google Shape;1525;p1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6" name="Google Shape;1526;p1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27" name="Google Shape;1527;p1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8" name="Google Shape;1528;p15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9" name="Google Shape;1529;p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0" name="Google Shape;1530;p1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1" name="Google Shape;1531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32435069"/>
      </p:ext>
    </p:extLst>
  </p:cSld>
  <p:clrMapOvr>
    <a:masterClrMapping/>
  </p:clrMapOvr>
</p:sldLayout>
</file>

<file path=ppt/slideLayouts/slideLayout27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3" name="Google Shape;1533;p1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4" name="Google Shape;1534;p15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35" name="Google Shape;1535;p1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6" name="Google Shape;1536;p15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7" name="Google Shape;1537;p1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8" name="Google Shape;1538;p1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9" name="Google Shape;1539;p1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40" name="Google Shape;1540;p15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1" name="Google Shape;1541;p15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2" name="Google Shape;1542;p1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3" name="Google Shape;1543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28478226"/>
      </p:ext>
    </p:extLst>
  </p:cSld>
  <p:clrMapOvr>
    <a:masterClrMapping/>
  </p:clrMapOvr>
</p:sldLayout>
</file>

<file path=ppt/slideLayouts/slideLayout27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5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45" name="Google Shape;1545;p1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6" name="Google Shape;1546;p15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7" name="Google Shape;1547;p1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8" name="Google Shape;1548;p1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9" name="Google Shape;1549;p1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50" name="Google Shape;1550;p1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1" name="Google Shape;1551;p15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2" name="Google Shape;1552;p15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3" name="Google Shape;1553;p15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4" name="Google Shape;1554;p15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5" name="Google Shape;1555;p1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56" name="Google Shape;1556;p1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57" name="Google Shape;1557;p1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46616907"/>
      </p:ext>
    </p:extLst>
  </p:cSld>
  <p:clrMapOvr>
    <a:masterClrMapping/>
  </p:clrMapOvr>
</p:sldLayout>
</file>

<file path=ppt/slideLayouts/slideLayout27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9" name="Google Shape;1559;p1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0" name="Google Shape;1560;p15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1" name="Google Shape;1561;p1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2" name="Google Shape;1562;p1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3" name="Google Shape;1563;p1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64" name="Google Shape;1564;p1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5" name="Google Shape;1565;p1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6" name="Google Shape;1566;p1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7" name="Google Shape;1567;p1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44437455"/>
      </p:ext>
    </p:extLst>
  </p:cSld>
  <p:clrMapOvr>
    <a:masterClrMapping/>
  </p:clrMapOvr>
</p:sldLayout>
</file>

<file path=ppt/slideLayouts/slideLayout27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5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9" name="Google Shape;1569;p15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70" name="Google Shape;1570;p15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1" name="Google Shape;1571;p15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72" name="Google Shape;1572;p15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3" name="Google Shape;1573;p15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4" name="Google Shape;1574;p15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75" name="Google Shape;1575;p15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76" name="Google Shape;1576;p15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716168061"/>
      </p:ext>
    </p:extLst>
  </p:cSld>
  <p:clrMapOvr>
    <a:masterClrMapping/>
  </p:clrMapOvr>
</p:sldLayout>
</file>

<file path=ppt/slideLayouts/slideLayout27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8" name="Google Shape;1578;p1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9" name="Google Shape;1579;p1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0" name="Google Shape;1580;p1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81" name="Google Shape;1581;p1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2" name="Google Shape;1582;p15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3" name="Google Shape;1583;p1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84" name="Google Shape;1584;p1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85" name="Google Shape;1585;p1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6785499"/>
      </p:ext>
    </p:extLst>
  </p:cSld>
  <p:clrMapOvr>
    <a:masterClrMapping/>
  </p:clrMapOvr>
</p:sldLayout>
</file>

<file path=ppt/slideLayouts/slideLayout27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Google Shape;1587;p160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88" name="Google Shape;1588;p16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89" name="Google Shape;1589;p160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590" name="Google Shape;1590;p160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91" name="Google Shape;1591;p160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592" name="Google Shape;1592;p16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3" name="Google Shape;1593;p160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4" name="Google Shape;1594;p16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5" name="Google Shape;1595;p16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35446284"/>
      </p:ext>
    </p:extLst>
  </p:cSld>
  <p:clrMapOvr>
    <a:masterClrMapping/>
  </p:clrMapOvr>
</p:sldLayout>
</file>

<file path=ppt/slideLayouts/slideLayout27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2_Title Slide"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Google Shape;1587;p160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88" name="Google Shape;1588;p16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89" name="Google Shape;1589;p160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590" name="Google Shape;1590;p160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91" name="Google Shape;1591;p160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592" name="Google Shape;1592;p16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3" name="Google Shape;1593;p160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4" name="Google Shape;1594;p16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5" name="Google Shape;1595;p16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67010999"/>
      </p:ext>
    </p:extLst>
  </p:cSld>
  <p:clrMapOvr>
    <a:masterClrMapping/>
  </p:clrMapOvr>
</p:sldLayout>
</file>

<file path=ppt/slideLayouts/slideLayout27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2_Title Slide">
    <p:spTree>
      <p:nvGrpSpPr>
        <p:cNvPr id="1" name="Shape 15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7" name="Google Shape;1587;p160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88" name="Google Shape;1588;p16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589" name="Google Shape;1589;p160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590" name="Google Shape;1590;p160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91" name="Google Shape;1591;p160"/>
            <p:cNvPicPr preferRelativeResize="0"/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592" name="Google Shape;1592;p160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3" name="Google Shape;1593;p160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4" name="Google Shape;1594;p160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5" name="Google Shape;1595;p160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09963356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9" name="Google Shape;1889;p1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0" name="Google Shape;1890;p1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891" name="Google Shape;1891;p1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2" name="Google Shape;1892;p19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3" name="Google Shape;1893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4" name="Google Shape;1894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5" name="Google Shape;1895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6" name="Google Shape;1896;p1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7" name="Google Shape;1897;p1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8" name="Google Shape;1898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9" name="Google Shape;1899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7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5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7" name="Google Shape;1597;p161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8" name="Google Shape;1598;p161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9" name="Google Shape;1599;p161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0" name="Google Shape;1600;p161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1" name="Google Shape;1601;p1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02" name="Google Shape;1602;p161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36964730"/>
      </p:ext>
    </p:extLst>
  </p:cSld>
  <p:clrMapOvr>
    <a:masterClrMapping/>
  </p:clrMapOvr>
</p:sldLayout>
</file>

<file path=ppt/slideLayouts/slideLayout27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4" name="Google Shape;1604;p16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5" name="Google Shape;1605;p16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6" name="Google Shape;1606;p16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07" name="Google Shape;1607;p1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8" name="Google Shape;1608;p1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09" name="Google Shape;1609;p16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0" name="Google Shape;1610;p16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1" name="Google Shape;1611;p16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12" name="Google Shape;1612;p16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2268881"/>
      </p:ext>
    </p:extLst>
  </p:cSld>
  <p:clrMapOvr>
    <a:masterClrMapping/>
  </p:clrMapOvr>
</p:sldLayout>
</file>

<file path=ppt/slideLayouts/slideLayout27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2_Title Slide">
    <p:spTree>
      <p:nvGrpSpPr>
        <p:cNvPr id="1" name="Shape 1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4" name="Google Shape;1614;p16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15" name="Google Shape;1615;p16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16" name="Google Shape;1616;p16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17" name="Google Shape;1617;p16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18" name="Google Shape;1618;p163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19" name="Google Shape;1619;p16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0" name="Google Shape;1620;p16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1" name="Google Shape;1621;p16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2" name="Google Shape;1622;p16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59553787"/>
      </p:ext>
    </p:extLst>
  </p:cSld>
  <p:clrMapOvr>
    <a:masterClrMapping/>
  </p:clrMapOvr>
</p:sldLayout>
</file>

<file path=ppt/slideLayouts/slideLayout27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1_Table of Content">
    <p:spTree>
      <p:nvGrpSpPr>
        <p:cNvPr id="1" name="Shape 1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4" name="Google Shape;1624;p164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5" name="Google Shape;1625;p164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6" name="Google Shape;1626;p164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7" name="Google Shape;1627;p164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8" name="Google Shape;1628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467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29" name="Google Shape;1629;p164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29960868"/>
      </p:ext>
    </p:extLst>
  </p:cSld>
  <p:clrMapOvr>
    <a:masterClrMapping/>
  </p:clrMapOvr>
</p:sldLayout>
</file>

<file path=ppt/slideLayouts/slideLayout27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" name="Google Shape;1631;p16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2" name="Google Shape;1632;p16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3" name="Google Shape;1633;p16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4" name="Google Shape;1634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5" name="Google Shape;1635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6" name="Google Shape;1636;p16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7" name="Google Shape;1637;p16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8" name="Google Shape;1638;p16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39" name="Google Shape;1639;p16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41434513"/>
      </p:ext>
    </p:extLst>
  </p:cSld>
  <p:clrMapOvr>
    <a:masterClrMapping/>
  </p:clrMapOvr>
</p:sldLayout>
</file>

<file path=ppt/slideLayouts/slideLayout27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1_Title and Bullets Layout">
    <p:spTree>
      <p:nvGrpSpPr>
        <p:cNvPr id="1" name="Shape 16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1" name="Google Shape;1641;p16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2" name="Google Shape;1642;p16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3" name="Google Shape;1643;p16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44" name="Google Shape;1644;p16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45" name="Google Shape;1645;p16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41274115"/>
      </p:ext>
    </p:extLst>
  </p:cSld>
  <p:clrMapOvr>
    <a:masterClrMapping/>
  </p:clrMapOvr>
</p:sldLayout>
</file>

<file path=ppt/slideLayouts/slideLayout27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2_Title and Content">
    <p:spTree>
      <p:nvGrpSpPr>
        <p:cNvPr id="1" name="Shape 16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7" name="Google Shape;1647;p16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48" name="Google Shape;1648;p16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49" name="Google Shape;1649;p16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0" name="Google Shape;1650;p16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1" name="Google Shape;1651;p16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443601930"/>
      </p:ext>
    </p:extLst>
  </p:cSld>
  <p:clrMapOvr>
    <a:masterClrMapping/>
  </p:clrMapOvr>
</p:sldLayout>
</file>

<file path=ppt/slideLayouts/slideLayout27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1_Two Section | Picture and Copy Layout">
    <p:spTree>
      <p:nvGrpSpPr>
        <p:cNvPr id="1" name="Shape 16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3" name="Google Shape;1653;p16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4" name="Google Shape;1654;p16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351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5" name="Google Shape;1655;p16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6" name="Google Shape;1656;p16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7" name="Google Shape;1657;p16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58" name="Google Shape;1658;p16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9929087"/>
      </p:ext>
    </p:extLst>
  </p:cSld>
  <p:clrMapOvr>
    <a:masterClrMapping/>
  </p:clrMapOvr>
</p:sldLayout>
</file>

<file path=ppt/slideLayouts/slideLayout27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2_Title Slide">
    <p:spTree>
      <p:nvGrpSpPr>
        <p:cNvPr id="1" name="Shape 1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4" name="Google Shape;1614;p16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15" name="Google Shape;1615;p16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16" name="Google Shape;1616;p16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17" name="Google Shape;1617;p16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18" name="Google Shape;1618;p163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19" name="Google Shape;1619;p16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0" name="Google Shape;1620;p16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1" name="Google Shape;1621;p16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2" name="Google Shape;1622;p16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72729612"/>
      </p:ext>
    </p:extLst>
  </p:cSld>
  <p:clrMapOvr>
    <a:masterClrMapping/>
  </p:clrMapOvr>
</p:sldLayout>
</file>

<file path=ppt/slideLayouts/slideLayout27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4_Title Slide_Yale Blue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1" name="Google Shape;1631;p16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2" name="Google Shape;1632;p16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3" name="Google Shape;1633;p16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34" name="Google Shape;1634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5" name="Google Shape;1635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36" name="Google Shape;1636;p16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7" name="Google Shape;1637;p16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8" name="Google Shape;1638;p16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39" name="Google Shape;1639;p16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16168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" name="Google Shape;264;p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" name="Google Shape;265;p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6" name="Google Shape;266;p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7" name="Google Shape;267;p2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8" name="Google Shape;268;p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9" name="Google Shape;269;p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" name="Google Shape;270;p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1" name="Google Shape;1901;p1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2" name="Google Shape;1902;p19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3" name="Google Shape;1903;p1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4" name="Google Shape;1904;p1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5" name="Google Shape;1905;p1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6" name="Google Shape;1906;p1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7" name="Google Shape;1907;p1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08" name="Google Shape;1908;p1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1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10" name="Google Shape;1910;p1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1" name="Google Shape;1911;p1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2" name="Google Shape;1912;p1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3" name="Google Shape;1913;p1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2_Title Slide">
    <p:spTree>
      <p:nvGrpSpPr>
        <p:cNvPr id="1" name="Shape 1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4" name="Google Shape;1614;p163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15" name="Google Shape;1615;p16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16" name="Google Shape;1616;p163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17" name="Google Shape;1617;p163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18" name="Google Shape;1618;p163"/>
            <p:cNvPicPr preferRelativeResize="0"/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19" name="Google Shape;1619;p163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0" name="Google Shape;1620;p163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1" name="Google Shape;1621;p163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2" name="Google Shape;1622;p163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546983952"/>
      </p:ext>
    </p:extLst>
  </p:cSld>
  <p:clrMapOvr>
    <a:masterClrMapping/>
  </p:clrMapOvr>
</p:sldLayout>
</file>

<file path=ppt/slideLayouts/slideLayout28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16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0" name="Google Shape;1660;p169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1" name="Google Shape;1661;p169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662" name="Google Shape;1662;p16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63" name="Google Shape;1663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4" name="Google Shape;1664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1744870"/>
      </p:ext>
    </p:extLst>
  </p:cSld>
  <p:clrMapOvr>
    <a:masterClrMapping/>
  </p:clrMapOvr>
</p:sldLayout>
</file>

<file path=ppt/slideLayouts/slideLayout28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Content with Caption">
    <p:spTree>
      <p:nvGrpSpPr>
        <p:cNvPr id="1" name="Shape 16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6" name="Google Shape;1666;p170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7" name="Google Shape;1667;p170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668" name="Google Shape;1668;p170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669" name="Google Shape;1669;p17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70" name="Google Shape;1670;p1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1" name="Google Shape;1671;p1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50303959"/>
      </p:ext>
    </p:extLst>
  </p:cSld>
  <p:clrMapOvr>
    <a:masterClrMapping/>
  </p:clrMapOvr>
</p:sldLayout>
</file>

<file path=ppt/slideLayouts/slideLayout28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6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3" name="Google Shape;1673;p171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74" name="Google Shape;1674;p171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75" name="Google Shape;1675;p171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6" name="Google Shape;1676;p171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77" name="Google Shape;1677;p171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8" name="Google Shape;1678;p171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79" name="Google Shape;1679;p171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0" name="Google Shape;1680;p171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81" name="Google Shape;1681;p17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90501416"/>
      </p:ext>
    </p:extLst>
  </p:cSld>
  <p:clrMapOvr>
    <a:masterClrMapping/>
  </p:clrMapOvr>
</p:sldLayout>
</file>

<file path=ppt/slideLayouts/slideLayout28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3" name="Google Shape;1683;p1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4" name="Google Shape;1684;p1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5" name="Google Shape;1685;p1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6" name="Google Shape;1686;p1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7" name="Google Shape;1687;p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8" name="Google Shape;1688;p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89" name="Google Shape;1689;p1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90" name="Google Shape;1690;p17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1" name="Google Shape;1691;p1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2" name="Google Shape;1692;p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3" name="Google Shape;1693;p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94" name="Google Shape;1694;p17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04427944"/>
      </p:ext>
    </p:extLst>
  </p:cSld>
  <p:clrMapOvr>
    <a:masterClrMapping/>
  </p:clrMapOvr>
</p:sldLayout>
</file>

<file path=ppt/slideLayouts/slideLayout28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1_EVERYDAY - CONTENT ONLY">
    <p:spTree>
      <p:nvGrpSpPr>
        <p:cNvPr id="1" name="Shape 1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6" name="Google Shape;1696;p17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7" name="Google Shape;1697;p17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98" name="Google Shape;1698;p17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9" name="Google Shape;1699;p17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00" name="Google Shape;1700;p17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1" name="Google Shape;1701;p17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2" name="Google Shape;1702;p17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3" name="Google Shape;1703;p17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04" name="Google Shape;1704;p17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8195288"/>
      </p:ext>
    </p:extLst>
  </p:cSld>
  <p:clrMapOvr>
    <a:masterClrMapping/>
  </p:clrMapOvr>
</p:sldLayout>
</file>

<file path=ppt/slideLayouts/slideLayout28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17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7" name="Google Shape;1707;p17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8" name="Google Shape;1708;p17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09" name="Google Shape;1709;p17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10" name="Google Shape;1710;p17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11" name="Google Shape;1711;p1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2" name="Google Shape;1712;p17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3" name="Google Shape;1713;p17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2349776692"/>
      </p:ext>
    </p:extLst>
  </p:cSld>
  <p:clrMapOvr>
    <a:masterClrMapping/>
  </p:clrMapOvr>
</p:sldLayout>
</file>

<file path=ppt/slideLayouts/slideLayout28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7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5" name="Google Shape;1715;p1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16" name="Google Shape;1716;p1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7" name="Google Shape;1717;p1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8" name="Google Shape;1718;p1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9" name="Google Shape;1719;p17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20" name="Google Shape;1720;p1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1" name="Google Shape;1721;p1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5801293"/>
      </p:ext>
    </p:extLst>
  </p:cSld>
  <p:clrMapOvr>
    <a:masterClrMapping/>
  </p:clrMapOvr>
</p:sldLayout>
</file>

<file path=ppt/slideLayouts/slideLayout28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3" name="Google Shape;1723;p17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24" name="Google Shape;1724;p17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25" name="Google Shape;1725;p17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26" name="Google Shape;1726;p1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7" name="Google Shape;1727;p1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28" name="Google Shape;1728;p1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29" name="Google Shape;1729;p17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31593898"/>
      </p:ext>
    </p:extLst>
  </p:cSld>
  <p:clrMapOvr>
    <a:masterClrMapping/>
  </p:clrMapOvr>
</p:sldLayout>
</file>

<file path=ppt/slideLayouts/slideLayout28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5_Quotation">
    <p:spTree>
      <p:nvGrpSpPr>
        <p:cNvPr id="1" name="Shape 16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3" name="Google Shape;1683;p1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4" name="Google Shape;1684;p1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5" name="Google Shape;1685;p1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6" name="Google Shape;1686;p1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7" name="Google Shape;1687;p1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8" name="Google Shape;1688;p1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89" name="Google Shape;1689;p1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90" name="Google Shape;1690;p17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1" name="Google Shape;1691;p1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2" name="Google Shape;1692;p1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3" name="Google Shape;1693;p1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94" name="Google Shape;1694;p17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84567748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15" name="Google Shape;1915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6" name="Google Shape;1916;p19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7" name="Google Shape;1917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8" name="Google Shape;1918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9" name="Google Shape;1919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0" name="Google Shape;1920;p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1" name="Google Shape;1921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2" name="Google Shape;1922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3" name="Google Shape;1923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1_EVERYDAY - CONTENT ONLY">
    <p:spTree>
      <p:nvGrpSpPr>
        <p:cNvPr id="1" name="Shape 1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6" name="Google Shape;1696;p173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7" name="Google Shape;1697;p173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98" name="Google Shape;1698;p173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9" name="Google Shape;1699;p173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745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525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00" name="Google Shape;1700;p173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1" name="Google Shape;1701;p173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02" name="Google Shape;1702;p173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3" name="Google Shape;1703;p173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00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04" name="Google Shape;1704;p17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31349969"/>
      </p:ext>
    </p:extLst>
  </p:cSld>
  <p:clrMapOvr>
    <a:masterClrMapping/>
  </p:clrMapOvr>
</p:sldLayout>
</file>

<file path=ppt/slideLayouts/slideLayout28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17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7" name="Google Shape;1707;p17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8" name="Google Shape;1708;p17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09" name="Google Shape;1709;p17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10" name="Google Shape;1710;p17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11" name="Google Shape;1711;p1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2" name="Google Shape;1712;p17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3" name="Google Shape;1713;p17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846376614"/>
      </p:ext>
    </p:extLst>
  </p:cSld>
  <p:clrMapOvr>
    <a:masterClrMapping/>
  </p:clrMapOvr>
</p:sldLayout>
</file>

<file path=ppt/slideLayouts/slideLayout28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7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15" name="Google Shape;1715;p17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16" name="Google Shape;1716;p17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7" name="Google Shape;1717;p17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18" name="Google Shape;1718;p17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19" name="Google Shape;1719;p17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20" name="Google Shape;1720;p17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1" name="Google Shape;1721;p17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576079318"/>
      </p:ext>
    </p:extLst>
  </p:cSld>
  <p:clrMapOvr>
    <a:masterClrMapping/>
  </p:clrMapOvr>
</p:sldLayout>
</file>

<file path=ppt/slideLayouts/slideLayout28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3" name="Google Shape;1723;p17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24" name="Google Shape;1724;p17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25" name="Google Shape;1725;p17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26" name="Google Shape;1726;p17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7" name="Google Shape;1727;p17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28" name="Google Shape;1728;p17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29" name="Google Shape;1729;p17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48227555"/>
      </p:ext>
    </p:extLst>
  </p:cSld>
  <p:clrMapOvr>
    <a:masterClrMapping/>
  </p:clrMapOvr>
</p:sldLayout>
</file>

<file path=ppt/slideLayouts/slideLayout28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7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1" name="Google Shape;1731;p1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32" name="Google Shape;1732;p1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33" name="Google Shape;1733;p1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34" name="Google Shape;1734;p1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35" name="Google Shape;1735;p17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36" name="Google Shape;1736;p1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37" name="Google Shape;1737;p1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38" name="Google Shape;1738;p1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66378881"/>
      </p:ext>
    </p:extLst>
  </p:cSld>
  <p:clrMapOvr>
    <a:masterClrMapping/>
  </p:clrMapOvr>
</p:sldLayout>
</file>

<file path=ppt/slideLayouts/slideLayout28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" name="Google Shape;1740;p1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41" name="Google Shape;1741;p1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2" name="Google Shape;1742;p1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3" name="Google Shape;1743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4" name="Google Shape;1744;p1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5" name="Google Shape;1745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46" name="Google Shape;1746;p1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7" name="Google Shape;1747;p17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8" name="Google Shape;1748;p1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49" name="Google Shape;1749;p1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0" name="Google Shape;1750;p1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51" name="Google Shape;1751;p17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2038682"/>
      </p:ext>
    </p:extLst>
  </p:cSld>
  <p:clrMapOvr>
    <a:masterClrMapping/>
  </p:clrMapOvr>
</p:sldLayout>
</file>

<file path=ppt/slideLayouts/slideLayout28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3" name="Google Shape;1753;p1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4" name="Google Shape;1754;p17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55" name="Google Shape;1755;p1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6" name="Google Shape;1756;p17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57" name="Google Shape;1757;p1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58" name="Google Shape;1758;p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9" name="Google Shape;1759;p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60" name="Google Shape;1760;p17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1" name="Google Shape;1761;p17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2" name="Google Shape;1762;p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3" name="Google Shape;1763;p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37161180"/>
      </p:ext>
    </p:extLst>
  </p:cSld>
  <p:clrMapOvr>
    <a:masterClrMapping/>
  </p:clrMapOvr>
</p:sldLayout>
</file>

<file path=ppt/slideLayouts/slideLayout28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5" name="Google Shape;1765;p1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6" name="Google Shape;1766;p18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7" name="Google Shape;1767;p1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8" name="Google Shape;1768;p1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9" name="Google Shape;1769;p1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70" name="Google Shape;1770;p1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1" name="Google Shape;1771;p18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2" name="Google Shape;1772;p18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3" name="Google Shape;1773;p18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4" name="Google Shape;1774;p18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5" name="Google Shape;1775;p1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76" name="Google Shape;1776;p1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7" name="Google Shape;1777;p1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63715533"/>
      </p:ext>
    </p:extLst>
  </p:cSld>
  <p:clrMapOvr>
    <a:masterClrMapping/>
  </p:clrMapOvr>
</p:sldLayout>
</file>

<file path=ppt/slideLayouts/slideLayout28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9" name="Google Shape;1779;p1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0" name="Google Shape;1780;p18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1" name="Google Shape;1781;p1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2" name="Google Shape;1782;p1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3" name="Google Shape;1783;p1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84" name="Google Shape;1784;p1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5" name="Google Shape;1785;p1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6" name="Google Shape;1786;p1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7" name="Google Shape;1787;p1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17689673"/>
      </p:ext>
    </p:extLst>
  </p:cSld>
  <p:clrMapOvr>
    <a:masterClrMapping/>
  </p:clrMapOvr>
</p:sldLayout>
</file>

<file path=ppt/slideLayouts/slideLayout28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9" name="Google Shape;1789;p1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90" name="Google Shape;1790;p1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1" name="Google Shape;1791;p1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92" name="Google Shape;1792;p18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93" name="Google Shape;1793;p1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4" name="Google Shape;1794;p1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95" name="Google Shape;1795;p18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96" name="Google Shape;1796;p1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386046899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5" name="Google Shape;1925;p1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26" name="Google Shape;1926;p1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7" name="Google Shape;1927;p1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28" name="Google Shape;1928;p1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9" name="Google Shape;1929;p1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0" name="Google Shape;1930;p1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31" name="Google Shape;1931;p19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32" name="Google Shape;1932;p1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8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8" name="Google Shape;1798;p1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9" name="Google Shape;1799;p1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0" name="Google Shape;1800;p1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01" name="Google Shape;1801;p1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02" name="Google Shape;1802;p18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3" name="Google Shape;1803;p1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04" name="Google Shape;1804;p1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5" name="Google Shape;1805;p1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5250510"/>
      </p:ext>
    </p:extLst>
  </p:cSld>
  <p:clrMapOvr>
    <a:masterClrMapping/>
  </p:clrMapOvr>
</p:sldLayout>
</file>

<file path=ppt/slideLayouts/slideLayout28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5_Quotation">
    <p:spTree>
      <p:nvGrpSpPr>
        <p:cNvPr id="1" name="Shape 1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7" name="Google Shape;1807;p18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8" name="Google Shape;1808;p18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9" name="Google Shape;1809;p1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1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1" name="Google Shape;1811;p1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2" name="Google Shape;1812;p1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3" name="Google Shape;1813;p1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14" name="Google Shape;1814;p18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15" name="Google Shape;1815;p1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16" name="Google Shape;1816;p1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7" name="Google Shape;1817;p1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18" name="Google Shape;1818;p18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70917874"/>
      </p:ext>
    </p:extLst>
  </p:cSld>
  <p:clrMapOvr>
    <a:masterClrMapping/>
  </p:clrMapOvr>
</p:sldLayout>
</file>

<file path=ppt/slideLayouts/slideLayout28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1_Cover B">
    <p:spTree>
      <p:nvGrpSpPr>
        <p:cNvPr id="1" name="Shape 1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0" name="Google Shape;1820;p185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1" name="Google Shape;1821;p185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822" name="Google Shape;1822;p185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823" name="Google Shape;1823;p185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24" name="Google Shape;1824;p185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825" name="Google Shape;1825;p18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92559153"/>
      </p:ext>
    </p:extLst>
  </p:cSld>
  <p:clrMapOvr>
    <a:masterClrMapping/>
  </p:clrMapOvr>
</p:sldLayout>
</file>

<file path=ppt/slideLayouts/slideLayout28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8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7" name="Google Shape;1827;p1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8" name="Google Shape;1828;p1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9" name="Google Shape;1829;p1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30" name="Google Shape;1830;p1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31" name="Google Shape;1831;p1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32" name="Google Shape;1832;p1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3" name="Google Shape;1833;p1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34" name="Google Shape;1834;p18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3304141036"/>
      </p:ext>
    </p:extLst>
  </p:cSld>
  <p:clrMapOvr>
    <a:masterClrMapping/>
  </p:clrMapOvr>
</p:sldLayout>
</file>

<file path=ppt/slideLayouts/slideLayout28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6" name="Google Shape;1836;p1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37" name="Google Shape;1837;p1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8" name="Google Shape;1838;p1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9" name="Google Shape;1839;p1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40" name="Google Shape;1840;p18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41" name="Google Shape;1841;p1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2" name="Google Shape;1842;p1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91728627"/>
      </p:ext>
    </p:extLst>
  </p:cSld>
  <p:clrMapOvr>
    <a:masterClrMapping/>
  </p:clrMapOvr>
</p:sldLayout>
</file>

<file path=ppt/slideLayouts/slideLayout28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" name="Google Shape;1844;p1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45" name="Google Shape;1845;p1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46" name="Google Shape;1846;p1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47" name="Google Shape;1847;p1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8" name="Google Shape;1848;p1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49" name="Google Shape;1849;p1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50" name="Google Shape;1850;p1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12868075"/>
      </p:ext>
    </p:extLst>
  </p:cSld>
  <p:clrMapOvr>
    <a:masterClrMapping/>
  </p:clrMapOvr>
</p:sldLayout>
</file>

<file path=ppt/slideLayouts/slideLayout28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p1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3" name="Google Shape;1853;p1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1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5" name="Google Shape;1855;p1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56" name="Google Shape;1856;p1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57" name="Google Shape;1857;p1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58" name="Google Shape;1858;p1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9" name="Google Shape;1859;p18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0" name="Google Shape;1860;p1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61" name="Google Shape;1861;p1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2" name="Google Shape;1862;p1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63" name="Google Shape;1863;p1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48192697"/>
      </p:ext>
    </p:extLst>
  </p:cSld>
  <p:clrMapOvr>
    <a:masterClrMapping/>
  </p:clrMapOvr>
</p:sldLayout>
</file>

<file path=ppt/slideLayouts/slideLayout28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Google Shape;1865;p1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6" name="Google Shape;1866;p1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7" name="Google Shape;1867;p1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8" name="Google Shape;1868;p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69" name="Google Shape;1869;p1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70" name="Google Shape;1870;p1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71" name="Google Shape;1871;p1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2" name="Google Shape;1872;p19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73" name="Google Shape;1873;p1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4" name="Google Shape;1874;p1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5" name="Google Shape;1875;p1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76" name="Google Shape;1876;p1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72194345"/>
      </p:ext>
    </p:extLst>
  </p:cSld>
  <p:clrMapOvr>
    <a:masterClrMapping/>
  </p:clrMapOvr>
</p:sldLayout>
</file>

<file path=ppt/slideLayouts/slideLayout28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78" name="Google Shape;1878;p1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9" name="Google Shape;1879;p19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0" name="Google Shape;1880;p1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1" name="Google Shape;1881;p1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2" name="Google Shape;1882;p1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83" name="Google Shape;1883;p1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4" name="Google Shape;1884;p1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5" name="Google Shape;1885;p1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6" name="Google Shape;1886;p1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7" name="Google Shape;1887;p1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51479415"/>
      </p:ext>
    </p:extLst>
  </p:cSld>
  <p:clrMapOvr>
    <a:masterClrMapping/>
  </p:clrMapOvr>
</p:sldLayout>
</file>

<file path=ppt/slideLayouts/slideLayout28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9" name="Google Shape;1889;p1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0" name="Google Shape;1890;p1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891" name="Google Shape;1891;p1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2" name="Google Shape;1892;p19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3" name="Google Shape;1893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4" name="Google Shape;1894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5" name="Google Shape;1895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6" name="Google Shape;1896;p1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7" name="Google Shape;1897;p1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8" name="Google Shape;1898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9" name="Google Shape;1899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96604976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4" name="Google Shape;1934;p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5" name="Google Shape;1935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6" name="Google Shape;1936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37" name="Google Shape;1937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38" name="Google Shape;1938;p19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39" name="Google Shape;1939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40" name="Google Shape;1940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1" name="Google Shape;1941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28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1" name="Google Shape;1901;p1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2" name="Google Shape;1902;p19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3" name="Google Shape;1903;p1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4" name="Google Shape;1904;p1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5" name="Google Shape;1905;p1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6" name="Google Shape;1906;p1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7" name="Google Shape;1907;p1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08" name="Google Shape;1908;p1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1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10" name="Google Shape;1910;p1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1" name="Google Shape;1911;p1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2" name="Google Shape;1912;p1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3" name="Google Shape;1913;p1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7548058"/>
      </p:ext>
    </p:extLst>
  </p:cSld>
  <p:clrMapOvr>
    <a:masterClrMapping/>
  </p:clrMapOvr>
</p:sldLayout>
</file>

<file path=ppt/slideLayouts/slideLayout28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15" name="Google Shape;1915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6" name="Google Shape;1916;p19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7" name="Google Shape;1917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8" name="Google Shape;1918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9" name="Google Shape;1919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0" name="Google Shape;1920;p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1" name="Google Shape;1921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2" name="Google Shape;1922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3" name="Google Shape;1923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32892625"/>
      </p:ext>
    </p:extLst>
  </p:cSld>
  <p:clrMapOvr>
    <a:masterClrMapping/>
  </p:clrMapOvr>
</p:sldLayout>
</file>

<file path=ppt/slideLayouts/slideLayout28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5" name="Google Shape;1925;p1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26" name="Google Shape;1926;p1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7" name="Google Shape;1927;p1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28" name="Google Shape;1928;p1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9" name="Google Shape;1929;p1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0" name="Google Shape;1930;p1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31" name="Google Shape;1931;p19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32" name="Google Shape;1932;p1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1505955384"/>
      </p:ext>
    </p:extLst>
  </p:cSld>
  <p:clrMapOvr>
    <a:masterClrMapping/>
  </p:clrMapOvr>
</p:sldLayout>
</file>

<file path=ppt/slideLayouts/slideLayout28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4" name="Google Shape;1934;p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5" name="Google Shape;1935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6" name="Google Shape;1936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37" name="Google Shape;1937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38" name="Google Shape;1938;p19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39" name="Google Shape;1939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40" name="Google Shape;1940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1" name="Google Shape;1941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72051670"/>
      </p:ext>
    </p:extLst>
  </p:cSld>
  <p:clrMapOvr>
    <a:masterClrMapping/>
  </p:clrMapOvr>
</p:sldLayout>
</file>

<file path=ppt/slideLayouts/slideLayout28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" name="Google Shape;1740;p17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41" name="Google Shape;1741;p17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2" name="Google Shape;1742;p17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3" name="Google Shape;1743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4" name="Google Shape;1744;p1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5" name="Google Shape;1745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46" name="Google Shape;1746;p1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7" name="Google Shape;1747;p17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48" name="Google Shape;1748;p1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49" name="Google Shape;1749;p1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0" name="Google Shape;1750;p1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51" name="Google Shape;1751;p17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59748537"/>
      </p:ext>
    </p:extLst>
  </p:cSld>
  <p:clrMapOvr>
    <a:masterClrMapping/>
  </p:clrMapOvr>
</p:sldLayout>
</file>

<file path=ppt/slideLayouts/slideLayout28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3" name="Google Shape;1753;p1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4" name="Google Shape;1754;p17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55" name="Google Shape;1755;p1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56" name="Google Shape;1756;p17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57" name="Google Shape;1757;p1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58" name="Google Shape;1758;p1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9" name="Google Shape;1759;p1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60" name="Google Shape;1760;p17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1" name="Google Shape;1761;p17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2" name="Google Shape;1762;p1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3" name="Google Shape;1763;p1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89108225"/>
      </p:ext>
    </p:extLst>
  </p:cSld>
  <p:clrMapOvr>
    <a:masterClrMapping/>
  </p:clrMapOvr>
</p:sldLayout>
</file>

<file path=ppt/slideLayouts/slideLayout2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5" name="Google Shape;1765;p1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6" name="Google Shape;1766;p18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7" name="Google Shape;1767;p1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8" name="Google Shape;1768;p1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9" name="Google Shape;1769;p1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70" name="Google Shape;1770;p1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1" name="Google Shape;1771;p18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2" name="Google Shape;1772;p18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3" name="Google Shape;1773;p18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74" name="Google Shape;1774;p18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5" name="Google Shape;1775;p1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76" name="Google Shape;1776;p1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7" name="Google Shape;1777;p1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69976763"/>
      </p:ext>
    </p:extLst>
  </p:cSld>
  <p:clrMapOvr>
    <a:masterClrMapping/>
  </p:clrMapOvr>
</p:sldLayout>
</file>

<file path=ppt/slideLayouts/slideLayout28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7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79" name="Google Shape;1779;p1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0" name="Google Shape;1780;p18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1" name="Google Shape;1781;p1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2" name="Google Shape;1782;p1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3" name="Google Shape;1783;p1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84" name="Google Shape;1784;p18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85" name="Google Shape;1785;p1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6" name="Google Shape;1786;p1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7" name="Google Shape;1787;p1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51739364"/>
      </p:ext>
    </p:extLst>
  </p:cSld>
  <p:clrMapOvr>
    <a:masterClrMapping/>
  </p:clrMapOvr>
</p:sldLayout>
</file>

<file path=ppt/slideLayouts/slideLayout28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7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9" name="Google Shape;1789;p18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90" name="Google Shape;1790;p18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91" name="Google Shape;1791;p18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92" name="Google Shape;1792;p18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93" name="Google Shape;1793;p18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4" name="Google Shape;1794;p18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95" name="Google Shape;1795;p18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96" name="Google Shape;1796;p18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268310917"/>
      </p:ext>
    </p:extLst>
  </p:cSld>
  <p:clrMapOvr>
    <a:masterClrMapping/>
  </p:clrMapOvr>
</p:sldLayout>
</file>

<file path=ppt/slideLayouts/slideLayout28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7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8" name="Google Shape;1798;p1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99" name="Google Shape;1799;p1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0" name="Google Shape;1800;p1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01" name="Google Shape;1801;p1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02" name="Google Shape;1802;p18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3" name="Google Shape;1803;p1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04" name="Google Shape;1804;p1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5" name="Google Shape;1805;p1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38912655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9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3" name="Google Shape;1943;p197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4" name="Google Shape;1944;p19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5" name="Google Shape;1945;p19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946" name="Google Shape;1946;p197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7" name="Google Shape;1947;p197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948" name="Google Shape;1948;p197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9" name="Google Shape;1949;p197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0" name="Google Shape;1950;p197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1" name="Google Shape;1951;p1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2" name="Google Shape;1952;p19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53" name="Google Shape;1953;p1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8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5_Quotation">
    <p:spTree>
      <p:nvGrpSpPr>
        <p:cNvPr id="1" name="Shape 1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7" name="Google Shape;1807;p18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08" name="Google Shape;1808;p18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09" name="Google Shape;1809;p1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0" name="Google Shape;1810;p1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1" name="Google Shape;1811;p1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2" name="Google Shape;1812;p1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13" name="Google Shape;1813;p1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14" name="Google Shape;1814;p18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15" name="Google Shape;1815;p1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16" name="Google Shape;1816;p1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17" name="Google Shape;1817;p1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18" name="Google Shape;1818;p18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1820328"/>
      </p:ext>
    </p:extLst>
  </p:cSld>
  <p:clrMapOvr>
    <a:masterClrMapping/>
  </p:clrMapOvr>
</p:sldLayout>
</file>

<file path=ppt/slideLayouts/slideLayout28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1_Cover">
    <p:spTree>
      <p:nvGrpSpPr>
        <p:cNvPr id="1" name="Shape 18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7" name="Google Shape;1827;p18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28" name="Google Shape;1828;p18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29" name="Google Shape;1829;p18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30" name="Google Shape;1830;p18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31" name="Google Shape;1831;p18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32" name="Google Shape;1832;p1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3" name="Google Shape;1833;p18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34" name="Google Shape;1834;p18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  <p:extLst>
      <p:ext uri="{BB962C8B-B14F-4D97-AF65-F5344CB8AC3E}">
        <p14:creationId xmlns:p14="http://schemas.microsoft.com/office/powerpoint/2010/main" val="4157716986"/>
      </p:ext>
    </p:extLst>
  </p:cSld>
  <p:clrMapOvr>
    <a:masterClrMapping/>
  </p:clrMapOvr>
</p:sldLayout>
</file>

<file path=ppt/slideLayouts/slideLayout28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1_Divider">
    <p:bg>
      <p:bgPr>
        <a:solidFill>
          <a:schemeClr val="lt2"/>
        </a:solidFill>
        <a:effectLst/>
      </p:bgPr>
    </p:bg>
    <p:spTree>
      <p:nvGrpSpPr>
        <p:cNvPr id="1" name="Shape 18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36" name="Google Shape;1836;p187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37" name="Google Shape;1837;p187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8" name="Google Shape;1838;p18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39" name="Google Shape;1839;p187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40" name="Google Shape;1840;p18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41" name="Google Shape;1841;p187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2" name="Google Shape;1842;p18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48937118"/>
      </p:ext>
    </p:extLst>
  </p:cSld>
  <p:clrMapOvr>
    <a:masterClrMapping/>
  </p:clrMapOvr>
</p:sldLayout>
</file>

<file path=ppt/slideLayouts/slideLayout28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8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4" name="Google Shape;1844;p18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45" name="Google Shape;1845;p18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46" name="Google Shape;1846;p18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47" name="Google Shape;1847;p18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8" name="Google Shape;1848;p18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49" name="Google Shape;1849;p18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50" name="Google Shape;1850;p1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60649960"/>
      </p:ext>
    </p:extLst>
  </p:cSld>
  <p:clrMapOvr>
    <a:masterClrMapping/>
  </p:clrMapOvr>
</p:sldLayout>
</file>

<file path=ppt/slideLayouts/slideLayout28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p18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3" name="Google Shape;1853;p18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18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55" name="Google Shape;1855;p1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56" name="Google Shape;1856;p1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57" name="Google Shape;1857;p1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58" name="Google Shape;1858;p1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9" name="Google Shape;1859;p18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0" name="Google Shape;1860;p1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61" name="Google Shape;1861;p1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62" name="Google Shape;1862;p1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63" name="Google Shape;1863;p18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05933503"/>
      </p:ext>
    </p:extLst>
  </p:cSld>
  <p:clrMapOvr>
    <a:masterClrMapping/>
  </p:clrMapOvr>
</p:sldLayout>
</file>

<file path=ppt/slideLayouts/slideLayout28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1_Quotation">
    <p:spTree>
      <p:nvGrpSpPr>
        <p:cNvPr id="1" name="Shape 18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5" name="Google Shape;1865;p19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66" name="Google Shape;1866;p19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7" name="Google Shape;1867;p19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8" name="Google Shape;1868;p1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69" name="Google Shape;1869;p1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70" name="Google Shape;1870;p1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71" name="Google Shape;1871;p1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2" name="Google Shape;1872;p19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73" name="Google Shape;1873;p1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4" name="Google Shape;1874;p1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75" name="Google Shape;1875;p1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76" name="Google Shape;1876;p19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66584123"/>
      </p:ext>
    </p:extLst>
  </p:cSld>
  <p:clrMapOvr>
    <a:masterClrMapping/>
  </p:clrMapOvr>
</p:sldLayout>
</file>

<file path=ppt/slideLayouts/slideLayout28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1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78" name="Google Shape;1878;p1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79" name="Google Shape;1879;p19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0" name="Google Shape;1880;p1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1" name="Google Shape;1881;p1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2" name="Google Shape;1882;p1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83" name="Google Shape;1883;p1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84" name="Google Shape;1884;p19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5" name="Google Shape;1885;p1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6" name="Google Shape;1886;p1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7" name="Google Shape;1887;p1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44830253"/>
      </p:ext>
    </p:extLst>
  </p:cSld>
  <p:clrMapOvr>
    <a:masterClrMapping/>
  </p:clrMapOvr>
</p:sldLayout>
</file>

<file path=ppt/slideLayouts/slideLayout28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1_Two Content">
    <p:spTree>
      <p:nvGrpSpPr>
        <p:cNvPr id="1" name="Shape 18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9" name="Google Shape;1889;p1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0" name="Google Shape;1890;p19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891" name="Google Shape;1891;p1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2" name="Google Shape;1892;p19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3" name="Google Shape;1893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4" name="Google Shape;1894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95" name="Google Shape;1895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96" name="Google Shape;1896;p19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7" name="Google Shape;1897;p19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8" name="Google Shape;1898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9" name="Google Shape;1899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71332793"/>
      </p:ext>
    </p:extLst>
  </p:cSld>
  <p:clrMapOvr>
    <a:masterClrMapping/>
  </p:clrMapOvr>
</p:sldLayout>
</file>

<file path=ppt/slideLayouts/slideLayout28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1_Comparison">
    <p:spTree>
      <p:nvGrpSpPr>
        <p:cNvPr id="1" name="Shape 19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1" name="Google Shape;1901;p1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2" name="Google Shape;1902;p19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3" name="Google Shape;1903;p1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4" name="Google Shape;1904;p1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5" name="Google Shape;1905;p1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6" name="Google Shape;1906;p1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7" name="Google Shape;1907;p19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08" name="Google Shape;1908;p19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09" name="Google Shape;1909;p19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10" name="Google Shape;1910;p19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1" name="Google Shape;1911;p1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2" name="Google Shape;1912;p1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3" name="Google Shape;1913;p1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43113341"/>
      </p:ext>
    </p:extLst>
  </p:cSld>
  <p:clrMapOvr>
    <a:masterClrMapping/>
  </p:clrMapOvr>
</p:sldLayout>
</file>

<file path=ppt/slideLayouts/slideLayout28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1_Title Only">
    <p:spTree>
      <p:nvGrpSpPr>
        <p:cNvPr id="1" name="Shape 1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15" name="Google Shape;1915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6" name="Google Shape;1916;p19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7" name="Google Shape;1917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8" name="Google Shape;1918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19" name="Google Shape;1919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0" name="Google Shape;1920;p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1" name="Google Shape;1921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2" name="Google Shape;1922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3" name="Google Shape;1923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5852391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19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19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7" name="Google Shape;1957;p19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8" name="Google Shape;1958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9" name="Google Shape;1959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0" name="Google Shape;1960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1" name="Google Shape;1961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2" name="Google Shape;1962;p19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3" name="Google Shape;1963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64" name="Google Shape;1964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5" name="Google Shape;1965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66" name="Google Shape;1966;p19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1_End">
    <p:spTree>
      <p:nvGrpSpPr>
        <p:cNvPr id="1" name="Shape 19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5" name="Google Shape;1925;p19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26" name="Google Shape;1926;p19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27" name="Google Shape;1927;p19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28" name="Google Shape;1928;p19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29" name="Google Shape;1929;p19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0" name="Google Shape;1930;p19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31" name="Google Shape;1931;p19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32" name="Google Shape;1932;p1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  <p:extLst>
      <p:ext uri="{BB962C8B-B14F-4D97-AF65-F5344CB8AC3E}">
        <p14:creationId xmlns:p14="http://schemas.microsoft.com/office/powerpoint/2010/main" val="2755570241"/>
      </p:ext>
    </p:extLst>
  </p:cSld>
  <p:clrMapOvr>
    <a:masterClrMapping/>
  </p:clrMapOvr>
</p:sldLayout>
</file>

<file path=ppt/slideLayouts/slideLayout28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1_Blank">
    <p:spTree>
      <p:nvGrpSpPr>
        <p:cNvPr id="1" name="Shape 19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4" name="Google Shape;1934;p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5" name="Google Shape;1935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6" name="Google Shape;1936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37" name="Google Shape;1937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38" name="Google Shape;1938;p19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39" name="Google Shape;1939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40" name="Google Shape;1940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1" name="Google Shape;1941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796195"/>
      </p:ext>
    </p:extLst>
  </p:cSld>
  <p:clrMapOvr>
    <a:masterClrMapping/>
  </p:clrMapOvr>
</p:sldLayout>
</file>

<file path=ppt/slideLayouts/slideLayout28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2_Title Slide">
    <p:bg>
      <p:bgPr>
        <a:solidFill>
          <a:schemeClr val="lt1"/>
        </a:solidFill>
        <a:effectLst/>
      </p:bgPr>
    </p:bg>
    <p:spTree>
      <p:nvGrpSpPr>
        <p:cNvPr id="1" name="Shape 19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3" name="Google Shape;1943;p197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4" name="Google Shape;1944;p19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5" name="Google Shape;1945;p19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946" name="Google Shape;1946;p197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47" name="Google Shape;1947;p197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948" name="Google Shape;1948;p197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49" name="Google Shape;1949;p197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0" name="Google Shape;1950;p197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1" name="Google Shape;1951;p1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2" name="Google Shape;1952;p19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53" name="Google Shape;1953;p1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buNone/>
              <a:defRPr sz="1200" b="0" i="0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6400413"/>
      </p:ext>
    </p:extLst>
  </p:cSld>
  <p:clrMapOvr>
    <a:masterClrMapping/>
  </p:clrMapOvr>
</p:sldLayout>
</file>

<file path=ppt/slideLayouts/slideLayout28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5_Quotation"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19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19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7" name="Google Shape;1957;p19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8" name="Google Shape;1958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9" name="Google Shape;1959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0" name="Google Shape;1960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1" name="Google Shape;1961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2" name="Google Shape;1962;p19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3" name="Google Shape;1963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64" name="Google Shape;1964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5" name="Google Shape;1965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66" name="Google Shape;1966;p19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68623468"/>
      </p:ext>
    </p:extLst>
  </p:cSld>
  <p:clrMapOvr>
    <a:masterClrMapping/>
  </p:clrMapOvr>
</p:sldLayout>
</file>

<file path=ppt/slideLayouts/slideLayout28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5_Quotation"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19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19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7" name="Google Shape;1957;p19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8" name="Google Shape;1958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9" name="Google Shape;1959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0" name="Google Shape;1960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1" name="Google Shape;1961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2" name="Google Shape;1962;p19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3" name="Google Shape;1963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64" name="Google Shape;1964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5" name="Google Shape;1965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66" name="Google Shape;1966;p19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0687388"/>
      </p:ext>
    </p:extLst>
  </p:cSld>
  <p:clrMapOvr>
    <a:masterClrMapping/>
  </p:clrMapOvr>
</p:sldLayout>
</file>

<file path=ppt/slideLayouts/slideLayout28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9"/>
          <p:cNvSpPr/>
          <p:nvPr/>
        </p:nvSpPr>
        <p:spPr>
          <a:xfrm flipH="1">
            <a:off x="-17261" y="2735667"/>
            <a:ext cx="12226784" cy="4153423"/>
          </a:xfrm>
          <a:custGeom>
            <a:avLst/>
            <a:gdLst/>
            <a:ahLst/>
            <a:cxnLst/>
            <a:rect l="l" t="t" r="r" b="b"/>
            <a:pathLst>
              <a:path w="285317" h="115437" extrusionOk="0">
                <a:moveTo>
                  <a:pt x="1114" y="1"/>
                </a:moveTo>
                <a:cubicBezTo>
                  <a:pt x="743" y="1"/>
                  <a:pt x="371" y="4"/>
                  <a:pt x="0" y="10"/>
                </a:cubicBezTo>
                <a:lnTo>
                  <a:pt x="0" y="115437"/>
                </a:lnTo>
                <a:lnTo>
                  <a:pt x="285316" y="115437"/>
                </a:lnTo>
                <a:lnTo>
                  <a:pt x="285316" y="16649"/>
                </a:lnTo>
                <a:cubicBezTo>
                  <a:pt x="275981" y="17517"/>
                  <a:pt x="266737" y="22219"/>
                  <a:pt x="260505" y="29363"/>
                </a:cubicBezTo>
                <a:cubicBezTo>
                  <a:pt x="255233" y="35366"/>
                  <a:pt x="250873" y="43355"/>
                  <a:pt x="243067" y="45021"/>
                </a:cubicBezTo>
                <a:cubicBezTo>
                  <a:pt x="241949" y="45253"/>
                  <a:pt x="240817" y="45339"/>
                  <a:pt x="239680" y="45339"/>
                </a:cubicBezTo>
                <a:cubicBezTo>
                  <a:pt x="237914" y="45339"/>
                  <a:pt x="236134" y="45133"/>
                  <a:pt x="234370" y="44952"/>
                </a:cubicBezTo>
                <a:cubicBezTo>
                  <a:pt x="231734" y="44685"/>
                  <a:pt x="229019" y="44498"/>
                  <a:pt x="226316" y="44498"/>
                </a:cubicBezTo>
                <a:cubicBezTo>
                  <a:pt x="219329" y="44498"/>
                  <a:pt x="212416" y="45750"/>
                  <a:pt x="207117" y="50111"/>
                </a:cubicBezTo>
                <a:cubicBezTo>
                  <a:pt x="200087" y="55886"/>
                  <a:pt x="197850" y="65495"/>
                  <a:pt x="194997" y="74169"/>
                </a:cubicBezTo>
                <a:cubicBezTo>
                  <a:pt x="192166" y="82842"/>
                  <a:pt x="187168" y="92178"/>
                  <a:pt x="178288" y="94255"/>
                </a:cubicBezTo>
                <a:cubicBezTo>
                  <a:pt x="177041" y="94543"/>
                  <a:pt x="175796" y="94669"/>
                  <a:pt x="174551" y="94669"/>
                </a:cubicBezTo>
                <a:cubicBezTo>
                  <a:pt x="165708" y="94669"/>
                  <a:pt x="156917" y="88301"/>
                  <a:pt x="148045" y="88301"/>
                </a:cubicBezTo>
                <a:cubicBezTo>
                  <a:pt x="146875" y="88301"/>
                  <a:pt x="145703" y="88412"/>
                  <a:pt x="144530" y="88663"/>
                </a:cubicBezTo>
                <a:cubicBezTo>
                  <a:pt x="141060" y="89393"/>
                  <a:pt x="137956" y="91333"/>
                  <a:pt x="134646" y="92612"/>
                </a:cubicBezTo>
                <a:cubicBezTo>
                  <a:pt x="131720" y="93737"/>
                  <a:pt x="128631" y="94264"/>
                  <a:pt x="125532" y="94264"/>
                </a:cubicBezTo>
                <a:cubicBezTo>
                  <a:pt x="113985" y="94264"/>
                  <a:pt x="102305" y="86940"/>
                  <a:pt x="98400" y="75926"/>
                </a:cubicBezTo>
                <a:cubicBezTo>
                  <a:pt x="97190" y="72525"/>
                  <a:pt x="96642" y="68873"/>
                  <a:pt x="94930" y="65678"/>
                </a:cubicBezTo>
                <a:cubicBezTo>
                  <a:pt x="90993" y="58324"/>
                  <a:pt x="81998" y="55419"/>
                  <a:pt x="73534" y="55419"/>
                </a:cubicBezTo>
                <a:cubicBezTo>
                  <a:pt x="72724" y="55419"/>
                  <a:pt x="71919" y="55446"/>
                  <a:pt x="71124" y="55498"/>
                </a:cubicBezTo>
                <a:cubicBezTo>
                  <a:pt x="62016" y="56114"/>
                  <a:pt x="53160" y="59195"/>
                  <a:pt x="44030" y="59264"/>
                </a:cubicBezTo>
                <a:cubicBezTo>
                  <a:pt x="43906" y="59265"/>
                  <a:pt x="43782" y="59266"/>
                  <a:pt x="43658" y="59266"/>
                </a:cubicBezTo>
                <a:cubicBezTo>
                  <a:pt x="41834" y="59266"/>
                  <a:pt x="39970" y="59093"/>
                  <a:pt x="38347" y="58260"/>
                </a:cubicBezTo>
                <a:cubicBezTo>
                  <a:pt x="34261" y="56205"/>
                  <a:pt x="33120" y="50727"/>
                  <a:pt x="33964" y="46208"/>
                </a:cubicBezTo>
                <a:cubicBezTo>
                  <a:pt x="34809" y="41688"/>
                  <a:pt x="37091" y="37557"/>
                  <a:pt x="37958" y="33038"/>
                </a:cubicBezTo>
                <a:cubicBezTo>
                  <a:pt x="40241" y="21169"/>
                  <a:pt x="31864" y="9117"/>
                  <a:pt x="20908" y="3981"/>
                </a:cubicBezTo>
                <a:cubicBezTo>
                  <a:pt x="14632" y="1016"/>
                  <a:pt x="7904" y="1"/>
                  <a:pt x="1114" y="1"/>
                </a:cubicBezTo>
                <a:close/>
              </a:path>
            </a:pathLst>
          </a:custGeom>
          <a:solidFill>
            <a:schemeClr val="lt1">
              <a:alpha val="4024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50" name="Google Shape;150;p9"/>
          <p:cNvSpPr txBox="1">
            <a:spLocks noGrp="1"/>
          </p:cNvSpPr>
          <p:nvPr>
            <p:ph type="title"/>
          </p:nvPr>
        </p:nvSpPr>
        <p:spPr>
          <a:xfrm>
            <a:off x="2540033" y="1086200"/>
            <a:ext cx="7112000" cy="112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6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1" name="Google Shape;151;p9"/>
          <p:cNvSpPr txBox="1">
            <a:spLocks noGrp="1"/>
          </p:cNvSpPr>
          <p:nvPr>
            <p:ph type="subTitle" idx="1"/>
          </p:nvPr>
        </p:nvSpPr>
        <p:spPr>
          <a:xfrm>
            <a:off x="2893867" y="2208600"/>
            <a:ext cx="6404400" cy="178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" name="Google Shape;152;p9"/>
          <p:cNvSpPr/>
          <p:nvPr/>
        </p:nvSpPr>
        <p:spPr>
          <a:xfrm flipH="1">
            <a:off x="279689" y="2690400"/>
            <a:ext cx="273520" cy="273520"/>
          </a:xfrm>
          <a:custGeom>
            <a:avLst/>
            <a:gdLst/>
            <a:ahLst/>
            <a:cxnLst/>
            <a:rect l="l" t="t" r="r" b="b"/>
            <a:pathLst>
              <a:path w="7602" h="7602" extrusionOk="0">
                <a:moveTo>
                  <a:pt x="2648" y="1"/>
                </a:moveTo>
                <a:cubicBezTo>
                  <a:pt x="2420" y="1"/>
                  <a:pt x="2237" y="183"/>
                  <a:pt x="2237" y="434"/>
                </a:cubicBezTo>
                <a:lnTo>
                  <a:pt x="2237" y="1804"/>
                </a:lnTo>
                <a:cubicBezTo>
                  <a:pt x="2237" y="2032"/>
                  <a:pt x="2032" y="2215"/>
                  <a:pt x="1804" y="2215"/>
                </a:cubicBezTo>
                <a:lnTo>
                  <a:pt x="434" y="2215"/>
                </a:lnTo>
                <a:cubicBezTo>
                  <a:pt x="206" y="2215"/>
                  <a:pt x="0" y="2420"/>
                  <a:pt x="0" y="2648"/>
                </a:cubicBezTo>
                <a:lnTo>
                  <a:pt x="0" y="4954"/>
                </a:lnTo>
                <a:cubicBezTo>
                  <a:pt x="0" y="5182"/>
                  <a:pt x="206" y="5387"/>
                  <a:pt x="434" y="5387"/>
                </a:cubicBezTo>
                <a:lnTo>
                  <a:pt x="1804" y="5387"/>
                </a:lnTo>
                <a:cubicBezTo>
                  <a:pt x="2032" y="5387"/>
                  <a:pt x="2237" y="5570"/>
                  <a:pt x="2237" y="5798"/>
                </a:cubicBezTo>
                <a:lnTo>
                  <a:pt x="2237" y="7168"/>
                </a:lnTo>
                <a:cubicBezTo>
                  <a:pt x="2237" y="7419"/>
                  <a:pt x="2420" y="7601"/>
                  <a:pt x="2648" y="7601"/>
                </a:cubicBezTo>
                <a:lnTo>
                  <a:pt x="4976" y="7601"/>
                </a:lnTo>
                <a:cubicBezTo>
                  <a:pt x="5205" y="7601"/>
                  <a:pt x="5387" y="7419"/>
                  <a:pt x="5387" y="7168"/>
                </a:cubicBezTo>
                <a:lnTo>
                  <a:pt x="5387" y="5798"/>
                </a:lnTo>
                <a:cubicBezTo>
                  <a:pt x="5387" y="5570"/>
                  <a:pt x="5570" y="5387"/>
                  <a:pt x="5798" y="5387"/>
                </a:cubicBezTo>
                <a:lnTo>
                  <a:pt x="7190" y="5387"/>
                </a:lnTo>
                <a:cubicBezTo>
                  <a:pt x="7419" y="5387"/>
                  <a:pt x="7601" y="5182"/>
                  <a:pt x="7601" y="4954"/>
                </a:cubicBezTo>
                <a:lnTo>
                  <a:pt x="7601" y="2648"/>
                </a:lnTo>
                <a:cubicBezTo>
                  <a:pt x="7601" y="2420"/>
                  <a:pt x="7419" y="2215"/>
                  <a:pt x="7190" y="2215"/>
                </a:cubicBezTo>
                <a:lnTo>
                  <a:pt x="5798" y="2215"/>
                </a:lnTo>
                <a:cubicBezTo>
                  <a:pt x="5570" y="2215"/>
                  <a:pt x="5387" y="2032"/>
                  <a:pt x="5387" y="1804"/>
                </a:cubicBezTo>
                <a:lnTo>
                  <a:pt x="5387" y="434"/>
                </a:lnTo>
                <a:cubicBezTo>
                  <a:pt x="5387" y="183"/>
                  <a:pt x="5205" y="1"/>
                  <a:pt x="4976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53" name="Google Shape;153;p9"/>
          <p:cNvSpPr/>
          <p:nvPr/>
        </p:nvSpPr>
        <p:spPr>
          <a:xfrm flipH="1">
            <a:off x="11819097" y="3465518"/>
            <a:ext cx="598743" cy="2244684"/>
          </a:xfrm>
          <a:custGeom>
            <a:avLst/>
            <a:gdLst/>
            <a:ahLst/>
            <a:cxnLst/>
            <a:rect l="l" t="t" r="r" b="b"/>
            <a:pathLst>
              <a:path w="16641" h="62387" extrusionOk="0">
                <a:moveTo>
                  <a:pt x="5438" y="1"/>
                </a:moveTo>
                <a:cubicBezTo>
                  <a:pt x="5170" y="1"/>
                  <a:pt x="4901" y="24"/>
                  <a:pt x="4634" y="73"/>
                </a:cubicBezTo>
                <a:cubicBezTo>
                  <a:pt x="2831" y="415"/>
                  <a:pt x="1393" y="1853"/>
                  <a:pt x="708" y="3543"/>
                </a:cubicBezTo>
                <a:cubicBezTo>
                  <a:pt x="0" y="5232"/>
                  <a:pt x="0" y="7103"/>
                  <a:pt x="274" y="8906"/>
                </a:cubicBezTo>
                <a:cubicBezTo>
                  <a:pt x="959" y="13152"/>
                  <a:pt x="3173" y="16964"/>
                  <a:pt x="4839" y="20913"/>
                </a:cubicBezTo>
                <a:cubicBezTo>
                  <a:pt x="6483" y="24884"/>
                  <a:pt x="7579" y="29472"/>
                  <a:pt x="5912" y="33421"/>
                </a:cubicBezTo>
                <a:cubicBezTo>
                  <a:pt x="5136" y="35224"/>
                  <a:pt x="3858" y="36776"/>
                  <a:pt x="3196" y="38602"/>
                </a:cubicBezTo>
                <a:cubicBezTo>
                  <a:pt x="2078" y="41752"/>
                  <a:pt x="2945" y="45267"/>
                  <a:pt x="3972" y="48440"/>
                </a:cubicBezTo>
                <a:cubicBezTo>
                  <a:pt x="4520" y="50083"/>
                  <a:pt x="5091" y="51727"/>
                  <a:pt x="5227" y="53461"/>
                </a:cubicBezTo>
                <a:cubicBezTo>
                  <a:pt x="5433" y="56566"/>
                  <a:pt x="4109" y="59556"/>
                  <a:pt x="2831" y="62386"/>
                </a:cubicBezTo>
                <a:cubicBezTo>
                  <a:pt x="7738" y="57889"/>
                  <a:pt x="9975" y="51110"/>
                  <a:pt x="9359" y="44560"/>
                </a:cubicBezTo>
                <a:cubicBezTo>
                  <a:pt x="9199" y="42802"/>
                  <a:pt x="8834" y="40999"/>
                  <a:pt x="9222" y="39264"/>
                </a:cubicBezTo>
                <a:cubicBezTo>
                  <a:pt x="9633" y="37392"/>
                  <a:pt x="10843" y="35817"/>
                  <a:pt x="11824" y="34174"/>
                </a:cubicBezTo>
                <a:cubicBezTo>
                  <a:pt x="16640" y="26117"/>
                  <a:pt x="15887" y="15777"/>
                  <a:pt x="12577" y="7012"/>
                </a:cubicBezTo>
                <a:cubicBezTo>
                  <a:pt x="11915" y="5209"/>
                  <a:pt x="11116" y="3406"/>
                  <a:pt x="9793" y="2036"/>
                </a:cubicBezTo>
                <a:cubicBezTo>
                  <a:pt x="8658" y="842"/>
                  <a:pt x="7053" y="1"/>
                  <a:pt x="5438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grpSp>
        <p:nvGrpSpPr>
          <p:cNvPr id="154" name="Google Shape;154;p9"/>
          <p:cNvGrpSpPr/>
          <p:nvPr/>
        </p:nvGrpSpPr>
        <p:grpSpPr>
          <a:xfrm flipH="1">
            <a:off x="11305841" y="2311747"/>
            <a:ext cx="1166040" cy="1974763"/>
            <a:chOff x="-117729" y="1733810"/>
            <a:chExt cx="874530" cy="1481072"/>
          </a:xfrm>
        </p:grpSpPr>
        <p:sp>
          <p:nvSpPr>
            <p:cNvPr id="155" name="Google Shape;155;p9"/>
            <p:cNvSpPr/>
            <p:nvPr/>
          </p:nvSpPr>
          <p:spPr>
            <a:xfrm>
              <a:off x="21973" y="1733810"/>
              <a:ext cx="518652" cy="505591"/>
            </a:xfrm>
            <a:custGeom>
              <a:avLst/>
              <a:gdLst/>
              <a:ahLst/>
              <a:cxnLst/>
              <a:rect l="l" t="t" r="r" b="b"/>
              <a:pathLst>
                <a:path w="19220" h="18736" extrusionOk="0">
                  <a:moveTo>
                    <a:pt x="9145" y="0"/>
                  </a:moveTo>
                  <a:cubicBezTo>
                    <a:pt x="9095" y="0"/>
                    <a:pt x="9044" y="1"/>
                    <a:pt x="8994" y="2"/>
                  </a:cubicBezTo>
                  <a:cubicBezTo>
                    <a:pt x="7190" y="48"/>
                    <a:pt x="5410" y="824"/>
                    <a:pt x="4132" y="2079"/>
                  </a:cubicBezTo>
                  <a:cubicBezTo>
                    <a:pt x="3675" y="2536"/>
                    <a:pt x="3264" y="3084"/>
                    <a:pt x="3127" y="3723"/>
                  </a:cubicBezTo>
                  <a:cubicBezTo>
                    <a:pt x="2945" y="4476"/>
                    <a:pt x="3173" y="5275"/>
                    <a:pt x="3493" y="6005"/>
                  </a:cubicBezTo>
                  <a:cubicBezTo>
                    <a:pt x="4155" y="7466"/>
                    <a:pt x="5182" y="8744"/>
                    <a:pt x="5866" y="10182"/>
                  </a:cubicBezTo>
                  <a:cubicBezTo>
                    <a:pt x="4908" y="9406"/>
                    <a:pt x="3926" y="8630"/>
                    <a:pt x="2945" y="7854"/>
                  </a:cubicBezTo>
                  <a:cubicBezTo>
                    <a:pt x="2717" y="7671"/>
                    <a:pt x="2466" y="7489"/>
                    <a:pt x="2192" y="7420"/>
                  </a:cubicBezTo>
                  <a:cubicBezTo>
                    <a:pt x="2152" y="7416"/>
                    <a:pt x="2112" y="7413"/>
                    <a:pt x="2072" y="7413"/>
                  </a:cubicBezTo>
                  <a:cubicBezTo>
                    <a:pt x="1725" y="7413"/>
                    <a:pt x="1390" y="7586"/>
                    <a:pt x="1164" y="7831"/>
                  </a:cubicBezTo>
                  <a:cubicBezTo>
                    <a:pt x="913" y="8105"/>
                    <a:pt x="776" y="8470"/>
                    <a:pt x="662" y="8835"/>
                  </a:cubicBezTo>
                  <a:cubicBezTo>
                    <a:pt x="0" y="11323"/>
                    <a:pt x="1210" y="14062"/>
                    <a:pt x="3150" y="15752"/>
                  </a:cubicBezTo>
                  <a:cubicBezTo>
                    <a:pt x="5090" y="17441"/>
                    <a:pt x="7647" y="18239"/>
                    <a:pt x="10180" y="18673"/>
                  </a:cubicBezTo>
                  <a:cubicBezTo>
                    <a:pt x="10426" y="18715"/>
                    <a:pt x="10675" y="18735"/>
                    <a:pt x="10925" y="18735"/>
                  </a:cubicBezTo>
                  <a:cubicBezTo>
                    <a:pt x="12446" y="18735"/>
                    <a:pt x="14020" y="17997"/>
                    <a:pt x="15156" y="16938"/>
                  </a:cubicBezTo>
                  <a:cubicBezTo>
                    <a:pt x="16320" y="15866"/>
                    <a:pt x="16868" y="14291"/>
                    <a:pt x="17507" y="12853"/>
                  </a:cubicBezTo>
                  <a:cubicBezTo>
                    <a:pt x="18101" y="11483"/>
                    <a:pt x="18831" y="10159"/>
                    <a:pt x="19014" y="8676"/>
                  </a:cubicBezTo>
                  <a:cubicBezTo>
                    <a:pt x="19219" y="6987"/>
                    <a:pt x="18671" y="5275"/>
                    <a:pt x="18078" y="3677"/>
                  </a:cubicBezTo>
                  <a:cubicBezTo>
                    <a:pt x="17850" y="3015"/>
                    <a:pt x="17599" y="2376"/>
                    <a:pt x="17142" y="1874"/>
                  </a:cubicBezTo>
                  <a:cubicBezTo>
                    <a:pt x="16771" y="1485"/>
                    <a:pt x="16249" y="1205"/>
                    <a:pt x="15735" y="1205"/>
                  </a:cubicBezTo>
                  <a:cubicBezTo>
                    <a:pt x="15586" y="1205"/>
                    <a:pt x="15437" y="1229"/>
                    <a:pt x="15293" y="1280"/>
                  </a:cubicBezTo>
                  <a:cubicBezTo>
                    <a:pt x="14700" y="1509"/>
                    <a:pt x="14335" y="2102"/>
                    <a:pt x="14084" y="2695"/>
                  </a:cubicBezTo>
                  <a:cubicBezTo>
                    <a:pt x="13513" y="3997"/>
                    <a:pt x="13285" y="5412"/>
                    <a:pt x="13079" y="6804"/>
                  </a:cubicBezTo>
                  <a:cubicBezTo>
                    <a:pt x="13148" y="5571"/>
                    <a:pt x="13034" y="4339"/>
                    <a:pt x="12760" y="3129"/>
                  </a:cubicBezTo>
                  <a:cubicBezTo>
                    <a:pt x="12577" y="2262"/>
                    <a:pt x="12280" y="1372"/>
                    <a:pt x="11618" y="778"/>
                  </a:cubicBezTo>
                  <a:cubicBezTo>
                    <a:pt x="10949" y="195"/>
                    <a:pt x="10034" y="0"/>
                    <a:pt x="914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56" name="Google Shape;156;p9"/>
            <p:cNvSpPr/>
            <p:nvPr/>
          </p:nvSpPr>
          <p:spPr>
            <a:xfrm>
              <a:off x="182722" y="1995375"/>
              <a:ext cx="268582" cy="236173"/>
            </a:xfrm>
            <a:custGeom>
              <a:avLst/>
              <a:gdLst/>
              <a:ahLst/>
              <a:cxnLst/>
              <a:rect l="l" t="t" r="r" b="b"/>
              <a:pathLst>
                <a:path w="9953" h="8752" extrusionOk="0">
                  <a:moveTo>
                    <a:pt x="6563" y="1"/>
                  </a:moveTo>
                  <a:cubicBezTo>
                    <a:pt x="6452" y="1"/>
                    <a:pt x="6342" y="4"/>
                    <a:pt x="6232" y="10"/>
                  </a:cubicBezTo>
                  <a:cubicBezTo>
                    <a:pt x="4406" y="78"/>
                    <a:pt x="2626" y="740"/>
                    <a:pt x="1211" y="1882"/>
                  </a:cubicBezTo>
                  <a:cubicBezTo>
                    <a:pt x="754" y="2270"/>
                    <a:pt x="298" y="2726"/>
                    <a:pt x="138" y="3297"/>
                  </a:cubicBezTo>
                  <a:cubicBezTo>
                    <a:pt x="1" y="3776"/>
                    <a:pt x="92" y="4278"/>
                    <a:pt x="229" y="4758"/>
                  </a:cubicBezTo>
                  <a:cubicBezTo>
                    <a:pt x="822" y="6835"/>
                    <a:pt x="2671" y="8569"/>
                    <a:pt x="4817" y="8752"/>
                  </a:cubicBezTo>
                  <a:cubicBezTo>
                    <a:pt x="5661" y="8250"/>
                    <a:pt x="6780" y="8318"/>
                    <a:pt x="7670" y="7930"/>
                  </a:cubicBezTo>
                  <a:cubicBezTo>
                    <a:pt x="8515" y="7588"/>
                    <a:pt x="9131" y="6880"/>
                    <a:pt x="9496" y="6059"/>
                  </a:cubicBezTo>
                  <a:cubicBezTo>
                    <a:pt x="9838" y="5237"/>
                    <a:pt x="9953" y="4324"/>
                    <a:pt x="9884" y="3434"/>
                  </a:cubicBezTo>
                  <a:cubicBezTo>
                    <a:pt x="9816" y="2361"/>
                    <a:pt x="9519" y="1242"/>
                    <a:pt x="8674" y="603"/>
                  </a:cubicBezTo>
                  <a:cubicBezTo>
                    <a:pt x="8078" y="146"/>
                    <a:pt x="7310" y="1"/>
                    <a:pt x="6563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57" name="Google Shape;157;p9"/>
            <p:cNvSpPr/>
            <p:nvPr/>
          </p:nvSpPr>
          <p:spPr>
            <a:xfrm>
              <a:off x="-117729" y="2086450"/>
              <a:ext cx="874530" cy="1128432"/>
            </a:xfrm>
            <a:custGeom>
              <a:avLst/>
              <a:gdLst/>
              <a:ahLst/>
              <a:cxnLst/>
              <a:rect l="l" t="t" r="r" b="b"/>
              <a:pathLst>
                <a:path w="32408" h="41817" extrusionOk="0">
                  <a:moveTo>
                    <a:pt x="30309" y="1"/>
                  </a:moveTo>
                  <a:cubicBezTo>
                    <a:pt x="29836" y="1"/>
                    <a:pt x="29342" y="124"/>
                    <a:pt x="28916" y="310"/>
                  </a:cubicBezTo>
                  <a:cubicBezTo>
                    <a:pt x="27090" y="1109"/>
                    <a:pt x="25720" y="2661"/>
                    <a:pt x="24556" y="4281"/>
                  </a:cubicBezTo>
                  <a:cubicBezTo>
                    <a:pt x="22662" y="6906"/>
                    <a:pt x="21132" y="9828"/>
                    <a:pt x="20037" y="12909"/>
                  </a:cubicBezTo>
                  <a:cubicBezTo>
                    <a:pt x="20196" y="11700"/>
                    <a:pt x="20219" y="10513"/>
                    <a:pt x="20082" y="9326"/>
                  </a:cubicBezTo>
                  <a:cubicBezTo>
                    <a:pt x="19991" y="8413"/>
                    <a:pt x="19786" y="7500"/>
                    <a:pt x="19786" y="6587"/>
                  </a:cubicBezTo>
                  <a:cubicBezTo>
                    <a:pt x="19808" y="5674"/>
                    <a:pt x="20082" y="4715"/>
                    <a:pt x="20744" y="4099"/>
                  </a:cubicBezTo>
                  <a:cubicBezTo>
                    <a:pt x="21109" y="3779"/>
                    <a:pt x="21543" y="3574"/>
                    <a:pt x="21931" y="3277"/>
                  </a:cubicBezTo>
                  <a:cubicBezTo>
                    <a:pt x="22296" y="2980"/>
                    <a:pt x="22616" y="2524"/>
                    <a:pt x="22547" y="2044"/>
                  </a:cubicBezTo>
                  <a:cubicBezTo>
                    <a:pt x="22468" y="1992"/>
                    <a:pt x="22387" y="1969"/>
                    <a:pt x="22306" y="1969"/>
                  </a:cubicBezTo>
                  <a:cubicBezTo>
                    <a:pt x="21776" y="1969"/>
                    <a:pt x="21200" y="2926"/>
                    <a:pt x="20693" y="2926"/>
                  </a:cubicBezTo>
                  <a:cubicBezTo>
                    <a:pt x="20601" y="2926"/>
                    <a:pt x="20511" y="2895"/>
                    <a:pt x="20425" y="2820"/>
                  </a:cubicBezTo>
                  <a:cubicBezTo>
                    <a:pt x="20356" y="2752"/>
                    <a:pt x="20288" y="2661"/>
                    <a:pt x="20219" y="2569"/>
                  </a:cubicBezTo>
                  <a:cubicBezTo>
                    <a:pt x="20134" y="2490"/>
                    <a:pt x="20035" y="2455"/>
                    <a:pt x="19933" y="2455"/>
                  </a:cubicBezTo>
                  <a:cubicBezTo>
                    <a:pt x="19624" y="2455"/>
                    <a:pt x="19278" y="2763"/>
                    <a:pt x="19124" y="3072"/>
                  </a:cubicBezTo>
                  <a:cubicBezTo>
                    <a:pt x="18918" y="3482"/>
                    <a:pt x="18758" y="4030"/>
                    <a:pt x="18325" y="4190"/>
                  </a:cubicBezTo>
                  <a:cubicBezTo>
                    <a:pt x="18233" y="4223"/>
                    <a:pt x="18137" y="4236"/>
                    <a:pt x="18038" y="4236"/>
                  </a:cubicBezTo>
                  <a:cubicBezTo>
                    <a:pt x="17577" y="4236"/>
                    <a:pt x="17054" y="3945"/>
                    <a:pt x="16652" y="3945"/>
                  </a:cubicBezTo>
                  <a:cubicBezTo>
                    <a:pt x="16473" y="3945"/>
                    <a:pt x="16318" y="4002"/>
                    <a:pt x="16202" y="4167"/>
                  </a:cubicBezTo>
                  <a:cubicBezTo>
                    <a:pt x="16065" y="4350"/>
                    <a:pt x="16065" y="4578"/>
                    <a:pt x="15997" y="4783"/>
                  </a:cubicBezTo>
                  <a:cubicBezTo>
                    <a:pt x="15791" y="5423"/>
                    <a:pt x="15015" y="5605"/>
                    <a:pt x="14353" y="5719"/>
                  </a:cubicBezTo>
                  <a:cubicBezTo>
                    <a:pt x="14473" y="6130"/>
                    <a:pt x="14901" y="6336"/>
                    <a:pt x="15339" y="6336"/>
                  </a:cubicBezTo>
                  <a:cubicBezTo>
                    <a:pt x="15484" y="6336"/>
                    <a:pt x="15631" y="6313"/>
                    <a:pt x="15768" y="6267"/>
                  </a:cubicBezTo>
                  <a:cubicBezTo>
                    <a:pt x="16293" y="6107"/>
                    <a:pt x="16727" y="5696"/>
                    <a:pt x="17229" y="5423"/>
                  </a:cubicBezTo>
                  <a:cubicBezTo>
                    <a:pt x="17506" y="5271"/>
                    <a:pt x="17832" y="5169"/>
                    <a:pt x="18138" y="5169"/>
                  </a:cubicBezTo>
                  <a:cubicBezTo>
                    <a:pt x="18386" y="5169"/>
                    <a:pt x="18620" y="5236"/>
                    <a:pt x="18804" y="5400"/>
                  </a:cubicBezTo>
                  <a:cubicBezTo>
                    <a:pt x="19101" y="5674"/>
                    <a:pt x="19192" y="6062"/>
                    <a:pt x="19238" y="6450"/>
                  </a:cubicBezTo>
                  <a:cubicBezTo>
                    <a:pt x="19991" y="11311"/>
                    <a:pt x="19146" y="16356"/>
                    <a:pt x="17298" y="20898"/>
                  </a:cubicBezTo>
                  <a:cubicBezTo>
                    <a:pt x="16750" y="22290"/>
                    <a:pt x="16088" y="23614"/>
                    <a:pt x="15380" y="24915"/>
                  </a:cubicBezTo>
                  <a:cubicBezTo>
                    <a:pt x="16430" y="21925"/>
                    <a:pt x="16955" y="18753"/>
                    <a:pt x="16932" y="15603"/>
                  </a:cubicBezTo>
                  <a:cubicBezTo>
                    <a:pt x="16932" y="13480"/>
                    <a:pt x="16613" y="11220"/>
                    <a:pt x="15152" y="9668"/>
                  </a:cubicBezTo>
                  <a:cubicBezTo>
                    <a:pt x="14855" y="9349"/>
                    <a:pt x="14490" y="9052"/>
                    <a:pt x="14056" y="8960"/>
                  </a:cubicBezTo>
                  <a:cubicBezTo>
                    <a:pt x="13940" y="8931"/>
                    <a:pt x="13823" y="8918"/>
                    <a:pt x="13707" y="8918"/>
                  </a:cubicBezTo>
                  <a:cubicBezTo>
                    <a:pt x="12825" y="8918"/>
                    <a:pt x="12001" y="9716"/>
                    <a:pt x="11820" y="10604"/>
                  </a:cubicBezTo>
                  <a:cubicBezTo>
                    <a:pt x="11614" y="11608"/>
                    <a:pt x="12025" y="12658"/>
                    <a:pt x="12596" y="13526"/>
                  </a:cubicBezTo>
                  <a:cubicBezTo>
                    <a:pt x="13166" y="14393"/>
                    <a:pt x="13897" y="15146"/>
                    <a:pt x="14422" y="16013"/>
                  </a:cubicBezTo>
                  <a:cubicBezTo>
                    <a:pt x="15449" y="17725"/>
                    <a:pt x="15677" y="19802"/>
                    <a:pt x="15449" y="21765"/>
                  </a:cubicBezTo>
                  <a:cubicBezTo>
                    <a:pt x="15221" y="23637"/>
                    <a:pt x="14627" y="25417"/>
                    <a:pt x="14034" y="27198"/>
                  </a:cubicBezTo>
                  <a:cubicBezTo>
                    <a:pt x="12664" y="29343"/>
                    <a:pt x="11089" y="31398"/>
                    <a:pt x="9446" y="33338"/>
                  </a:cubicBezTo>
                  <a:cubicBezTo>
                    <a:pt x="8829" y="34068"/>
                    <a:pt x="8190" y="34776"/>
                    <a:pt x="7551" y="35461"/>
                  </a:cubicBezTo>
                  <a:cubicBezTo>
                    <a:pt x="8213" y="34091"/>
                    <a:pt x="8601" y="32607"/>
                    <a:pt x="8966" y="31147"/>
                  </a:cubicBezTo>
                  <a:cubicBezTo>
                    <a:pt x="9811" y="27746"/>
                    <a:pt x="10678" y="24322"/>
                    <a:pt x="10838" y="20807"/>
                  </a:cubicBezTo>
                  <a:cubicBezTo>
                    <a:pt x="10907" y="19437"/>
                    <a:pt x="10838" y="17954"/>
                    <a:pt x="9994" y="16881"/>
                  </a:cubicBezTo>
                  <a:cubicBezTo>
                    <a:pt x="9879" y="16744"/>
                    <a:pt x="9742" y="16607"/>
                    <a:pt x="9583" y="16561"/>
                  </a:cubicBezTo>
                  <a:cubicBezTo>
                    <a:pt x="9538" y="16550"/>
                    <a:pt x="9494" y="16545"/>
                    <a:pt x="9450" y="16545"/>
                  </a:cubicBezTo>
                  <a:cubicBezTo>
                    <a:pt x="9228" y="16545"/>
                    <a:pt x="9024" y="16679"/>
                    <a:pt x="8852" y="16812"/>
                  </a:cubicBezTo>
                  <a:cubicBezTo>
                    <a:pt x="8031" y="17520"/>
                    <a:pt x="7483" y="18501"/>
                    <a:pt x="7118" y="19506"/>
                  </a:cubicBezTo>
                  <a:cubicBezTo>
                    <a:pt x="6113" y="22176"/>
                    <a:pt x="6159" y="25098"/>
                    <a:pt x="6433" y="27928"/>
                  </a:cubicBezTo>
                  <a:cubicBezTo>
                    <a:pt x="6684" y="30667"/>
                    <a:pt x="7095" y="33384"/>
                    <a:pt x="6912" y="36100"/>
                  </a:cubicBezTo>
                  <a:cubicBezTo>
                    <a:pt x="4972" y="38086"/>
                    <a:pt x="2804" y="39866"/>
                    <a:pt x="338" y="41144"/>
                  </a:cubicBezTo>
                  <a:cubicBezTo>
                    <a:pt x="315" y="41138"/>
                    <a:pt x="293" y="41135"/>
                    <a:pt x="273" y="41135"/>
                  </a:cubicBezTo>
                  <a:cubicBezTo>
                    <a:pt x="1" y="41135"/>
                    <a:pt x="41" y="41677"/>
                    <a:pt x="338" y="41783"/>
                  </a:cubicBezTo>
                  <a:cubicBezTo>
                    <a:pt x="402" y="41806"/>
                    <a:pt x="467" y="41816"/>
                    <a:pt x="532" y="41816"/>
                  </a:cubicBezTo>
                  <a:cubicBezTo>
                    <a:pt x="792" y="41816"/>
                    <a:pt x="1055" y="41655"/>
                    <a:pt x="1274" y="41509"/>
                  </a:cubicBezTo>
                  <a:cubicBezTo>
                    <a:pt x="3488" y="40026"/>
                    <a:pt x="5543" y="38337"/>
                    <a:pt x="7460" y="36465"/>
                  </a:cubicBezTo>
                  <a:cubicBezTo>
                    <a:pt x="7648" y="36470"/>
                    <a:pt x="7836" y="36472"/>
                    <a:pt x="8024" y="36472"/>
                  </a:cubicBezTo>
                  <a:cubicBezTo>
                    <a:pt x="12339" y="36472"/>
                    <a:pt x="16707" y="35223"/>
                    <a:pt x="20425" y="32927"/>
                  </a:cubicBezTo>
                  <a:cubicBezTo>
                    <a:pt x="21771" y="32082"/>
                    <a:pt x="23141" y="31010"/>
                    <a:pt x="23552" y="29480"/>
                  </a:cubicBezTo>
                  <a:cubicBezTo>
                    <a:pt x="23643" y="29184"/>
                    <a:pt x="23689" y="28841"/>
                    <a:pt x="23575" y="28545"/>
                  </a:cubicBezTo>
                  <a:cubicBezTo>
                    <a:pt x="23415" y="28111"/>
                    <a:pt x="22913" y="27837"/>
                    <a:pt x="22456" y="27814"/>
                  </a:cubicBezTo>
                  <a:cubicBezTo>
                    <a:pt x="22429" y="27813"/>
                    <a:pt x="22402" y="27812"/>
                    <a:pt x="22374" y="27812"/>
                  </a:cubicBezTo>
                  <a:cubicBezTo>
                    <a:pt x="21925" y="27812"/>
                    <a:pt x="21496" y="27986"/>
                    <a:pt x="21087" y="28179"/>
                  </a:cubicBezTo>
                  <a:cubicBezTo>
                    <a:pt x="19420" y="28955"/>
                    <a:pt x="18028" y="30211"/>
                    <a:pt x="16522" y="31261"/>
                  </a:cubicBezTo>
                  <a:cubicBezTo>
                    <a:pt x="14102" y="32950"/>
                    <a:pt x="11386" y="34160"/>
                    <a:pt x="8647" y="35278"/>
                  </a:cubicBezTo>
                  <a:cubicBezTo>
                    <a:pt x="10770" y="33041"/>
                    <a:pt x="12687" y="30599"/>
                    <a:pt x="14330" y="27997"/>
                  </a:cubicBezTo>
                  <a:cubicBezTo>
                    <a:pt x="14516" y="28096"/>
                    <a:pt x="14742" y="28134"/>
                    <a:pt x="14979" y="28134"/>
                  </a:cubicBezTo>
                  <a:cubicBezTo>
                    <a:pt x="15179" y="28134"/>
                    <a:pt x="15387" y="28107"/>
                    <a:pt x="15586" y="28065"/>
                  </a:cubicBezTo>
                  <a:cubicBezTo>
                    <a:pt x="18553" y="27563"/>
                    <a:pt x="21178" y="25874"/>
                    <a:pt x="23392" y="23843"/>
                  </a:cubicBezTo>
                  <a:cubicBezTo>
                    <a:pt x="25218" y="22176"/>
                    <a:pt x="26861" y="20168"/>
                    <a:pt x="27455" y="17771"/>
                  </a:cubicBezTo>
                  <a:cubicBezTo>
                    <a:pt x="27592" y="17109"/>
                    <a:pt x="27660" y="16333"/>
                    <a:pt x="27227" y="15808"/>
                  </a:cubicBezTo>
                  <a:cubicBezTo>
                    <a:pt x="26936" y="15457"/>
                    <a:pt x="26498" y="15299"/>
                    <a:pt x="26042" y="15299"/>
                  </a:cubicBezTo>
                  <a:cubicBezTo>
                    <a:pt x="25638" y="15299"/>
                    <a:pt x="25219" y="15423"/>
                    <a:pt x="24876" y="15648"/>
                  </a:cubicBezTo>
                  <a:cubicBezTo>
                    <a:pt x="24168" y="16128"/>
                    <a:pt x="23734" y="16927"/>
                    <a:pt x="23323" y="17680"/>
                  </a:cubicBezTo>
                  <a:cubicBezTo>
                    <a:pt x="22022" y="20099"/>
                    <a:pt x="20607" y="22519"/>
                    <a:pt x="18599" y="24390"/>
                  </a:cubicBezTo>
                  <a:cubicBezTo>
                    <a:pt x="17480" y="25417"/>
                    <a:pt x="16202" y="26285"/>
                    <a:pt x="14878" y="27084"/>
                  </a:cubicBezTo>
                  <a:cubicBezTo>
                    <a:pt x="16864" y="23706"/>
                    <a:pt x="18393" y="20099"/>
                    <a:pt x="19375" y="16310"/>
                  </a:cubicBezTo>
                  <a:cubicBezTo>
                    <a:pt x="19420" y="16105"/>
                    <a:pt x="19489" y="15922"/>
                    <a:pt x="19534" y="15717"/>
                  </a:cubicBezTo>
                  <a:cubicBezTo>
                    <a:pt x="21292" y="13731"/>
                    <a:pt x="23232" y="11791"/>
                    <a:pt x="25286" y="10033"/>
                  </a:cubicBezTo>
                  <a:cubicBezTo>
                    <a:pt x="27592" y="8070"/>
                    <a:pt x="30125" y="6199"/>
                    <a:pt x="31563" y="3551"/>
                  </a:cubicBezTo>
                  <a:cubicBezTo>
                    <a:pt x="32088" y="2592"/>
                    <a:pt x="32408" y="1291"/>
                    <a:pt x="31655" y="515"/>
                  </a:cubicBezTo>
                  <a:cubicBezTo>
                    <a:pt x="31310" y="146"/>
                    <a:pt x="30822" y="1"/>
                    <a:pt x="3030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158" name="Google Shape;158;p9"/>
          <p:cNvSpPr/>
          <p:nvPr/>
        </p:nvSpPr>
        <p:spPr>
          <a:xfrm>
            <a:off x="9732899" y="713335"/>
            <a:ext cx="232853" cy="151221"/>
          </a:xfrm>
          <a:custGeom>
            <a:avLst/>
            <a:gdLst/>
            <a:ahLst/>
            <a:cxnLst/>
            <a:rect l="l" t="t" r="r" b="b"/>
            <a:pathLst>
              <a:path w="8720" h="5663" extrusionOk="0">
                <a:moveTo>
                  <a:pt x="5592" y="207"/>
                </a:moveTo>
                <a:cubicBezTo>
                  <a:pt x="5958" y="207"/>
                  <a:pt x="6323" y="230"/>
                  <a:pt x="6688" y="298"/>
                </a:cubicBezTo>
                <a:cubicBezTo>
                  <a:pt x="7053" y="344"/>
                  <a:pt x="7487" y="435"/>
                  <a:pt x="7829" y="686"/>
                </a:cubicBezTo>
                <a:cubicBezTo>
                  <a:pt x="8035" y="823"/>
                  <a:pt x="8217" y="1097"/>
                  <a:pt x="8263" y="1371"/>
                </a:cubicBezTo>
                <a:cubicBezTo>
                  <a:pt x="5707" y="1417"/>
                  <a:pt x="3150" y="1599"/>
                  <a:pt x="617" y="1965"/>
                </a:cubicBezTo>
                <a:cubicBezTo>
                  <a:pt x="845" y="1736"/>
                  <a:pt x="1096" y="1554"/>
                  <a:pt x="1256" y="1440"/>
                </a:cubicBezTo>
                <a:cubicBezTo>
                  <a:pt x="2534" y="641"/>
                  <a:pt x="4086" y="207"/>
                  <a:pt x="5592" y="207"/>
                </a:cubicBezTo>
                <a:close/>
                <a:moveTo>
                  <a:pt x="8263" y="1577"/>
                </a:moveTo>
                <a:cubicBezTo>
                  <a:pt x="8263" y="1622"/>
                  <a:pt x="8263" y="1645"/>
                  <a:pt x="8240" y="1668"/>
                </a:cubicBezTo>
                <a:cubicBezTo>
                  <a:pt x="8172" y="1942"/>
                  <a:pt x="7943" y="2170"/>
                  <a:pt x="7738" y="2353"/>
                </a:cubicBezTo>
                <a:cubicBezTo>
                  <a:pt x="7213" y="2764"/>
                  <a:pt x="6711" y="3129"/>
                  <a:pt x="6414" y="3243"/>
                </a:cubicBezTo>
                <a:cubicBezTo>
                  <a:pt x="5119" y="3770"/>
                  <a:pt x="3698" y="4043"/>
                  <a:pt x="2292" y="4043"/>
                </a:cubicBezTo>
                <a:cubicBezTo>
                  <a:pt x="2236" y="4043"/>
                  <a:pt x="2179" y="4043"/>
                  <a:pt x="2123" y="4042"/>
                </a:cubicBezTo>
                <a:cubicBezTo>
                  <a:pt x="1735" y="4019"/>
                  <a:pt x="1324" y="3996"/>
                  <a:pt x="959" y="3836"/>
                </a:cubicBezTo>
                <a:cubicBezTo>
                  <a:pt x="571" y="3654"/>
                  <a:pt x="297" y="3334"/>
                  <a:pt x="229" y="2992"/>
                </a:cubicBezTo>
                <a:cubicBezTo>
                  <a:pt x="183" y="2695"/>
                  <a:pt x="274" y="2444"/>
                  <a:pt x="434" y="2193"/>
                </a:cubicBezTo>
                <a:cubicBezTo>
                  <a:pt x="3013" y="1828"/>
                  <a:pt x="5661" y="1622"/>
                  <a:pt x="8263" y="1577"/>
                </a:cubicBezTo>
                <a:close/>
                <a:moveTo>
                  <a:pt x="8377" y="1942"/>
                </a:moveTo>
                <a:cubicBezTo>
                  <a:pt x="8423" y="2353"/>
                  <a:pt x="8468" y="2764"/>
                  <a:pt x="8491" y="3174"/>
                </a:cubicBezTo>
                <a:cubicBezTo>
                  <a:pt x="8514" y="3311"/>
                  <a:pt x="8514" y="3425"/>
                  <a:pt x="8468" y="3540"/>
                </a:cubicBezTo>
                <a:cubicBezTo>
                  <a:pt x="8446" y="3631"/>
                  <a:pt x="8354" y="3722"/>
                  <a:pt x="8240" y="3813"/>
                </a:cubicBezTo>
                <a:cubicBezTo>
                  <a:pt x="8035" y="3996"/>
                  <a:pt x="7784" y="4179"/>
                  <a:pt x="7441" y="4361"/>
                </a:cubicBezTo>
                <a:cubicBezTo>
                  <a:pt x="6193" y="5075"/>
                  <a:pt x="4756" y="5461"/>
                  <a:pt x="3323" y="5461"/>
                </a:cubicBezTo>
                <a:cubicBezTo>
                  <a:pt x="3105" y="5461"/>
                  <a:pt x="2888" y="5452"/>
                  <a:pt x="2671" y="5434"/>
                </a:cubicBezTo>
                <a:cubicBezTo>
                  <a:pt x="2169" y="5388"/>
                  <a:pt x="1758" y="5320"/>
                  <a:pt x="1393" y="5206"/>
                </a:cubicBezTo>
                <a:cubicBezTo>
                  <a:pt x="936" y="5046"/>
                  <a:pt x="639" y="4863"/>
                  <a:pt x="480" y="4612"/>
                </a:cubicBezTo>
                <a:cubicBezTo>
                  <a:pt x="274" y="4293"/>
                  <a:pt x="251" y="3928"/>
                  <a:pt x="251" y="3540"/>
                </a:cubicBezTo>
                <a:lnTo>
                  <a:pt x="251" y="3540"/>
                </a:lnTo>
                <a:cubicBezTo>
                  <a:pt x="388" y="3745"/>
                  <a:pt x="594" y="3905"/>
                  <a:pt x="868" y="4019"/>
                </a:cubicBezTo>
                <a:cubicBezTo>
                  <a:pt x="1256" y="4202"/>
                  <a:pt x="1735" y="4247"/>
                  <a:pt x="2123" y="4247"/>
                </a:cubicBezTo>
                <a:lnTo>
                  <a:pt x="2374" y="4247"/>
                </a:lnTo>
                <a:cubicBezTo>
                  <a:pt x="3789" y="4247"/>
                  <a:pt x="5204" y="3973"/>
                  <a:pt x="6505" y="3425"/>
                </a:cubicBezTo>
                <a:cubicBezTo>
                  <a:pt x="6871" y="3289"/>
                  <a:pt x="7441" y="2855"/>
                  <a:pt x="7852" y="2512"/>
                </a:cubicBezTo>
                <a:cubicBezTo>
                  <a:pt x="8058" y="2353"/>
                  <a:pt x="8240" y="2170"/>
                  <a:pt x="8377" y="1942"/>
                </a:cubicBezTo>
                <a:close/>
                <a:moveTo>
                  <a:pt x="5642" y="0"/>
                </a:moveTo>
                <a:cubicBezTo>
                  <a:pt x="4073" y="0"/>
                  <a:pt x="2479" y="440"/>
                  <a:pt x="1142" y="1257"/>
                </a:cubicBezTo>
                <a:cubicBezTo>
                  <a:pt x="708" y="1531"/>
                  <a:pt x="23" y="2079"/>
                  <a:pt x="0" y="2786"/>
                </a:cubicBezTo>
                <a:cubicBezTo>
                  <a:pt x="0" y="2809"/>
                  <a:pt x="0" y="2832"/>
                  <a:pt x="0" y="2832"/>
                </a:cubicBezTo>
                <a:cubicBezTo>
                  <a:pt x="23" y="3037"/>
                  <a:pt x="23" y="3243"/>
                  <a:pt x="23" y="3448"/>
                </a:cubicBezTo>
                <a:cubicBezTo>
                  <a:pt x="46" y="3882"/>
                  <a:pt x="46" y="4338"/>
                  <a:pt x="297" y="4726"/>
                </a:cubicBezTo>
                <a:cubicBezTo>
                  <a:pt x="502" y="5023"/>
                  <a:pt x="822" y="5229"/>
                  <a:pt x="1324" y="5388"/>
                </a:cubicBezTo>
                <a:cubicBezTo>
                  <a:pt x="1712" y="5525"/>
                  <a:pt x="2146" y="5594"/>
                  <a:pt x="2648" y="5640"/>
                </a:cubicBezTo>
                <a:cubicBezTo>
                  <a:pt x="2876" y="5662"/>
                  <a:pt x="3082" y="5662"/>
                  <a:pt x="3310" y="5662"/>
                </a:cubicBezTo>
                <a:cubicBezTo>
                  <a:pt x="4794" y="5662"/>
                  <a:pt x="6277" y="5274"/>
                  <a:pt x="7555" y="4544"/>
                </a:cubicBezTo>
                <a:cubicBezTo>
                  <a:pt x="7898" y="4361"/>
                  <a:pt x="8149" y="4179"/>
                  <a:pt x="8377" y="3973"/>
                </a:cubicBezTo>
                <a:cubicBezTo>
                  <a:pt x="8514" y="3882"/>
                  <a:pt x="8628" y="3768"/>
                  <a:pt x="8674" y="3608"/>
                </a:cubicBezTo>
                <a:cubicBezTo>
                  <a:pt x="8720" y="3448"/>
                  <a:pt x="8720" y="3289"/>
                  <a:pt x="8720" y="3174"/>
                </a:cubicBezTo>
                <a:cubicBezTo>
                  <a:pt x="8651" y="2490"/>
                  <a:pt x="8583" y="1828"/>
                  <a:pt x="8468" y="1143"/>
                </a:cubicBezTo>
                <a:cubicBezTo>
                  <a:pt x="8468" y="1120"/>
                  <a:pt x="8423" y="1074"/>
                  <a:pt x="8400" y="1074"/>
                </a:cubicBezTo>
                <a:cubicBezTo>
                  <a:pt x="8286" y="846"/>
                  <a:pt x="8126" y="641"/>
                  <a:pt x="7943" y="504"/>
                </a:cubicBezTo>
                <a:cubicBezTo>
                  <a:pt x="7578" y="230"/>
                  <a:pt x="7099" y="139"/>
                  <a:pt x="6711" y="70"/>
                </a:cubicBezTo>
                <a:cubicBezTo>
                  <a:pt x="6358" y="23"/>
                  <a:pt x="6001" y="0"/>
                  <a:pt x="5642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59" name="Google Shape;159;p9"/>
          <p:cNvSpPr/>
          <p:nvPr/>
        </p:nvSpPr>
        <p:spPr>
          <a:xfrm>
            <a:off x="4209513" y="486274"/>
            <a:ext cx="219448" cy="72873"/>
          </a:xfrm>
          <a:custGeom>
            <a:avLst/>
            <a:gdLst/>
            <a:ahLst/>
            <a:cxnLst/>
            <a:rect l="l" t="t" r="r" b="b"/>
            <a:pathLst>
              <a:path w="8218" h="2729" extrusionOk="0">
                <a:moveTo>
                  <a:pt x="3698" y="948"/>
                </a:moveTo>
                <a:cubicBezTo>
                  <a:pt x="3835" y="1017"/>
                  <a:pt x="3972" y="1131"/>
                  <a:pt x="4064" y="1245"/>
                </a:cubicBezTo>
                <a:cubicBezTo>
                  <a:pt x="4315" y="1496"/>
                  <a:pt x="4406" y="1839"/>
                  <a:pt x="4315" y="2113"/>
                </a:cubicBezTo>
                <a:cubicBezTo>
                  <a:pt x="4269" y="2272"/>
                  <a:pt x="4132" y="2409"/>
                  <a:pt x="3995" y="2478"/>
                </a:cubicBezTo>
                <a:cubicBezTo>
                  <a:pt x="3927" y="2501"/>
                  <a:pt x="3858" y="2512"/>
                  <a:pt x="3793" y="2512"/>
                </a:cubicBezTo>
                <a:cubicBezTo>
                  <a:pt x="3727" y="2512"/>
                  <a:pt x="3664" y="2501"/>
                  <a:pt x="3607" y="2478"/>
                </a:cubicBezTo>
                <a:cubicBezTo>
                  <a:pt x="3288" y="2341"/>
                  <a:pt x="3219" y="1861"/>
                  <a:pt x="3379" y="1473"/>
                </a:cubicBezTo>
                <a:cubicBezTo>
                  <a:pt x="3447" y="1291"/>
                  <a:pt x="3562" y="1108"/>
                  <a:pt x="3698" y="948"/>
                </a:cubicBezTo>
                <a:close/>
                <a:moveTo>
                  <a:pt x="5462" y="0"/>
                </a:moveTo>
                <a:cubicBezTo>
                  <a:pt x="5246" y="0"/>
                  <a:pt x="5022" y="24"/>
                  <a:pt x="4794" y="81"/>
                </a:cubicBezTo>
                <a:cubicBezTo>
                  <a:pt x="4360" y="172"/>
                  <a:pt x="3950" y="401"/>
                  <a:pt x="3653" y="697"/>
                </a:cubicBezTo>
                <a:cubicBezTo>
                  <a:pt x="3420" y="620"/>
                  <a:pt x="3177" y="574"/>
                  <a:pt x="2923" y="574"/>
                </a:cubicBezTo>
                <a:cubicBezTo>
                  <a:pt x="2804" y="574"/>
                  <a:pt x="2682" y="584"/>
                  <a:pt x="2557" y="606"/>
                </a:cubicBezTo>
                <a:cubicBezTo>
                  <a:pt x="1918" y="697"/>
                  <a:pt x="1347" y="1063"/>
                  <a:pt x="982" y="1336"/>
                </a:cubicBezTo>
                <a:cubicBezTo>
                  <a:pt x="617" y="1588"/>
                  <a:pt x="183" y="1976"/>
                  <a:pt x="1" y="2501"/>
                </a:cubicBezTo>
                <a:cubicBezTo>
                  <a:pt x="1" y="2546"/>
                  <a:pt x="24" y="2615"/>
                  <a:pt x="69" y="2615"/>
                </a:cubicBezTo>
                <a:cubicBezTo>
                  <a:pt x="86" y="2620"/>
                  <a:pt x="102" y="2623"/>
                  <a:pt x="116" y="2623"/>
                </a:cubicBezTo>
                <a:cubicBezTo>
                  <a:pt x="159" y="2623"/>
                  <a:pt x="189" y="2598"/>
                  <a:pt x="206" y="2546"/>
                </a:cubicBezTo>
                <a:cubicBezTo>
                  <a:pt x="366" y="2090"/>
                  <a:pt x="777" y="1747"/>
                  <a:pt x="1119" y="1496"/>
                </a:cubicBezTo>
                <a:cubicBezTo>
                  <a:pt x="1667" y="1108"/>
                  <a:pt x="2146" y="880"/>
                  <a:pt x="2603" y="811"/>
                </a:cubicBezTo>
                <a:cubicBezTo>
                  <a:pt x="2702" y="796"/>
                  <a:pt x="2803" y="789"/>
                  <a:pt x="2905" y="789"/>
                </a:cubicBezTo>
                <a:cubicBezTo>
                  <a:pt x="3108" y="789"/>
                  <a:pt x="3310" y="819"/>
                  <a:pt x="3493" y="880"/>
                </a:cubicBezTo>
                <a:cubicBezTo>
                  <a:pt x="3356" y="1040"/>
                  <a:pt x="3242" y="1222"/>
                  <a:pt x="3173" y="1405"/>
                </a:cubicBezTo>
                <a:cubicBezTo>
                  <a:pt x="2991" y="1861"/>
                  <a:pt x="3082" y="2478"/>
                  <a:pt x="3516" y="2683"/>
                </a:cubicBezTo>
                <a:cubicBezTo>
                  <a:pt x="3607" y="2706"/>
                  <a:pt x="3698" y="2729"/>
                  <a:pt x="3767" y="2729"/>
                </a:cubicBezTo>
                <a:cubicBezTo>
                  <a:pt x="3881" y="2729"/>
                  <a:pt x="3972" y="2706"/>
                  <a:pt x="4064" y="2660"/>
                </a:cubicBezTo>
                <a:cubicBezTo>
                  <a:pt x="4292" y="2569"/>
                  <a:pt x="4452" y="2386"/>
                  <a:pt x="4520" y="2181"/>
                </a:cubicBezTo>
                <a:cubicBezTo>
                  <a:pt x="4634" y="1839"/>
                  <a:pt x="4520" y="1405"/>
                  <a:pt x="4223" y="1085"/>
                </a:cubicBezTo>
                <a:cubicBezTo>
                  <a:pt x="4109" y="971"/>
                  <a:pt x="3995" y="880"/>
                  <a:pt x="3858" y="789"/>
                </a:cubicBezTo>
                <a:cubicBezTo>
                  <a:pt x="4109" y="560"/>
                  <a:pt x="4475" y="355"/>
                  <a:pt x="4840" y="286"/>
                </a:cubicBezTo>
                <a:cubicBezTo>
                  <a:pt x="5051" y="237"/>
                  <a:pt x="5259" y="216"/>
                  <a:pt x="5460" y="216"/>
                </a:cubicBezTo>
                <a:cubicBezTo>
                  <a:pt x="5995" y="216"/>
                  <a:pt x="6477" y="365"/>
                  <a:pt x="6826" y="515"/>
                </a:cubicBezTo>
                <a:cubicBezTo>
                  <a:pt x="7191" y="675"/>
                  <a:pt x="7875" y="1040"/>
                  <a:pt x="8012" y="1702"/>
                </a:cubicBezTo>
                <a:cubicBezTo>
                  <a:pt x="8012" y="1770"/>
                  <a:pt x="8081" y="1793"/>
                  <a:pt x="8127" y="1793"/>
                </a:cubicBezTo>
                <a:cubicBezTo>
                  <a:pt x="8195" y="1770"/>
                  <a:pt x="8218" y="1724"/>
                  <a:pt x="8218" y="1656"/>
                </a:cubicBezTo>
                <a:cubicBezTo>
                  <a:pt x="8058" y="903"/>
                  <a:pt x="7328" y="492"/>
                  <a:pt x="6894" y="309"/>
                </a:cubicBezTo>
                <a:cubicBezTo>
                  <a:pt x="6531" y="161"/>
                  <a:pt x="6025" y="0"/>
                  <a:pt x="5462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60" name="Google Shape;160;p9"/>
          <p:cNvSpPr/>
          <p:nvPr/>
        </p:nvSpPr>
        <p:spPr>
          <a:xfrm rot="2700000" flipH="1">
            <a:off x="864474" y="864552"/>
            <a:ext cx="163996" cy="256048"/>
          </a:xfrm>
          <a:custGeom>
            <a:avLst/>
            <a:gdLst/>
            <a:ahLst/>
            <a:cxnLst/>
            <a:rect l="l" t="t" r="r" b="b"/>
            <a:pathLst>
              <a:path w="6141" h="9588" extrusionOk="0">
                <a:moveTo>
                  <a:pt x="5935" y="366"/>
                </a:moveTo>
                <a:lnTo>
                  <a:pt x="5935" y="366"/>
                </a:lnTo>
                <a:cubicBezTo>
                  <a:pt x="5821" y="3356"/>
                  <a:pt x="5547" y="6369"/>
                  <a:pt x="5090" y="9336"/>
                </a:cubicBezTo>
                <a:cubicBezTo>
                  <a:pt x="3424" y="8811"/>
                  <a:pt x="1826" y="8081"/>
                  <a:pt x="274" y="7373"/>
                </a:cubicBezTo>
                <a:cubicBezTo>
                  <a:pt x="1895" y="4840"/>
                  <a:pt x="3789" y="2489"/>
                  <a:pt x="5935" y="366"/>
                </a:cubicBezTo>
                <a:close/>
                <a:moveTo>
                  <a:pt x="6095" y="1"/>
                </a:moveTo>
                <a:cubicBezTo>
                  <a:pt x="6049" y="1"/>
                  <a:pt x="6003" y="1"/>
                  <a:pt x="5958" y="24"/>
                </a:cubicBezTo>
                <a:cubicBezTo>
                  <a:pt x="3721" y="2238"/>
                  <a:pt x="1712" y="4703"/>
                  <a:pt x="23" y="7350"/>
                </a:cubicBezTo>
                <a:cubicBezTo>
                  <a:pt x="0" y="7396"/>
                  <a:pt x="0" y="7419"/>
                  <a:pt x="23" y="7442"/>
                </a:cubicBezTo>
                <a:cubicBezTo>
                  <a:pt x="23" y="7465"/>
                  <a:pt x="46" y="7510"/>
                  <a:pt x="69" y="7510"/>
                </a:cubicBezTo>
                <a:cubicBezTo>
                  <a:pt x="1689" y="8264"/>
                  <a:pt x="3378" y="9040"/>
                  <a:pt x="5159" y="9565"/>
                </a:cubicBezTo>
                <a:cubicBezTo>
                  <a:pt x="5159" y="9587"/>
                  <a:pt x="5182" y="9587"/>
                  <a:pt x="5182" y="9587"/>
                </a:cubicBezTo>
                <a:cubicBezTo>
                  <a:pt x="5204" y="9587"/>
                  <a:pt x="5227" y="9565"/>
                  <a:pt x="5250" y="9565"/>
                </a:cubicBezTo>
                <a:cubicBezTo>
                  <a:pt x="5273" y="9542"/>
                  <a:pt x="5296" y="9519"/>
                  <a:pt x="5296" y="9496"/>
                </a:cubicBezTo>
                <a:cubicBezTo>
                  <a:pt x="5752" y="6392"/>
                  <a:pt x="6049" y="3242"/>
                  <a:pt x="6140" y="115"/>
                </a:cubicBezTo>
                <a:cubicBezTo>
                  <a:pt x="6140" y="69"/>
                  <a:pt x="6117" y="24"/>
                  <a:pt x="6095" y="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61" name="Google Shape;161;p9"/>
          <p:cNvSpPr/>
          <p:nvPr/>
        </p:nvSpPr>
        <p:spPr>
          <a:xfrm>
            <a:off x="7362613" y="6444408"/>
            <a:ext cx="219448" cy="72873"/>
          </a:xfrm>
          <a:custGeom>
            <a:avLst/>
            <a:gdLst/>
            <a:ahLst/>
            <a:cxnLst/>
            <a:rect l="l" t="t" r="r" b="b"/>
            <a:pathLst>
              <a:path w="8218" h="2729" extrusionOk="0">
                <a:moveTo>
                  <a:pt x="3698" y="948"/>
                </a:moveTo>
                <a:cubicBezTo>
                  <a:pt x="3835" y="1017"/>
                  <a:pt x="3972" y="1131"/>
                  <a:pt x="4064" y="1245"/>
                </a:cubicBezTo>
                <a:cubicBezTo>
                  <a:pt x="4315" y="1496"/>
                  <a:pt x="4406" y="1839"/>
                  <a:pt x="4315" y="2113"/>
                </a:cubicBezTo>
                <a:cubicBezTo>
                  <a:pt x="4269" y="2272"/>
                  <a:pt x="4132" y="2409"/>
                  <a:pt x="3995" y="2478"/>
                </a:cubicBezTo>
                <a:cubicBezTo>
                  <a:pt x="3927" y="2501"/>
                  <a:pt x="3858" y="2512"/>
                  <a:pt x="3793" y="2512"/>
                </a:cubicBezTo>
                <a:cubicBezTo>
                  <a:pt x="3727" y="2512"/>
                  <a:pt x="3664" y="2501"/>
                  <a:pt x="3607" y="2478"/>
                </a:cubicBezTo>
                <a:cubicBezTo>
                  <a:pt x="3288" y="2341"/>
                  <a:pt x="3219" y="1861"/>
                  <a:pt x="3379" y="1473"/>
                </a:cubicBezTo>
                <a:cubicBezTo>
                  <a:pt x="3447" y="1291"/>
                  <a:pt x="3562" y="1108"/>
                  <a:pt x="3698" y="948"/>
                </a:cubicBezTo>
                <a:close/>
                <a:moveTo>
                  <a:pt x="5462" y="0"/>
                </a:moveTo>
                <a:cubicBezTo>
                  <a:pt x="5246" y="0"/>
                  <a:pt x="5022" y="24"/>
                  <a:pt x="4794" y="81"/>
                </a:cubicBezTo>
                <a:cubicBezTo>
                  <a:pt x="4360" y="172"/>
                  <a:pt x="3950" y="401"/>
                  <a:pt x="3653" y="697"/>
                </a:cubicBezTo>
                <a:cubicBezTo>
                  <a:pt x="3420" y="620"/>
                  <a:pt x="3177" y="574"/>
                  <a:pt x="2923" y="574"/>
                </a:cubicBezTo>
                <a:cubicBezTo>
                  <a:pt x="2804" y="574"/>
                  <a:pt x="2682" y="584"/>
                  <a:pt x="2557" y="606"/>
                </a:cubicBezTo>
                <a:cubicBezTo>
                  <a:pt x="1918" y="697"/>
                  <a:pt x="1347" y="1063"/>
                  <a:pt x="982" y="1336"/>
                </a:cubicBezTo>
                <a:cubicBezTo>
                  <a:pt x="617" y="1588"/>
                  <a:pt x="183" y="1976"/>
                  <a:pt x="1" y="2501"/>
                </a:cubicBezTo>
                <a:cubicBezTo>
                  <a:pt x="1" y="2546"/>
                  <a:pt x="24" y="2615"/>
                  <a:pt x="69" y="2615"/>
                </a:cubicBezTo>
                <a:cubicBezTo>
                  <a:pt x="86" y="2620"/>
                  <a:pt x="102" y="2623"/>
                  <a:pt x="116" y="2623"/>
                </a:cubicBezTo>
                <a:cubicBezTo>
                  <a:pt x="159" y="2623"/>
                  <a:pt x="189" y="2598"/>
                  <a:pt x="206" y="2546"/>
                </a:cubicBezTo>
                <a:cubicBezTo>
                  <a:pt x="366" y="2090"/>
                  <a:pt x="777" y="1747"/>
                  <a:pt x="1119" y="1496"/>
                </a:cubicBezTo>
                <a:cubicBezTo>
                  <a:pt x="1667" y="1108"/>
                  <a:pt x="2146" y="880"/>
                  <a:pt x="2603" y="811"/>
                </a:cubicBezTo>
                <a:cubicBezTo>
                  <a:pt x="2702" y="796"/>
                  <a:pt x="2803" y="789"/>
                  <a:pt x="2905" y="789"/>
                </a:cubicBezTo>
                <a:cubicBezTo>
                  <a:pt x="3108" y="789"/>
                  <a:pt x="3310" y="819"/>
                  <a:pt x="3493" y="880"/>
                </a:cubicBezTo>
                <a:cubicBezTo>
                  <a:pt x="3356" y="1040"/>
                  <a:pt x="3242" y="1222"/>
                  <a:pt x="3173" y="1405"/>
                </a:cubicBezTo>
                <a:cubicBezTo>
                  <a:pt x="2991" y="1861"/>
                  <a:pt x="3082" y="2478"/>
                  <a:pt x="3516" y="2683"/>
                </a:cubicBezTo>
                <a:cubicBezTo>
                  <a:pt x="3607" y="2706"/>
                  <a:pt x="3698" y="2729"/>
                  <a:pt x="3767" y="2729"/>
                </a:cubicBezTo>
                <a:cubicBezTo>
                  <a:pt x="3881" y="2729"/>
                  <a:pt x="3972" y="2706"/>
                  <a:pt x="4064" y="2660"/>
                </a:cubicBezTo>
                <a:cubicBezTo>
                  <a:pt x="4292" y="2569"/>
                  <a:pt x="4452" y="2386"/>
                  <a:pt x="4520" y="2181"/>
                </a:cubicBezTo>
                <a:cubicBezTo>
                  <a:pt x="4634" y="1839"/>
                  <a:pt x="4520" y="1405"/>
                  <a:pt x="4223" y="1085"/>
                </a:cubicBezTo>
                <a:cubicBezTo>
                  <a:pt x="4109" y="971"/>
                  <a:pt x="3995" y="880"/>
                  <a:pt x="3858" y="789"/>
                </a:cubicBezTo>
                <a:cubicBezTo>
                  <a:pt x="4109" y="560"/>
                  <a:pt x="4475" y="355"/>
                  <a:pt x="4840" y="286"/>
                </a:cubicBezTo>
                <a:cubicBezTo>
                  <a:pt x="5051" y="237"/>
                  <a:pt x="5259" y="216"/>
                  <a:pt x="5460" y="216"/>
                </a:cubicBezTo>
                <a:cubicBezTo>
                  <a:pt x="5995" y="216"/>
                  <a:pt x="6477" y="365"/>
                  <a:pt x="6826" y="515"/>
                </a:cubicBezTo>
                <a:cubicBezTo>
                  <a:pt x="7191" y="675"/>
                  <a:pt x="7875" y="1040"/>
                  <a:pt x="8012" y="1702"/>
                </a:cubicBezTo>
                <a:cubicBezTo>
                  <a:pt x="8012" y="1770"/>
                  <a:pt x="8081" y="1793"/>
                  <a:pt x="8127" y="1793"/>
                </a:cubicBezTo>
                <a:cubicBezTo>
                  <a:pt x="8195" y="1770"/>
                  <a:pt x="8218" y="1724"/>
                  <a:pt x="8218" y="1656"/>
                </a:cubicBezTo>
                <a:cubicBezTo>
                  <a:pt x="8058" y="903"/>
                  <a:pt x="7328" y="492"/>
                  <a:pt x="6894" y="309"/>
                </a:cubicBezTo>
                <a:cubicBezTo>
                  <a:pt x="6531" y="161"/>
                  <a:pt x="6025" y="0"/>
                  <a:pt x="5462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62" name="Google Shape;162;p9"/>
          <p:cNvSpPr/>
          <p:nvPr/>
        </p:nvSpPr>
        <p:spPr>
          <a:xfrm flipH="1">
            <a:off x="4280249" y="6457603"/>
            <a:ext cx="124028" cy="151235"/>
          </a:xfrm>
          <a:custGeom>
            <a:avLst/>
            <a:gdLst/>
            <a:ahLst/>
            <a:cxnLst/>
            <a:rect l="l" t="t" r="r" b="b"/>
            <a:pathLst>
              <a:path w="6141" h="9588" extrusionOk="0">
                <a:moveTo>
                  <a:pt x="5935" y="366"/>
                </a:moveTo>
                <a:lnTo>
                  <a:pt x="5935" y="366"/>
                </a:lnTo>
                <a:cubicBezTo>
                  <a:pt x="5821" y="3356"/>
                  <a:pt x="5547" y="6369"/>
                  <a:pt x="5090" y="9336"/>
                </a:cubicBezTo>
                <a:cubicBezTo>
                  <a:pt x="3424" y="8811"/>
                  <a:pt x="1826" y="8081"/>
                  <a:pt x="274" y="7373"/>
                </a:cubicBezTo>
                <a:cubicBezTo>
                  <a:pt x="1895" y="4840"/>
                  <a:pt x="3789" y="2489"/>
                  <a:pt x="5935" y="366"/>
                </a:cubicBezTo>
                <a:close/>
                <a:moveTo>
                  <a:pt x="6095" y="1"/>
                </a:moveTo>
                <a:cubicBezTo>
                  <a:pt x="6049" y="1"/>
                  <a:pt x="6003" y="1"/>
                  <a:pt x="5958" y="24"/>
                </a:cubicBezTo>
                <a:cubicBezTo>
                  <a:pt x="3721" y="2238"/>
                  <a:pt x="1712" y="4703"/>
                  <a:pt x="23" y="7350"/>
                </a:cubicBezTo>
                <a:cubicBezTo>
                  <a:pt x="0" y="7396"/>
                  <a:pt x="0" y="7419"/>
                  <a:pt x="23" y="7442"/>
                </a:cubicBezTo>
                <a:cubicBezTo>
                  <a:pt x="23" y="7465"/>
                  <a:pt x="46" y="7510"/>
                  <a:pt x="69" y="7510"/>
                </a:cubicBezTo>
                <a:cubicBezTo>
                  <a:pt x="1689" y="8264"/>
                  <a:pt x="3378" y="9040"/>
                  <a:pt x="5159" y="9565"/>
                </a:cubicBezTo>
                <a:cubicBezTo>
                  <a:pt x="5159" y="9587"/>
                  <a:pt x="5182" y="9587"/>
                  <a:pt x="5182" y="9587"/>
                </a:cubicBezTo>
                <a:cubicBezTo>
                  <a:pt x="5204" y="9587"/>
                  <a:pt x="5227" y="9565"/>
                  <a:pt x="5250" y="9565"/>
                </a:cubicBezTo>
                <a:cubicBezTo>
                  <a:pt x="5273" y="9542"/>
                  <a:pt x="5296" y="9519"/>
                  <a:pt x="5296" y="9496"/>
                </a:cubicBezTo>
                <a:cubicBezTo>
                  <a:pt x="5752" y="6392"/>
                  <a:pt x="6049" y="3242"/>
                  <a:pt x="6140" y="115"/>
                </a:cubicBezTo>
                <a:cubicBezTo>
                  <a:pt x="6140" y="69"/>
                  <a:pt x="6117" y="24"/>
                  <a:pt x="6095" y="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grpSp>
        <p:nvGrpSpPr>
          <p:cNvPr id="163" name="Google Shape;163;p9"/>
          <p:cNvGrpSpPr/>
          <p:nvPr/>
        </p:nvGrpSpPr>
        <p:grpSpPr>
          <a:xfrm>
            <a:off x="-291061" y="4128521"/>
            <a:ext cx="1732869" cy="3535935"/>
            <a:chOff x="-218296" y="3096390"/>
            <a:chExt cx="1299652" cy="2651951"/>
          </a:xfrm>
        </p:grpSpPr>
        <p:sp>
          <p:nvSpPr>
            <p:cNvPr id="164" name="Google Shape;164;p9"/>
            <p:cNvSpPr/>
            <p:nvPr/>
          </p:nvSpPr>
          <p:spPr>
            <a:xfrm flipH="1">
              <a:off x="-218296" y="3096390"/>
              <a:ext cx="692948" cy="785102"/>
            </a:xfrm>
            <a:custGeom>
              <a:avLst/>
              <a:gdLst/>
              <a:ahLst/>
              <a:cxnLst/>
              <a:rect l="l" t="t" r="r" b="b"/>
              <a:pathLst>
                <a:path w="25679" h="29094" extrusionOk="0">
                  <a:moveTo>
                    <a:pt x="15362" y="0"/>
                  </a:moveTo>
                  <a:cubicBezTo>
                    <a:pt x="14997" y="0"/>
                    <a:pt x="14631" y="16"/>
                    <a:pt x="14266" y="43"/>
                  </a:cubicBezTo>
                  <a:cubicBezTo>
                    <a:pt x="13581" y="112"/>
                    <a:pt x="12897" y="203"/>
                    <a:pt x="12280" y="500"/>
                  </a:cubicBezTo>
                  <a:cubicBezTo>
                    <a:pt x="11504" y="888"/>
                    <a:pt x="10911" y="1550"/>
                    <a:pt x="10409" y="2234"/>
                  </a:cubicBezTo>
                  <a:cubicBezTo>
                    <a:pt x="8080" y="5498"/>
                    <a:pt x="7533" y="9653"/>
                    <a:pt x="6254" y="13464"/>
                  </a:cubicBezTo>
                  <a:cubicBezTo>
                    <a:pt x="6232" y="13533"/>
                    <a:pt x="6186" y="13624"/>
                    <a:pt x="6140" y="13693"/>
                  </a:cubicBezTo>
                  <a:cubicBezTo>
                    <a:pt x="6088" y="13737"/>
                    <a:pt x="6021" y="13758"/>
                    <a:pt x="5951" y="13758"/>
                  </a:cubicBezTo>
                  <a:cubicBezTo>
                    <a:pt x="5806" y="13758"/>
                    <a:pt x="5647" y="13671"/>
                    <a:pt x="5570" y="13533"/>
                  </a:cubicBezTo>
                  <a:cubicBezTo>
                    <a:pt x="5456" y="13350"/>
                    <a:pt x="5478" y="13099"/>
                    <a:pt x="5501" y="12871"/>
                  </a:cubicBezTo>
                  <a:cubicBezTo>
                    <a:pt x="5752" y="10383"/>
                    <a:pt x="6277" y="7941"/>
                    <a:pt x="7053" y="5544"/>
                  </a:cubicBezTo>
                  <a:cubicBezTo>
                    <a:pt x="7259" y="4928"/>
                    <a:pt x="7464" y="4289"/>
                    <a:pt x="7487" y="3627"/>
                  </a:cubicBezTo>
                  <a:cubicBezTo>
                    <a:pt x="7510" y="2965"/>
                    <a:pt x="7282" y="2257"/>
                    <a:pt x="6734" y="1869"/>
                  </a:cubicBezTo>
                  <a:cubicBezTo>
                    <a:pt x="6438" y="1663"/>
                    <a:pt x="6097" y="1577"/>
                    <a:pt x="5742" y="1577"/>
                  </a:cubicBezTo>
                  <a:cubicBezTo>
                    <a:pt x="5195" y="1577"/>
                    <a:pt x="4617" y="1784"/>
                    <a:pt x="4132" y="2075"/>
                  </a:cubicBezTo>
                  <a:cubicBezTo>
                    <a:pt x="3196" y="2622"/>
                    <a:pt x="2443" y="3467"/>
                    <a:pt x="1872" y="4403"/>
                  </a:cubicBezTo>
                  <a:cubicBezTo>
                    <a:pt x="0" y="7461"/>
                    <a:pt x="137" y="11296"/>
                    <a:pt x="662" y="14834"/>
                  </a:cubicBezTo>
                  <a:cubicBezTo>
                    <a:pt x="1233" y="18509"/>
                    <a:pt x="2169" y="22138"/>
                    <a:pt x="3470" y="25608"/>
                  </a:cubicBezTo>
                  <a:cubicBezTo>
                    <a:pt x="3903" y="26772"/>
                    <a:pt x="4588" y="28164"/>
                    <a:pt x="5958" y="28735"/>
                  </a:cubicBezTo>
                  <a:cubicBezTo>
                    <a:pt x="6548" y="28997"/>
                    <a:pt x="7176" y="29093"/>
                    <a:pt x="7811" y="29093"/>
                  </a:cubicBezTo>
                  <a:cubicBezTo>
                    <a:pt x="8281" y="29093"/>
                    <a:pt x="8756" y="29041"/>
                    <a:pt x="9222" y="28963"/>
                  </a:cubicBezTo>
                  <a:cubicBezTo>
                    <a:pt x="13673" y="28255"/>
                    <a:pt x="17485" y="25379"/>
                    <a:pt x="20657" y="22161"/>
                  </a:cubicBezTo>
                  <a:cubicBezTo>
                    <a:pt x="22050" y="20746"/>
                    <a:pt x="23351" y="19216"/>
                    <a:pt x="24264" y="17459"/>
                  </a:cubicBezTo>
                  <a:cubicBezTo>
                    <a:pt x="25177" y="15701"/>
                    <a:pt x="25679" y="13670"/>
                    <a:pt x="25382" y="11730"/>
                  </a:cubicBezTo>
                  <a:cubicBezTo>
                    <a:pt x="25291" y="11182"/>
                    <a:pt x="25108" y="10611"/>
                    <a:pt x="24652" y="10337"/>
                  </a:cubicBezTo>
                  <a:cubicBezTo>
                    <a:pt x="24472" y="10236"/>
                    <a:pt x="24273" y="10190"/>
                    <a:pt x="24071" y="10190"/>
                  </a:cubicBezTo>
                  <a:cubicBezTo>
                    <a:pt x="23686" y="10190"/>
                    <a:pt x="23293" y="10356"/>
                    <a:pt x="23008" y="10611"/>
                  </a:cubicBezTo>
                  <a:cubicBezTo>
                    <a:pt x="22552" y="10999"/>
                    <a:pt x="22278" y="11524"/>
                    <a:pt x="22004" y="12049"/>
                  </a:cubicBezTo>
                  <a:cubicBezTo>
                    <a:pt x="20885" y="14241"/>
                    <a:pt x="19516" y="16295"/>
                    <a:pt x="17918" y="18166"/>
                  </a:cubicBezTo>
                  <a:cubicBezTo>
                    <a:pt x="19288" y="15222"/>
                    <a:pt x="20657" y="12255"/>
                    <a:pt x="21639" y="9173"/>
                  </a:cubicBezTo>
                  <a:cubicBezTo>
                    <a:pt x="22232" y="7347"/>
                    <a:pt x="22643" y="5316"/>
                    <a:pt x="21913" y="3558"/>
                  </a:cubicBezTo>
                  <a:cubicBezTo>
                    <a:pt x="21342" y="2166"/>
                    <a:pt x="20087" y="1116"/>
                    <a:pt x="18694" y="568"/>
                  </a:cubicBezTo>
                  <a:cubicBezTo>
                    <a:pt x="17639" y="153"/>
                    <a:pt x="16505" y="0"/>
                    <a:pt x="1536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5" name="Google Shape;165;p9"/>
            <p:cNvSpPr/>
            <p:nvPr/>
          </p:nvSpPr>
          <p:spPr>
            <a:xfrm flipH="1">
              <a:off x="-105580" y="3623515"/>
              <a:ext cx="1186935" cy="2124826"/>
            </a:xfrm>
            <a:custGeom>
              <a:avLst/>
              <a:gdLst/>
              <a:ahLst/>
              <a:cxnLst/>
              <a:rect l="l" t="t" r="r" b="b"/>
              <a:pathLst>
                <a:path w="43985" h="78741" extrusionOk="0">
                  <a:moveTo>
                    <a:pt x="15204" y="1"/>
                  </a:moveTo>
                  <a:cubicBezTo>
                    <a:pt x="14564" y="1"/>
                    <a:pt x="13931" y="314"/>
                    <a:pt x="13467" y="755"/>
                  </a:cubicBezTo>
                  <a:cubicBezTo>
                    <a:pt x="12303" y="1805"/>
                    <a:pt x="11938" y="3517"/>
                    <a:pt x="12098" y="5092"/>
                  </a:cubicBezTo>
                  <a:cubicBezTo>
                    <a:pt x="12280" y="6644"/>
                    <a:pt x="12874" y="8105"/>
                    <a:pt x="13376" y="9611"/>
                  </a:cubicBezTo>
                  <a:cubicBezTo>
                    <a:pt x="15727" y="16824"/>
                    <a:pt x="15248" y="24653"/>
                    <a:pt x="13833" y="32140"/>
                  </a:cubicBezTo>
                  <a:cubicBezTo>
                    <a:pt x="12098" y="36226"/>
                    <a:pt x="10957" y="40585"/>
                    <a:pt x="10432" y="44991"/>
                  </a:cubicBezTo>
                  <a:cubicBezTo>
                    <a:pt x="9929" y="41224"/>
                    <a:pt x="8811" y="37435"/>
                    <a:pt x="8583" y="33601"/>
                  </a:cubicBezTo>
                  <a:cubicBezTo>
                    <a:pt x="8332" y="29538"/>
                    <a:pt x="9062" y="25407"/>
                    <a:pt x="8103" y="21458"/>
                  </a:cubicBezTo>
                  <a:cubicBezTo>
                    <a:pt x="7838" y="20331"/>
                    <a:pt x="7124" y="19034"/>
                    <a:pt x="6003" y="19034"/>
                  </a:cubicBezTo>
                  <a:cubicBezTo>
                    <a:pt x="5966" y="19034"/>
                    <a:pt x="5928" y="19035"/>
                    <a:pt x="5889" y="19038"/>
                  </a:cubicBezTo>
                  <a:cubicBezTo>
                    <a:pt x="5364" y="19084"/>
                    <a:pt x="4908" y="19426"/>
                    <a:pt x="4565" y="19814"/>
                  </a:cubicBezTo>
                  <a:cubicBezTo>
                    <a:pt x="3516" y="21001"/>
                    <a:pt x="3264" y="22645"/>
                    <a:pt x="3173" y="24197"/>
                  </a:cubicBezTo>
                  <a:cubicBezTo>
                    <a:pt x="2945" y="28465"/>
                    <a:pt x="3607" y="32756"/>
                    <a:pt x="5136" y="36751"/>
                  </a:cubicBezTo>
                  <a:cubicBezTo>
                    <a:pt x="6711" y="40836"/>
                    <a:pt x="9199" y="44671"/>
                    <a:pt x="10135" y="48871"/>
                  </a:cubicBezTo>
                  <a:cubicBezTo>
                    <a:pt x="9929" y="55947"/>
                    <a:pt x="11482" y="63182"/>
                    <a:pt x="14905" y="69254"/>
                  </a:cubicBezTo>
                  <a:cubicBezTo>
                    <a:pt x="11938" y="66560"/>
                    <a:pt x="9678" y="63228"/>
                    <a:pt x="8240" y="59553"/>
                  </a:cubicBezTo>
                  <a:cubicBezTo>
                    <a:pt x="6985" y="56358"/>
                    <a:pt x="6346" y="52934"/>
                    <a:pt x="4976" y="49784"/>
                  </a:cubicBezTo>
                  <a:cubicBezTo>
                    <a:pt x="4680" y="49168"/>
                    <a:pt x="4337" y="48506"/>
                    <a:pt x="3698" y="48232"/>
                  </a:cubicBezTo>
                  <a:cubicBezTo>
                    <a:pt x="3521" y="48163"/>
                    <a:pt x="3337" y="48132"/>
                    <a:pt x="3153" y="48132"/>
                  </a:cubicBezTo>
                  <a:cubicBezTo>
                    <a:pt x="2600" y="48132"/>
                    <a:pt x="2043" y="48414"/>
                    <a:pt x="1667" y="48825"/>
                  </a:cubicBezTo>
                  <a:cubicBezTo>
                    <a:pt x="1164" y="49396"/>
                    <a:pt x="936" y="50149"/>
                    <a:pt x="799" y="50880"/>
                  </a:cubicBezTo>
                  <a:cubicBezTo>
                    <a:pt x="0" y="55148"/>
                    <a:pt x="1781" y="59599"/>
                    <a:pt x="4702" y="62794"/>
                  </a:cubicBezTo>
                  <a:cubicBezTo>
                    <a:pt x="7510" y="65899"/>
                    <a:pt x="11253" y="67998"/>
                    <a:pt x="15111" y="69619"/>
                  </a:cubicBezTo>
                  <a:cubicBezTo>
                    <a:pt x="17051" y="72952"/>
                    <a:pt x="19539" y="75919"/>
                    <a:pt x="22620" y="78293"/>
                  </a:cubicBezTo>
                  <a:cubicBezTo>
                    <a:pt x="22926" y="78526"/>
                    <a:pt x="23344" y="78740"/>
                    <a:pt x="23701" y="78740"/>
                  </a:cubicBezTo>
                  <a:cubicBezTo>
                    <a:pt x="23903" y="78740"/>
                    <a:pt x="24086" y="78671"/>
                    <a:pt x="24218" y="78498"/>
                  </a:cubicBezTo>
                  <a:cubicBezTo>
                    <a:pt x="19288" y="74960"/>
                    <a:pt x="15818" y="69665"/>
                    <a:pt x="13673" y="63981"/>
                  </a:cubicBezTo>
                  <a:cubicBezTo>
                    <a:pt x="13330" y="63045"/>
                    <a:pt x="13011" y="62087"/>
                    <a:pt x="12737" y="61128"/>
                  </a:cubicBezTo>
                  <a:cubicBezTo>
                    <a:pt x="12303" y="55148"/>
                    <a:pt x="13764" y="49122"/>
                    <a:pt x="17416" y="44534"/>
                  </a:cubicBezTo>
                  <a:cubicBezTo>
                    <a:pt x="19813" y="41476"/>
                    <a:pt x="23077" y="39170"/>
                    <a:pt x="25451" y="36089"/>
                  </a:cubicBezTo>
                  <a:cubicBezTo>
                    <a:pt x="26090" y="35244"/>
                    <a:pt x="26683" y="34103"/>
                    <a:pt x="26135" y="33190"/>
                  </a:cubicBezTo>
                  <a:cubicBezTo>
                    <a:pt x="25784" y="32575"/>
                    <a:pt x="25085" y="32364"/>
                    <a:pt x="24346" y="32364"/>
                  </a:cubicBezTo>
                  <a:cubicBezTo>
                    <a:pt x="23933" y="32364"/>
                    <a:pt x="23507" y="32430"/>
                    <a:pt x="23122" y="32528"/>
                  </a:cubicBezTo>
                  <a:cubicBezTo>
                    <a:pt x="19105" y="33624"/>
                    <a:pt x="15978" y="36910"/>
                    <a:pt x="13969" y="40563"/>
                  </a:cubicBezTo>
                  <a:cubicBezTo>
                    <a:pt x="12372" y="43507"/>
                    <a:pt x="11390" y="46771"/>
                    <a:pt x="11048" y="50081"/>
                  </a:cubicBezTo>
                  <a:cubicBezTo>
                    <a:pt x="10934" y="43986"/>
                    <a:pt x="12098" y="37846"/>
                    <a:pt x="14494" y="32231"/>
                  </a:cubicBezTo>
                  <a:cubicBezTo>
                    <a:pt x="17895" y="28077"/>
                    <a:pt x="22529" y="24904"/>
                    <a:pt x="27665" y="23147"/>
                  </a:cubicBezTo>
                  <a:cubicBezTo>
                    <a:pt x="32595" y="21481"/>
                    <a:pt x="38096" y="21047"/>
                    <a:pt x="42319" y="18011"/>
                  </a:cubicBezTo>
                  <a:cubicBezTo>
                    <a:pt x="42844" y="17623"/>
                    <a:pt x="43368" y="17189"/>
                    <a:pt x="43665" y="16596"/>
                  </a:cubicBezTo>
                  <a:cubicBezTo>
                    <a:pt x="43962" y="16003"/>
                    <a:pt x="43985" y="15226"/>
                    <a:pt x="43551" y="14724"/>
                  </a:cubicBezTo>
                  <a:cubicBezTo>
                    <a:pt x="43277" y="14428"/>
                    <a:pt x="42889" y="14245"/>
                    <a:pt x="42524" y="14108"/>
                  </a:cubicBezTo>
                  <a:cubicBezTo>
                    <a:pt x="41374" y="13717"/>
                    <a:pt x="40169" y="13560"/>
                    <a:pt x="38953" y="13560"/>
                  </a:cubicBezTo>
                  <a:cubicBezTo>
                    <a:pt x="37827" y="13560"/>
                    <a:pt x="36693" y="13694"/>
                    <a:pt x="35585" y="13903"/>
                  </a:cubicBezTo>
                  <a:cubicBezTo>
                    <a:pt x="30153" y="14884"/>
                    <a:pt x="25085" y="17623"/>
                    <a:pt x="21114" y="21458"/>
                  </a:cubicBezTo>
                  <a:cubicBezTo>
                    <a:pt x="21548" y="20864"/>
                    <a:pt x="22004" y="20294"/>
                    <a:pt x="22461" y="19723"/>
                  </a:cubicBezTo>
                  <a:cubicBezTo>
                    <a:pt x="24241" y="17463"/>
                    <a:pt x="25998" y="15204"/>
                    <a:pt x="27779" y="12967"/>
                  </a:cubicBezTo>
                  <a:cubicBezTo>
                    <a:pt x="28190" y="12419"/>
                    <a:pt x="28646" y="11848"/>
                    <a:pt x="29194" y="11437"/>
                  </a:cubicBezTo>
                  <a:cubicBezTo>
                    <a:pt x="30175" y="10730"/>
                    <a:pt x="31431" y="10502"/>
                    <a:pt x="32572" y="10114"/>
                  </a:cubicBezTo>
                  <a:cubicBezTo>
                    <a:pt x="33736" y="9748"/>
                    <a:pt x="34946" y="9086"/>
                    <a:pt x="35357" y="7945"/>
                  </a:cubicBezTo>
                  <a:cubicBezTo>
                    <a:pt x="34923" y="7788"/>
                    <a:pt x="34458" y="7710"/>
                    <a:pt x="33993" y="7710"/>
                  </a:cubicBezTo>
                  <a:cubicBezTo>
                    <a:pt x="33309" y="7710"/>
                    <a:pt x="32622" y="7879"/>
                    <a:pt x="32024" y="8219"/>
                  </a:cubicBezTo>
                  <a:cubicBezTo>
                    <a:pt x="32892" y="7215"/>
                    <a:pt x="33531" y="6051"/>
                    <a:pt x="33896" y="4772"/>
                  </a:cubicBezTo>
                  <a:cubicBezTo>
                    <a:pt x="33987" y="4499"/>
                    <a:pt x="34033" y="4179"/>
                    <a:pt x="33873" y="3951"/>
                  </a:cubicBezTo>
                  <a:cubicBezTo>
                    <a:pt x="33753" y="3779"/>
                    <a:pt x="33580" y="3710"/>
                    <a:pt x="33389" y="3710"/>
                  </a:cubicBezTo>
                  <a:cubicBezTo>
                    <a:pt x="33073" y="3710"/>
                    <a:pt x="32705" y="3897"/>
                    <a:pt x="32435" y="4111"/>
                  </a:cubicBezTo>
                  <a:cubicBezTo>
                    <a:pt x="31522" y="4864"/>
                    <a:pt x="30746" y="5777"/>
                    <a:pt x="30153" y="6827"/>
                  </a:cubicBezTo>
                  <a:cubicBezTo>
                    <a:pt x="30563" y="5343"/>
                    <a:pt x="30700" y="3768"/>
                    <a:pt x="30495" y="2239"/>
                  </a:cubicBezTo>
                  <a:cubicBezTo>
                    <a:pt x="30449" y="1897"/>
                    <a:pt x="30335" y="1508"/>
                    <a:pt x="30016" y="1417"/>
                  </a:cubicBezTo>
                  <a:cubicBezTo>
                    <a:pt x="29975" y="1406"/>
                    <a:pt x="29935" y="1401"/>
                    <a:pt x="29896" y="1401"/>
                  </a:cubicBezTo>
                  <a:cubicBezTo>
                    <a:pt x="29605" y="1401"/>
                    <a:pt x="29352" y="1683"/>
                    <a:pt x="29171" y="1965"/>
                  </a:cubicBezTo>
                  <a:cubicBezTo>
                    <a:pt x="28190" y="3517"/>
                    <a:pt x="27596" y="5343"/>
                    <a:pt x="27505" y="7215"/>
                  </a:cubicBezTo>
                  <a:cubicBezTo>
                    <a:pt x="27414" y="6165"/>
                    <a:pt x="27003" y="5161"/>
                    <a:pt x="26364" y="4339"/>
                  </a:cubicBezTo>
                  <a:cubicBezTo>
                    <a:pt x="26139" y="4045"/>
                    <a:pt x="25783" y="3764"/>
                    <a:pt x="25455" y="3764"/>
                  </a:cubicBezTo>
                  <a:cubicBezTo>
                    <a:pt x="25350" y="3764"/>
                    <a:pt x="25248" y="3793"/>
                    <a:pt x="25154" y="3859"/>
                  </a:cubicBezTo>
                  <a:cubicBezTo>
                    <a:pt x="24834" y="4065"/>
                    <a:pt x="24834" y="4499"/>
                    <a:pt x="24880" y="4864"/>
                  </a:cubicBezTo>
                  <a:cubicBezTo>
                    <a:pt x="25108" y="7192"/>
                    <a:pt x="25930" y="9474"/>
                    <a:pt x="27528" y="11346"/>
                  </a:cubicBezTo>
                  <a:cubicBezTo>
                    <a:pt x="24720" y="15820"/>
                    <a:pt x="21068" y="19700"/>
                    <a:pt x="18124" y="24105"/>
                  </a:cubicBezTo>
                  <a:cubicBezTo>
                    <a:pt x="17256" y="25429"/>
                    <a:pt x="16435" y="26776"/>
                    <a:pt x="15704" y="28191"/>
                  </a:cubicBezTo>
                  <a:cubicBezTo>
                    <a:pt x="16982" y="24562"/>
                    <a:pt x="17918" y="20819"/>
                    <a:pt x="18512" y="17030"/>
                  </a:cubicBezTo>
                  <a:cubicBezTo>
                    <a:pt x="19196" y="12602"/>
                    <a:pt x="19402" y="8059"/>
                    <a:pt x="18420" y="3723"/>
                  </a:cubicBezTo>
                  <a:cubicBezTo>
                    <a:pt x="18010" y="2011"/>
                    <a:pt x="17028" y="25"/>
                    <a:pt x="15271" y="2"/>
                  </a:cubicBezTo>
                  <a:cubicBezTo>
                    <a:pt x="15248" y="1"/>
                    <a:pt x="15226" y="1"/>
                    <a:pt x="15204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  <p:extLst>
      <p:ext uri="{BB962C8B-B14F-4D97-AF65-F5344CB8AC3E}">
        <p14:creationId xmlns:p14="http://schemas.microsoft.com/office/powerpoint/2010/main" val="2777115689"/>
      </p:ext>
    </p:extLst>
  </p:cSld>
  <p:clrMapOvr>
    <a:masterClrMapping/>
  </p:clrMapOvr>
</p:sldLayout>
</file>

<file path=ppt/slideLayouts/slideLayout2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8422978"/>
      </p:ext>
    </p:extLst>
  </p:cSld>
  <p:clrMapOvr>
    <a:masterClrMapping/>
  </p:clrMapOvr>
</p:sldLayout>
</file>

<file path=ppt/slideLayouts/slideLayout28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845564"/>
      </p:ext>
    </p:extLst>
  </p:cSld>
  <p:clrMapOvr>
    <a:masterClrMapping/>
  </p:clrMapOvr>
</p:sldLayout>
</file>

<file path=ppt/slideLayouts/slideLayout2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06384808"/>
      </p:ext>
    </p:extLst>
  </p:cSld>
  <p:clrMapOvr>
    <a:masterClrMapping/>
  </p:clrMapOvr>
</p:sldLayout>
</file>

<file path=ppt/slideLayouts/slideLayout28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1727820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9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5" name="Google Shape;1955;p19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6" name="Google Shape;1956;p19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57" name="Google Shape;1957;p19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8" name="Google Shape;1958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59" name="Google Shape;1959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0" name="Google Shape;1960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1" name="Google Shape;1961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2" name="Google Shape;1962;p19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3" name="Google Shape;1963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64" name="Google Shape;1964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5" name="Google Shape;1965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66" name="Google Shape;1966;p19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8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05436391"/>
      </p:ext>
    </p:extLst>
  </p:cSld>
  <p:clrMapOvr>
    <a:masterClrMapping/>
  </p:clrMapOvr>
</p:sldLayout>
</file>

<file path=ppt/slideLayouts/slideLayout2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4935541"/>
      </p:ext>
    </p:extLst>
  </p:cSld>
  <p:clrMapOvr>
    <a:masterClrMapping/>
  </p:clrMapOvr>
</p:sldLayout>
</file>

<file path=ppt/slideLayouts/slideLayout28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23462862"/>
      </p:ext>
    </p:extLst>
  </p:cSld>
  <p:clrMapOvr>
    <a:masterClrMapping/>
  </p:clrMapOvr>
</p:sldLayout>
</file>

<file path=ppt/slideLayouts/slideLayout2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39254564"/>
      </p:ext>
    </p:extLst>
  </p:cSld>
  <p:clrMapOvr>
    <a:masterClrMapping/>
  </p:clrMapOvr>
</p:sldLayout>
</file>

<file path=ppt/slideLayouts/slideLayout2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76949440"/>
      </p:ext>
    </p:extLst>
  </p:cSld>
  <p:clrMapOvr>
    <a:masterClrMapping/>
  </p:clrMapOvr>
</p:sldLayout>
</file>

<file path=ppt/slideLayouts/slideLayout2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970051"/>
      </p:ext>
    </p:extLst>
  </p:cSld>
  <p:clrMapOvr>
    <a:masterClrMapping/>
  </p:clrMapOvr>
</p:sldLayout>
</file>

<file path=ppt/slideLayouts/slideLayout28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447648"/>
      </p:ext>
    </p:extLst>
  </p:cSld>
  <p:clrMapOvr>
    <a:masterClrMapping/>
  </p:clrMapOvr>
</p:sldLayout>
</file>

<file path=ppt/slideLayouts/slideLayout28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37519075"/>
      </p:ext>
    </p:extLst>
  </p:cSld>
  <p:clrMapOvr>
    <a:masterClrMapping/>
  </p:clrMapOvr>
</p:sldLayout>
</file>

<file path=ppt/slideLayouts/slideLayout28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3039755"/>
      </p:ext>
    </p:extLst>
  </p:cSld>
  <p:clrMapOvr>
    <a:masterClrMapping/>
  </p:clrMapOvr>
</p:sldLayout>
</file>

<file path=ppt/slideLayouts/slideLayout2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444104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9"/>
          <p:cNvSpPr/>
          <p:nvPr/>
        </p:nvSpPr>
        <p:spPr>
          <a:xfrm flipH="1">
            <a:off x="-17261" y="2735667"/>
            <a:ext cx="12226784" cy="4153423"/>
          </a:xfrm>
          <a:custGeom>
            <a:avLst/>
            <a:gdLst/>
            <a:ahLst/>
            <a:cxnLst/>
            <a:rect l="l" t="t" r="r" b="b"/>
            <a:pathLst>
              <a:path w="285317" h="115437" extrusionOk="0">
                <a:moveTo>
                  <a:pt x="1114" y="1"/>
                </a:moveTo>
                <a:cubicBezTo>
                  <a:pt x="743" y="1"/>
                  <a:pt x="371" y="4"/>
                  <a:pt x="0" y="10"/>
                </a:cubicBezTo>
                <a:lnTo>
                  <a:pt x="0" y="115437"/>
                </a:lnTo>
                <a:lnTo>
                  <a:pt x="285316" y="115437"/>
                </a:lnTo>
                <a:lnTo>
                  <a:pt x="285316" y="16649"/>
                </a:lnTo>
                <a:cubicBezTo>
                  <a:pt x="275981" y="17517"/>
                  <a:pt x="266737" y="22219"/>
                  <a:pt x="260505" y="29363"/>
                </a:cubicBezTo>
                <a:cubicBezTo>
                  <a:pt x="255233" y="35366"/>
                  <a:pt x="250873" y="43355"/>
                  <a:pt x="243067" y="45021"/>
                </a:cubicBezTo>
                <a:cubicBezTo>
                  <a:pt x="241949" y="45253"/>
                  <a:pt x="240817" y="45339"/>
                  <a:pt x="239680" y="45339"/>
                </a:cubicBezTo>
                <a:cubicBezTo>
                  <a:pt x="237914" y="45339"/>
                  <a:pt x="236134" y="45133"/>
                  <a:pt x="234370" y="44952"/>
                </a:cubicBezTo>
                <a:cubicBezTo>
                  <a:pt x="231734" y="44685"/>
                  <a:pt x="229019" y="44498"/>
                  <a:pt x="226316" y="44498"/>
                </a:cubicBezTo>
                <a:cubicBezTo>
                  <a:pt x="219329" y="44498"/>
                  <a:pt x="212416" y="45750"/>
                  <a:pt x="207117" y="50111"/>
                </a:cubicBezTo>
                <a:cubicBezTo>
                  <a:pt x="200087" y="55886"/>
                  <a:pt x="197850" y="65495"/>
                  <a:pt x="194997" y="74169"/>
                </a:cubicBezTo>
                <a:cubicBezTo>
                  <a:pt x="192166" y="82842"/>
                  <a:pt x="187168" y="92178"/>
                  <a:pt x="178288" y="94255"/>
                </a:cubicBezTo>
                <a:cubicBezTo>
                  <a:pt x="177041" y="94543"/>
                  <a:pt x="175796" y="94669"/>
                  <a:pt x="174551" y="94669"/>
                </a:cubicBezTo>
                <a:cubicBezTo>
                  <a:pt x="165708" y="94669"/>
                  <a:pt x="156917" y="88301"/>
                  <a:pt x="148045" y="88301"/>
                </a:cubicBezTo>
                <a:cubicBezTo>
                  <a:pt x="146875" y="88301"/>
                  <a:pt x="145703" y="88412"/>
                  <a:pt x="144530" y="88663"/>
                </a:cubicBezTo>
                <a:cubicBezTo>
                  <a:pt x="141060" y="89393"/>
                  <a:pt x="137956" y="91333"/>
                  <a:pt x="134646" y="92612"/>
                </a:cubicBezTo>
                <a:cubicBezTo>
                  <a:pt x="131720" y="93737"/>
                  <a:pt x="128631" y="94264"/>
                  <a:pt x="125532" y="94264"/>
                </a:cubicBezTo>
                <a:cubicBezTo>
                  <a:pt x="113985" y="94264"/>
                  <a:pt x="102305" y="86940"/>
                  <a:pt x="98400" y="75926"/>
                </a:cubicBezTo>
                <a:cubicBezTo>
                  <a:pt x="97190" y="72525"/>
                  <a:pt x="96642" y="68873"/>
                  <a:pt x="94930" y="65678"/>
                </a:cubicBezTo>
                <a:cubicBezTo>
                  <a:pt x="90993" y="58324"/>
                  <a:pt x="81998" y="55419"/>
                  <a:pt x="73534" y="55419"/>
                </a:cubicBezTo>
                <a:cubicBezTo>
                  <a:pt x="72724" y="55419"/>
                  <a:pt x="71919" y="55446"/>
                  <a:pt x="71124" y="55498"/>
                </a:cubicBezTo>
                <a:cubicBezTo>
                  <a:pt x="62016" y="56114"/>
                  <a:pt x="53160" y="59195"/>
                  <a:pt x="44030" y="59264"/>
                </a:cubicBezTo>
                <a:cubicBezTo>
                  <a:pt x="43906" y="59265"/>
                  <a:pt x="43782" y="59266"/>
                  <a:pt x="43658" y="59266"/>
                </a:cubicBezTo>
                <a:cubicBezTo>
                  <a:pt x="41834" y="59266"/>
                  <a:pt x="39970" y="59093"/>
                  <a:pt x="38347" y="58260"/>
                </a:cubicBezTo>
                <a:cubicBezTo>
                  <a:pt x="34261" y="56205"/>
                  <a:pt x="33120" y="50727"/>
                  <a:pt x="33964" y="46208"/>
                </a:cubicBezTo>
                <a:cubicBezTo>
                  <a:pt x="34809" y="41688"/>
                  <a:pt x="37091" y="37557"/>
                  <a:pt x="37958" y="33038"/>
                </a:cubicBezTo>
                <a:cubicBezTo>
                  <a:pt x="40241" y="21169"/>
                  <a:pt x="31864" y="9117"/>
                  <a:pt x="20908" y="3981"/>
                </a:cubicBezTo>
                <a:cubicBezTo>
                  <a:pt x="14632" y="1016"/>
                  <a:pt x="7904" y="1"/>
                  <a:pt x="1114" y="1"/>
                </a:cubicBezTo>
                <a:close/>
              </a:path>
            </a:pathLst>
          </a:custGeom>
          <a:solidFill>
            <a:schemeClr val="lt1">
              <a:alpha val="40240"/>
            </a:schemeClr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50" name="Google Shape;150;p9"/>
          <p:cNvSpPr txBox="1">
            <a:spLocks noGrp="1"/>
          </p:cNvSpPr>
          <p:nvPr>
            <p:ph type="title"/>
          </p:nvPr>
        </p:nvSpPr>
        <p:spPr>
          <a:xfrm>
            <a:off x="2540033" y="1086200"/>
            <a:ext cx="7112000" cy="1122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6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151" name="Google Shape;151;p9"/>
          <p:cNvSpPr txBox="1">
            <a:spLocks noGrp="1"/>
          </p:cNvSpPr>
          <p:nvPr>
            <p:ph type="subTitle" idx="1"/>
          </p:nvPr>
        </p:nvSpPr>
        <p:spPr>
          <a:xfrm>
            <a:off x="2893867" y="2208600"/>
            <a:ext cx="6404400" cy="178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21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" name="Google Shape;152;p9"/>
          <p:cNvSpPr/>
          <p:nvPr/>
        </p:nvSpPr>
        <p:spPr>
          <a:xfrm flipH="1">
            <a:off x="279689" y="2690400"/>
            <a:ext cx="273520" cy="273520"/>
          </a:xfrm>
          <a:custGeom>
            <a:avLst/>
            <a:gdLst/>
            <a:ahLst/>
            <a:cxnLst/>
            <a:rect l="l" t="t" r="r" b="b"/>
            <a:pathLst>
              <a:path w="7602" h="7602" extrusionOk="0">
                <a:moveTo>
                  <a:pt x="2648" y="1"/>
                </a:moveTo>
                <a:cubicBezTo>
                  <a:pt x="2420" y="1"/>
                  <a:pt x="2237" y="183"/>
                  <a:pt x="2237" y="434"/>
                </a:cubicBezTo>
                <a:lnTo>
                  <a:pt x="2237" y="1804"/>
                </a:lnTo>
                <a:cubicBezTo>
                  <a:pt x="2237" y="2032"/>
                  <a:pt x="2032" y="2215"/>
                  <a:pt x="1804" y="2215"/>
                </a:cubicBezTo>
                <a:lnTo>
                  <a:pt x="434" y="2215"/>
                </a:lnTo>
                <a:cubicBezTo>
                  <a:pt x="206" y="2215"/>
                  <a:pt x="0" y="2420"/>
                  <a:pt x="0" y="2648"/>
                </a:cubicBezTo>
                <a:lnTo>
                  <a:pt x="0" y="4954"/>
                </a:lnTo>
                <a:cubicBezTo>
                  <a:pt x="0" y="5182"/>
                  <a:pt x="206" y="5387"/>
                  <a:pt x="434" y="5387"/>
                </a:cubicBezTo>
                <a:lnTo>
                  <a:pt x="1804" y="5387"/>
                </a:lnTo>
                <a:cubicBezTo>
                  <a:pt x="2032" y="5387"/>
                  <a:pt x="2237" y="5570"/>
                  <a:pt x="2237" y="5798"/>
                </a:cubicBezTo>
                <a:lnTo>
                  <a:pt x="2237" y="7168"/>
                </a:lnTo>
                <a:cubicBezTo>
                  <a:pt x="2237" y="7419"/>
                  <a:pt x="2420" y="7601"/>
                  <a:pt x="2648" y="7601"/>
                </a:cubicBezTo>
                <a:lnTo>
                  <a:pt x="4976" y="7601"/>
                </a:lnTo>
                <a:cubicBezTo>
                  <a:pt x="5205" y="7601"/>
                  <a:pt x="5387" y="7419"/>
                  <a:pt x="5387" y="7168"/>
                </a:cubicBezTo>
                <a:lnTo>
                  <a:pt x="5387" y="5798"/>
                </a:lnTo>
                <a:cubicBezTo>
                  <a:pt x="5387" y="5570"/>
                  <a:pt x="5570" y="5387"/>
                  <a:pt x="5798" y="5387"/>
                </a:cubicBezTo>
                <a:lnTo>
                  <a:pt x="7190" y="5387"/>
                </a:lnTo>
                <a:cubicBezTo>
                  <a:pt x="7419" y="5387"/>
                  <a:pt x="7601" y="5182"/>
                  <a:pt x="7601" y="4954"/>
                </a:cubicBezTo>
                <a:lnTo>
                  <a:pt x="7601" y="2648"/>
                </a:lnTo>
                <a:cubicBezTo>
                  <a:pt x="7601" y="2420"/>
                  <a:pt x="7419" y="2215"/>
                  <a:pt x="7190" y="2215"/>
                </a:cubicBezTo>
                <a:lnTo>
                  <a:pt x="5798" y="2215"/>
                </a:lnTo>
                <a:cubicBezTo>
                  <a:pt x="5570" y="2215"/>
                  <a:pt x="5387" y="2032"/>
                  <a:pt x="5387" y="1804"/>
                </a:cubicBezTo>
                <a:lnTo>
                  <a:pt x="5387" y="434"/>
                </a:lnTo>
                <a:cubicBezTo>
                  <a:pt x="5387" y="183"/>
                  <a:pt x="5205" y="1"/>
                  <a:pt x="4976" y="1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53" name="Google Shape;153;p9"/>
          <p:cNvSpPr/>
          <p:nvPr/>
        </p:nvSpPr>
        <p:spPr>
          <a:xfrm flipH="1">
            <a:off x="11819097" y="3465518"/>
            <a:ext cx="598743" cy="2244684"/>
          </a:xfrm>
          <a:custGeom>
            <a:avLst/>
            <a:gdLst/>
            <a:ahLst/>
            <a:cxnLst/>
            <a:rect l="l" t="t" r="r" b="b"/>
            <a:pathLst>
              <a:path w="16641" h="62387" extrusionOk="0">
                <a:moveTo>
                  <a:pt x="5438" y="1"/>
                </a:moveTo>
                <a:cubicBezTo>
                  <a:pt x="5170" y="1"/>
                  <a:pt x="4901" y="24"/>
                  <a:pt x="4634" y="73"/>
                </a:cubicBezTo>
                <a:cubicBezTo>
                  <a:pt x="2831" y="415"/>
                  <a:pt x="1393" y="1853"/>
                  <a:pt x="708" y="3543"/>
                </a:cubicBezTo>
                <a:cubicBezTo>
                  <a:pt x="0" y="5232"/>
                  <a:pt x="0" y="7103"/>
                  <a:pt x="274" y="8906"/>
                </a:cubicBezTo>
                <a:cubicBezTo>
                  <a:pt x="959" y="13152"/>
                  <a:pt x="3173" y="16964"/>
                  <a:pt x="4839" y="20913"/>
                </a:cubicBezTo>
                <a:cubicBezTo>
                  <a:pt x="6483" y="24884"/>
                  <a:pt x="7579" y="29472"/>
                  <a:pt x="5912" y="33421"/>
                </a:cubicBezTo>
                <a:cubicBezTo>
                  <a:pt x="5136" y="35224"/>
                  <a:pt x="3858" y="36776"/>
                  <a:pt x="3196" y="38602"/>
                </a:cubicBezTo>
                <a:cubicBezTo>
                  <a:pt x="2078" y="41752"/>
                  <a:pt x="2945" y="45267"/>
                  <a:pt x="3972" y="48440"/>
                </a:cubicBezTo>
                <a:cubicBezTo>
                  <a:pt x="4520" y="50083"/>
                  <a:pt x="5091" y="51727"/>
                  <a:pt x="5227" y="53461"/>
                </a:cubicBezTo>
                <a:cubicBezTo>
                  <a:pt x="5433" y="56566"/>
                  <a:pt x="4109" y="59556"/>
                  <a:pt x="2831" y="62386"/>
                </a:cubicBezTo>
                <a:cubicBezTo>
                  <a:pt x="7738" y="57889"/>
                  <a:pt x="9975" y="51110"/>
                  <a:pt x="9359" y="44560"/>
                </a:cubicBezTo>
                <a:cubicBezTo>
                  <a:pt x="9199" y="42802"/>
                  <a:pt x="8834" y="40999"/>
                  <a:pt x="9222" y="39264"/>
                </a:cubicBezTo>
                <a:cubicBezTo>
                  <a:pt x="9633" y="37392"/>
                  <a:pt x="10843" y="35817"/>
                  <a:pt x="11824" y="34174"/>
                </a:cubicBezTo>
                <a:cubicBezTo>
                  <a:pt x="16640" y="26117"/>
                  <a:pt x="15887" y="15777"/>
                  <a:pt x="12577" y="7012"/>
                </a:cubicBezTo>
                <a:cubicBezTo>
                  <a:pt x="11915" y="5209"/>
                  <a:pt x="11116" y="3406"/>
                  <a:pt x="9793" y="2036"/>
                </a:cubicBezTo>
                <a:cubicBezTo>
                  <a:pt x="8658" y="842"/>
                  <a:pt x="7053" y="1"/>
                  <a:pt x="5438" y="1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grpSp>
        <p:nvGrpSpPr>
          <p:cNvPr id="154" name="Google Shape;154;p9"/>
          <p:cNvGrpSpPr/>
          <p:nvPr/>
        </p:nvGrpSpPr>
        <p:grpSpPr>
          <a:xfrm flipH="1">
            <a:off x="11305841" y="2311747"/>
            <a:ext cx="1166040" cy="1974763"/>
            <a:chOff x="-117729" y="1733810"/>
            <a:chExt cx="874530" cy="1481072"/>
          </a:xfrm>
        </p:grpSpPr>
        <p:sp>
          <p:nvSpPr>
            <p:cNvPr id="155" name="Google Shape;155;p9"/>
            <p:cNvSpPr/>
            <p:nvPr/>
          </p:nvSpPr>
          <p:spPr>
            <a:xfrm>
              <a:off x="21973" y="1733810"/>
              <a:ext cx="518652" cy="505591"/>
            </a:xfrm>
            <a:custGeom>
              <a:avLst/>
              <a:gdLst/>
              <a:ahLst/>
              <a:cxnLst/>
              <a:rect l="l" t="t" r="r" b="b"/>
              <a:pathLst>
                <a:path w="19220" h="18736" extrusionOk="0">
                  <a:moveTo>
                    <a:pt x="9145" y="0"/>
                  </a:moveTo>
                  <a:cubicBezTo>
                    <a:pt x="9095" y="0"/>
                    <a:pt x="9044" y="1"/>
                    <a:pt x="8994" y="2"/>
                  </a:cubicBezTo>
                  <a:cubicBezTo>
                    <a:pt x="7190" y="48"/>
                    <a:pt x="5410" y="824"/>
                    <a:pt x="4132" y="2079"/>
                  </a:cubicBezTo>
                  <a:cubicBezTo>
                    <a:pt x="3675" y="2536"/>
                    <a:pt x="3264" y="3084"/>
                    <a:pt x="3127" y="3723"/>
                  </a:cubicBezTo>
                  <a:cubicBezTo>
                    <a:pt x="2945" y="4476"/>
                    <a:pt x="3173" y="5275"/>
                    <a:pt x="3493" y="6005"/>
                  </a:cubicBezTo>
                  <a:cubicBezTo>
                    <a:pt x="4155" y="7466"/>
                    <a:pt x="5182" y="8744"/>
                    <a:pt x="5866" y="10182"/>
                  </a:cubicBezTo>
                  <a:cubicBezTo>
                    <a:pt x="4908" y="9406"/>
                    <a:pt x="3926" y="8630"/>
                    <a:pt x="2945" y="7854"/>
                  </a:cubicBezTo>
                  <a:cubicBezTo>
                    <a:pt x="2717" y="7671"/>
                    <a:pt x="2466" y="7489"/>
                    <a:pt x="2192" y="7420"/>
                  </a:cubicBezTo>
                  <a:cubicBezTo>
                    <a:pt x="2152" y="7416"/>
                    <a:pt x="2112" y="7413"/>
                    <a:pt x="2072" y="7413"/>
                  </a:cubicBezTo>
                  <a:cubicBezTo>
                    <a:pt x="1725" y="7413"/>
                    <a:pt x="1390" y="7586"/>
                    <a:pt x="1164" y="7831"/>
                  </a:cubicBezTo>
                  <a:cubicBezTo>
                    <a:pt x="913" y="8105"/>
                    <a:pt x="776" y="8470"/>
                    <a:pt x="662" y="8835"/>
                  </a:cubicBezTo>
                  <a:cubicBezTo>
                    <a:pt x="0" y="11323"/>
                    <a:pt x="1210" y="14062"/>
                    <a:pt x="3150" y="15752"/>
                  </a:cubicBezTo>
                  <a:cubicBezTo>
                    <a:pt x="5090" y="17441"/>
                    <a:pt x="7647" y="18239"/>
                    <a:pt x="10180" y="18673"/>
                  </a:cubicBezTo>
                  <a:cubicBezTo>
                    <a:pt x="10426" y="18715"/>
                    <a:pt x="10675" y="18735"/>
                    <a:pt x="10925" y="18735"/>
                  </a:cubicBezTo>
                  <a:cubicBezTo>
                    <a:pt x="12446" y="18735"/>
                    <a:pt x="14020" y="17997"/>
                    <a:pt x="15156" y="16938"/>
                  </a:cubicBezTo>
                  <a:cubicBezTo>
                    <a:pt x="16320" y="15866"/>
                    <a:pt x="16868" y="14291"/>
                    <a:pt x="17507" y="12853"/>
                  </a:cubicBezTo>
                  <a:cubicBezTo>
                    <a:pt x="18101" y="11483"/>
                    <a:pt x="18831" y="10159"/>
                    <a:pt x="19014" y="8676"/>
                  </a:cubicBezTo>
                  <a:cubicBezTo>
                    <a:pt x="19219" y="6987"/>
                    <a:pt x="18671" y="5275"/>
                    <a:pt x="18078" y="3677"/>
                  </a:cubicBezTo>
                  <a:cubicBezTo>
                    <a:pt x="17850" y="3015"/>
                    <a:pt x="17599" y="2376"/>
                    <a:pt x="17142" y="1874"/>
                  </a:cubicBezTo>
                  <a:cubicBezTo>
                    <a:pt x="16771" y="1485"/>
                    <a:pt x="16249" y="1205"/>
                    <a:pt x="15735" y="1205"/>
                  </a:cubicBezTo>
                  <a:cubicBezTo>
                    <a:pt x="15586" y="1205"/>
                    <a:pt x="15437" y="1229"/>
                    <a:pt x="15293" y="1280"/>
                  </a:cubicBezTo>
                  <a:cubicBezTo>
                    <a:pt x="14700" y="1509"/>
                    <a:pt x="14335" y="2102"/>
                    <a:pt x="14084" y="2695"/>
                  </a:cubicBezTo>
                  <a:cubicBezTo>
                    <a:pt x="13513" y="3997"/>
                    <a:pt x="13285" y="5412"/>
                    <a:pt x="13079" y="6804"/>
                  </a:cubicBezTo>
                  <a:cubicBezTo>
                    <a:pt x="13148" y="5571"/>
                    <a:pt x="13034" y="4339"/>
                    <a:pt x="12760" y="3129"/>
                  </a:cubicBezTo>
                  <a:cubicBezTo>
                    <a:pt x="12577" y="2262"/>
                    <a:pt x="12280" y="1372"/>
                    <a:pt x="11618" y="778"/>
                  </a:cubicBezTo>
                  <a:cubicBezTo>
                    <a:pt x="10949" y="195"/>
                    <a:pt x="10034" y="0"/>
                    <a:pt x="9145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56" name="Google Shape;156;p9"/>
            <p:cNvSpPr/>
            <p:nvPr/>
          </p:nvSpPr>
          <p:spPr>
            <a:xfrm>
              <a:off x="182722" y="1995375"/>
              <a:ext cx="268582" cy="236173"/>
            </a:xfrm>
            <a:custGeom>
              <a:avLst/>
              <a:gdLst/>
              <a:ahLst/>
              <a:cxnLst/>
              <a:rect l="l" t="t" r="r" b="b"/>
              <a:pathLst>
                <a:path w="9953" h="8752" extrusionOk="0">
                  <a:moveTo>
                    <a:pt x="6563" y="1"/>
                  </a:moveTo>
                  <a:cubicBezTo>
                    <a:pt x="6452" y="1"/>
                    <a:pt x="6342" y="4"/>
                    <a:pt x="6232" y="10"/>
                  </a:cubicBezTo>
                  <a:cubicBezTo>
                    <a:pt x="4406" y="78"/>
                    <a:pt x="2626" y="740"/>
                    <a:pt x="1211" y="1882"/>
                  </a:cubicBezTo>
                  <a:cubicBezTo>
                    <a:pt x="754" y="2270"/>
                    <a:pt x="298" y="2726"/>
                    <a:pt x="138" y="3297"/>
                  </a:cubicBezTo>
                  <a:cubicBezTo>
                    <a:pt x="1" y="3776"/>
                    <a:pt x="92" y="4278"/>
                    <a:pt x="229" y="4758"/>
                  </a:cubicBezTo>
                  <a:cubicBezTo>
                    <a:pt x="822" y="6835"/>
                    <a:pt x="2671" y="8569"/>
                    <a:pt x="4817" y="8752"/>
                  </a:cubicBezTo>
                  <a:cubicBezTo>
                    <a:pt x="5661" y="8250"/>
                    <a:pt x="6780" y="8318"/>
                    <a:pt x="7670" y="7930"/>
                  </a:cubicBezTo>
                  <a:cubicBezTo>
                    <a:pt x="8515" y="7588"/>
                    <a:pt x="9131" y="6880"/>
                    <a:pt x="9496" y="6059"/>
                  </a:cubicBezTo>
                  <a:cubicBezTo>
                    <a:pt x="9838" y="5237"/>
                    <a:pt x="9953" y="4324"/>
                    <a:pt x="9884" y="3434"/>
                  </a:cubicBezTo>
                  <a:cubicBezTo>
                    <a:pt x="9816" y="2361"/>
                    <a:pt x="9519" y="1242"/>
                    <a:pt x="8674" y="603"/>
                  </a:cubicBezTo>
                  <a:cubicBezTo>
                    <a:pt x="8078" y="146"/>
                    <a:pt x="7310" y="1"/>
                    <a:pt x="6563" y="1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57" name="Google Shape;157;p9"/>
            <p:cNvSpPr/>
            <p:nvPr/>
          </p:nvSpPr>
          <p:spPr>
            <a:xfrm>
              <a:off x="-117729" y="2086450"/>
              <a:ext cx="874530" cy="1128432"/>
            </a:xfrm>
            <a:custGeom>
              <a:avLst/>
              <a:gdLst/>
              <a:ahLst/>
              <a:cxnLst/>
              <a:rect l="l" t="t" r="r" b="b"/>
              <a:pathLst>
                <a:path w="32408" h="41817" extrusionOk="0">
                  <a:moveTo>
                    <a:pt x="30309" y="1"/>
                  </a:moveTo>
                  <a:cubicBezTo>
                    <a:pt x="29836" y="1"/>
                    <a:pt x="29342" y="124"/>
                    <a:pt x="28916" y="310"/>
                  </a:cubicBezTo>
                  <a:cubicBezTo>
                    <a:pt x="27090" y="1109"/>
                    <a:pt x="25720" y="2661"/>
                    <a:pt x="24556" y="4281"/>
                  </a:cubicBezTo>
                  <a:cubicBezTo>
                    <a:pt x="22662" y="6906"/>
                    <a:pt x="21132" y="9828"/>
                    <a:pt x="20037" y="12909"/>
                  </a:cubicBezTo>
                  <a:cubicBezTo>
                    <a:pt x="20196" y="11700"/>
                    <a:pt x="20219" y="10513"/>
                    <a:pt x="20082" y="9326"/>
                  </a:cubicBezTo>
                  <a:cubicBezTo>
                    <a:pt x="19991" y="8413"/>
                    <a:pt x="19786" y="7500"/>
                    <a:pt x="19786" y="6587"/>
                  </a:cubicBezTo>
                  <a:cubicBezTo>
                    <a:pt x="19808" y="5674"/>
                    <a:pt x="20082" y="4715"/>
                    <a:pt x="20744" y="4099"/>
                  </a:cubicBezTo>
                  <a:cubicBezTo>
                    <a:pt x="21109" y="3779"/>
                    <a:pt x="21543" y="3574"/>
                    <a:pt x="21931" y="3277"/>
                  </a:cubicBezTo>
                  <a:cubicBezTo>
                    <a:pt x="22296" y="2980"/>
                    <a:pt x="22616" y="2524"/>
                    <a:pt x="22547" y="2044"/>
                  </a:cubicBezTo>
                  <a:cubicBezTo>
                    <a:pt x="22468" y="1992"/>
                    <a:pt x="22387" y="1969"/>
                    <a:pt x="22306" y="1969"/>
                  </a:cubicBezTo>
                  <a:cubicBezTo>
                    <a:pt x="21776" y="1969"/>
                    <a:pt x="21200" y="2926"/>
                    <a:pt x="20693" y="2926"/>
                  </a:cubicBezTo>
                  <a:cubicBezTo>
                    <a:pt x="20601" y="2926"/>
                    <a:pt x="20511" y="2895"/>
                    <a:pt x="20425" y="2820"/>
                  </a:cubicBezTo>
                  <a:cubicBezTo>
                    <a:pt x="20356" y="2752"/>
                    <a:pt x="20288" y="2661"/>
                    <a:pt x="20219" y="2569"/>
                  </a:cubicBezTo>
                  <a:cubicBezTo>
                    <a:pt x="20134" y="2490"/>
                    <a:pt x="20035" y="2455"/>
                    <a:pt x="19933" y="2455"/>
                  </a:cubicBezTo>
                  <a:cubicBezTo>
                    <a:pt x="19624" y="2455"/>
                    <a:pt x="19278" y="2763"/>
                    <a:pt x="19124" y="3072"/>
                  </a:cubicBezTo>
                  <a:cubicBezTo>
                    <a:pt x="18918" y="3482"/>
                    <a:pt x="18758" y="4030"/>
                    <a:pt x="18325" y="4190"/>
                  </a:cubicBezTo>
                  <a:cubicBezTo>
                    <a:pt x="18233" y="4223"/>
                    <a:pt x="18137" y="4236"/>
                    <a:pt x="18038" y="4236"/>
                  </a:cubicBezTo>
                  <a:cubicBezTo>
                    <a:pt x="17577" y="4236"/>
                    <a:pt x="17054" y="3945"/>
                    <a:pt x="16652" y="3945"/>
                  </a:cubicBezTo>
                  <a:cubicBezTo>
                    <a:pt x="16473" y="3945"/>
                    <a:pt x="16318" y="4002"/>
                    <a:pt x="16202" y="4167"/>
                  </a:cubicBezTo>
                  <a:cubicBezTo>
                    <a:pt x="16065" y="4350"/>
                    <a:pt x="16065" y="4578"/>
                    <a:pt x="15997" y="4783"/>
                  </a:cubicBezTo>
                  <a:cubicBezTo>
                    <a:pt x="15791" y="5423"/>
                    <a:pt x="15015" y="5605"/>
                    <a:pt x="14353" y="5719"/>
                  </a:cubicBezTo>
                  <a:cubicBezTo>
                    <a:pt x="14473" y="6130"/>
                    <a:pt x="14901" y="6336"/>
                    <a:pt x="15339" y="6336"/>
                  </a:cubicBezTo>
                  <a:cubicBezTo>
                    <a:pt x="15484" y="6336"/>
                    <a:pt x="15631" y="6313"/>
                    <a:pt x="15768" y="6267"/>
                  </a:cubicBezTo>
                  <a:cubicBezTo>
                    <a:pt x="16293" y="6107"/>
                    <a:pt x="16727" y="5696"/>
                    <a:pt x="17229" y="5423"/>
                  </a:cubicBezTo>
                  <a:cubicBezTo>
                    <a:pt x="17506" y="5271"/>
                    <a:pt x="17832" y="5169"/>
                    <a:pt x="18138" y="5169"/>
                  </a:cubicBezTo>
                  <a:cubicBezTo>
                    <a:pt x="18386" y="5169"/>
                    <a:pt x="18620" y="5236"/>
                    <a:pt x="18804" y="5400"/>
                  </a:cubicBezTo>
                  <a:cubicBezTo>
                    <a:pt x="19101" y="5674"/>
                    <a:pt x="19192" y="6062"/>
                    <a:pt x="19238" y="6450"/>
                  </a:cubicBezTo>
                  <a:cubicBezTo>
                    <a:pt x="19991" y="11311"/>
                    <a:pt x="19146" y="16356"/>
                    <a:pt x="17298" y="20898"/>
                  </a:cubicBezTo>
                  <a:cubicBezTo>
                    <a:pt x="16750" y="22290"/>
                    <a:pt x="16088" y="23614"/>
                    <a:pt x="15380" y="24915"/>
                  </a:cubicBezTo>
                  <a:cubicBezTo>
                    <a:pt x="16430" y="21925"/>
                    <a:pt x="16955" y="18753"/>
                    <a:pt x="16932" y="15603"/>
                  </a:cubicBezTo>
                  <a:cubicBezTo>
                    <a:pt x="16932" y="13480"/>
                    <a:pt x="16613" y="11220"/>
                    <a:pt x="15152" y="9668"/>
                  </a:cubicBezTo>
                  <a:cubicBezTo>
                    <a:pt x="14855" y="9349"/>
                    <a:pt x="14490" y="9052"/>
                    <a:pt x="14056" y="8960"/>
                  </a:cubicBezTo>
                  <a:cubicBezTo>
                    <a:pt x="13940" y="8931"/>
                    <a:pt x="13823" y="8918"/>
                    <a:pt x="13707" y="8918"/>
                  </a:cubicBezTo>
                  <a:cubicBezTo>
                    <a:pt x="12825" y="8918"/>
                    <a:pt x="12001" y="9716"/>
                    <a:pt x="11820" y="10604"/>
                  </a:cubicBezTo>
                  <a:cubicBezTo>
                    <a:pt x="11614" y="11608"/>
                    <a:pt x="12025" y="12658"/>
                    <a:pt x="12596" y="13526"/>
                  </a:cubicBezTo>
                  <a:cubicBezTo>
                    <a:pt x="13166" y="14393"/>
                    <a:pt x="13897" y="15146"/>
                    <a:pt x="14422" y="16013"/>
                  </a:cubicBezTo>
                  <a:cubicBezTo>
                    <a:pt x="15449" y="17725"/>
                    <a:pt x="15677" y="19802"/>
                    <a:pt x="15449" y="21765"/>
                  </a:cubicBezTo>
                  <a:cubicBezTo>
                    <a:pt x="15221" y="23637"/>
                    <a:pt x="14627" y="25417"/>
                    <a:pt x="14034" y="27198"/>
                  </a:cubicBezTo>
                  <a:cubicBezTo>
                    <a:pt x="12664" y="29343"/>
                    <a:pt x="11089" y="31398"/>
                    <a:pt x="9446" y="33338"/>
                  </a:cubicBezTo>
                  <a:cubicBezTo>
                    <a:pt x="8829" y="34068"/>
                    <a:pt x="8190" y="34776"/>
                    <a:pt x="7551" y="35461"/>
                  </a:cubicBezTo>
                  <a:cubicBezTo>
                    <a:pt x="8213" y="34091"/>
                    <a:pt x="8601" y="32607"/>
                    <a:pt x="8966" y="31147"/>
                  </a:cubicBezTo>
                  <a:cubicBezTo>
                    <a:pt x="9811" y="27746"/>
                    <a:pt x="10678" y="24322"/>
                    <a:pt x="10838" y="20807"/>
                  </a:cubicBezTo>
                  <a:cubicBezTo>
                    <a:pt x="10907" y="19437"/>
                    <a:pt x="10838" y="17954"/>
                    <a:pt x="9994" y="16881"/>
                  </a:cubicBezTo>
                  <a:cubicBezTo>
                    <a:pt x="9879" y="16744"/>
                    <a:pt x="9742" y="16607"/>
                    <a:pt x="9583" y="16561"/>
                  </a:cubicBezTo>
                  <a:cubicBezTo>
                    <a:pt x="9538" y="16550"/>
                    <a:pt x="9494" y="16545"/>
                    <a:pt x="9450" y="16545"/>
                  </a:cubicBezTo>
                  <a:cubicBezTo>
                    <a:pt x="9228" y="16545"/>
                    <a:pt x="9024" y="16679"/>
                    <a:pt x="8852" y="16812"/>
                  </a:cubicBezTo>
                  <a:cubicBezTo>
                    <a:pt x="8031" y="17520"/>
                    <a:pt x="7483" y="18501"/>
                    <a:pt x="7118" y="19506"/>
                  </a:cubicBezTo>
                  <a:cubicBezTo>
                    <a:pt x="6113" y="22176"/>
                    <a:pt x="6159" y="25098"/>
                    <a:pt x="6433" y="27928"/>
                  </a:cubicBezTo>
                  <a:cubicBezTo>
                    <a:pt x="6684" y="30667"/>
                    <a:pt x="7095" y="33384"/>
                    <a:pt x="6912" y="36100"/>
                  </a:cubicBezTo>
                  <a:cubicBezTo>
                    <a:pt x="4972" y="38086"/>
                    <a:pt x="2804" y="39866"/>
                    <a:pt x="338" y="41144"/>
                  </a:cubicBezTo>
                  <a:cubicBezTo>
                    <a:pt x="315" y="41138"/>
                    <a:pt x="293" y="41135"/>
                    <a:pt x="273" y="41135"/>
                  </a:cubicBezTo>
                  <a:cubicBezTo>
                    <a:pt x="1" y="41135"/>
                    <a:pt x="41" y="41677"/>
                    <a:pt x="338" y="41783"/>
                  </a:cubicBezTo>
                  <a:cubicBezTo>
                    <a:pt x="402" y="41806"/>
                    <a:pt x="467" y="41816"/>
                    <a:pt x="532" y="41816"/>
                  </a:cubicBezTo>
                  <a:cubicBezTo>
                    <a:pt x="792" y="41816"/>
                    <a:pt x="1055" y="41655"/>
                    <a:pt x="1274" y="41509"/>
                  </a:cubicBezTo>
                  <a:cubicBezTo>
                    <a:pt x="3488" y="40026"/>
                    <a:pt x="5543" y="38337"/>
                    <a:pt x="7460" y="36465"/>
                  </a:cubicBezTo>
                  <a:cubicBezTo>
                    <a:pt x="7648" y="36470"/>
                    <a:pt x="7836" y="36472"/>
                    <a:pt x="8024" y="36472"/>
                  </a:cubicBezTo>
                  <a:cubicBezTo>
                    <a:pt x="12339" y="36472"/>
                    <a:pt x="16707" y="35223"/>
                    <a:pt x="20425" y="32927"/>
                  </a:cubicBezTo>
                  <a:cubicBezTo>
                    <a:pt x="21771" y="32082"/>
                    <a:pt x="23141" y="31010"/>
                    <a:pt x="23552" y="29480"/>
                  </a:cubicBezTo>
                  <a:cubicBezTo>
                    <a:pt x="23643" y="29184"/>
                    <a:pt x="23689" y="28841"/>
                    <a:pt x="23575" y="28545"/>
                  </a:cubicBezTo>
                  <a:cubicBezTo>
                    <a:pt x="23415" y="28111"/>
                    <a:pt x="22913" y="27837"/>
                    <a:pt x="22456" y="27814"/>
                  </a:cubicBezTo>
                  <a:cubicBezTo>
                    <a:pt x="22429" y="27813"/>
                    <a:pt x="22402" y="27812"/>
                    <a:pt x="22374" y="27812"/>
                  </a:cubicBezTo>
                  <a:cubicBezTo>
                    <a:pt x="21925" y="27812"/>
                    <a:pt x="21496" y="27986"/>
                    <a:pt x="21087" y="28179"/>
                  </a:cubicBezTo>
                  <a:cubicBezTo>
                    <a:pt x="19420" y="28955"/>
                    <a:pt x="18028" y="30211"/>
                    <a:pt x="16522" y="31261"/>
                  </a:cubicBezTo>
                  <a:cubicBezTo>
                    <a:pt x="14102" y="32950"/>
                    <a:pt x="11386" y="34160"/>
                    <a:pt x="8647" y="35278"/>
                  </a:cubicBezTo>
                  <a:cubicBezTo>
                    <a:pt x="10770" y="33041"/>
                    <a:pt x="12687" y="30599"/>
                    <a:pt x="14330" y="27997"/>
                  </a:cubicBezTo>
                  <a:cubicBezTo>
                    <a:pt x="14516" y="28096"/>
                    <a:pt x="14742" y="28134"/>
                    <a:pt x="14979" y="28134"/>
                  </a:cubicBezTo>
                  <a:cubicBezTo>
                    <a:pt x="15179" y="28134"/>
                    <a:pt x="15387" y="28107"/>
                    <a:pt x="15586" y="28065"/>
                  </a:cubicBezTo>
                  <a:cubicBezTo>
                    <a:pt x="18553" y="27563"/>
                    <a:pt x="21178" y="25874"/>
                    <a:pt x="23392" y="23843"/>
                  </a:cubicBezTo>
                  <a:cubicBezTo>
                    <a:pt x="25218" y="22176"/>
                    <a:pt x="26861" y="20168"/>
                    <a:pt x="27455" y="17771"/>
                  </a:cubicBezTo>
                  <a:cubicBezTo>
                    <a:pt x="27592" y="17109"/>
                    <a:pt x="27660" y="16333"/>
                    <a:pt x="27227" y="15808"/>
                  </a:cubicBezTo>
                  <a:cubicBezTo>
                    <a:pt x="26936" y="15457"/>
                    <a:pt x="26498" y="15299"/>
                    <a:pt x="26042" y="15299"/>
                  </a:cubicBezTo>
                  <a:cubicBezTo>
                    <a:pt x="25638" y="15299"/>
                    <a:pt x="25219" y="15423"/>
                    <a:pt x="24876" y="15648"/>
                  </a:cubicBezTo>
                  <a:cubicBezTo>
                    <a:pt x="24168" y="16128"/>
                    <a:pt x="23734" y="16927"/>
                    <a:pt x="23323" y="17680"/>
                  </a:cubicBezTo>
                  <a:cubicBezTo>
                    <a:pt x="22022" y="20099"/>
                    <a:pt x="20607" y="22519"/>
                    <a:pt x="18599" y="24390"/>
                  </a:cubicBezTo>
                  <a:cubicBezTo>
                    <a:pt x="17480" y="25417"/>
                    <a:pt x="16202" y="26285"/>
                    <a:pt x="14878" y="27084"/>
                  </a:cubicBezTo>
                  <a:cubicBezTo>
                    <a:pt x="16864" y="23706"/>
                    <a:pt x="18393" y="20099"/>
                    <a:pt x="19375" y="16310"/>
                  </a:cubicBezTo>
                  <a:cubicBezTo>
                    <a:pt x="19420" y="16105"/>
                    <a:pt x="19489" y="15922"/>
                    <a:pt x="19534" y="15717"/>
                  </a:cubicBezTo>
                  <a:cubicBezTo>
                    <a:pt x="21292" y="13731"/>
                    <a:pt x="23232" y="11791"/>
                    <a:pt x="25286" y="10033"/>
                  </a:cubicBezTo>
                  <a:cubicBezTo>
                    <a:pt x="27592" y="8070"/>
                    <a:pt x="30125" y="6199"/>
                    <a:pt x="31563" y="3551"/>
                  </a:cubicBezTo>
                  <a:cubicBezTo>
                    <a:pt x="32088" y="2592"/>
                    <a:pt x="32408" y="1291"/>
                    <a:pt x="31655" y="515"/>
                  </a:cubicBezTo>
                  <a:cubicBezTo>
                    <a:pt x="31310" y="146"/>
                    <a:pt x="30822" y="1"/>
                    <a:pt x="30309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sp>
        <p:nvSpPr>
          <p:cNvPr id="158" name="Google Shape;158;p9"/>
          <p:cNvSpPr/>
          <p:nvPr/>
        </p:nvSpPr>
        <p:spPr>
          <a:xfrm>
            <a:off x="9732899" y="713335"/>
            <a:ext cx="232853" cy="151221"/>
          </a:xfrm>
          <a:custGeom>
            <a:avLst/>
            <a:gdLst/>
            <a:ahLst/>
            <a:cxnLst/>
            <a:rect l="l" t="t" r="r" b="b"/>
            <a:pathLst>
              <a:path w="8720" h="5663" extrusionOk="0">
                <a:moveTo>
                  <a:pt x="5592" y="207"/>
                </a:moveTo>
                <a:cubicBezTo>
                  <a:pt x="5958" y="207"/>
                  <a:pt x="6323" y="230"/>
                  <a:pt x="6688" y="298"/>
                </a:cubicBezTo>
                <a:cubicBezTo>
                  <a:pt x="7053" y="344"/>
                  <a:pt x="7487" y="435"/>
                  <a:pt x="7829" y="686"/>
                </a:cubicBezTo>
                <a:cubicBezTo>
                  <a:pt x="8035" y="823"/>
                  <a:pt x="8217" y="1097"/>
                  <a:pt x="8263" y="1371"/>
                </a:cubicBezTo>
                <a:cubicBezTo>
                  <a:pt x="5707" y="1417"/>
                  <a:pt x="3150" y="1599"/>
                  <a:pt x="617" y="1965"/>
                </a:cubicBezTo>
                <a:cubicBezTo>
                  <a:pt x="845" y="1736"/>
                  <a:pt x="1096" y="1554"/>
                  <a:pt x="1256" y="1440"/>
                </a:cubicBezTo>
                <a:cubicBezTo>
                  <a:pt x="2534" y="641"/>
                  <a:pt x="4086" y="207"/>
                  <a:pt x="5592" y="207"/>
                </a:cubicBezTo>
                <a:close/>
                <a:moveTo>
                  <a:pt x="8263" y="1577"/>
                </a:moveTo>
                <a:cubicBezTo>
                  <a:pt x="8263" y="1622"/>
                  <a:pt x="8263" y="1645"/>
                  <a:pt x="8240" y="1668"/>
                </a:cubicBezTo>
                <a:cubicBezTo>
                  <a:pt x="8172" y="1942"/>
                  <a:pt x="7943" y="2170"/>
                  <a:pt x="7738" y="2353"/>
                </a:cubicBezTo>
                <a:cubicBezTo>
                  <a:pt x="7213" y="2764"/>
                  <a:pt x="6711" y="3129"/>
                  <a:pt x="6414" y="3243"/>
                </a:cubicBezTo>
                <a:cubicBezTo>
                  <a:pt x="5119" y="3770"/>
                  <a:pt x="3698" y="4043"/>
                  <a:pt x="2292" y="4043"/>
                </a:cubicBezTo>
                <a:cubicBezTo>
                  <a:pt x="2236" y="4043"/>
                  <a:pt x="2179" y="4043"/>
                  <a:pt x="2123" y="4042"/>
                </a:cubicBezTo>
                <a:cubicBezTo>
                  <a:pt x="1735" y="4019"/>
                  <a:pt x="1324" y="3996"/>
                  <a:pt x="959" y="3836"/>
                </a:cubicBezTo>
                <a:cubicBezTo>
                  <a:pt x="571" y="3654"/>
                  <a:pt x="297" y="3334"/>
                  <a:pt x="229" y="2992"/>
                </a:cubicBezTo>
                <a:cubicBezTo>
                  <a:pt x="183" y="2695"/>
                  <a:pt x="274" y="2444"/>
                  <a:pt x="434" y="2193"/>
                </a:cubicBezTo>
                <a:cubicBezTo>
                  <a:pt x="3013" y="1828"/>
                  <a:pt x="5661" y="1622"/>
                  <a:pt x="8263" y="1577"/>
                </a:cubicBezTo>
                <a:close/>
                <a:moveTo>
                  <a:pt x="8377" y="1942"/>
                </a:moveTo>
                <a:cubicBezTo>
                  <a:pt x="8423" y="2353"/>
                  <a:pt x="8468" y="2764"/>
                  <a:pt x="8491" y="3174"/>
                </a:cubicBezTo>
                <a:cubicBezTo>
                  <a:pt x="8514" y="3311"/>
                  <a:pt x="8514" y="3425"/>
                  <a:pt x="8468" y="3540"/>
                </a:cubicBezTo>
                <a:cubicBezTo>
                  <a:pt x="8446" y="3631"/>
                  <a:pt x="8354" y="3722"/>
                  <a:pt x="8240" y="3813"/>
                </a:cubicBezTo>
                <a:cubicBezTo>
                  <a:pt x="8035" y="3996"/>
                  <a:pt x="7784" y="4179"/>
                  <a:pt x="7441" y="4361"/>
                </a:cubicBezTo>
                <a:cubicBezTo>
                  <a:pt x="6193" y="5075"/>
                  <a:pt x="4756" y="5461"/>
                  <a:pt x="3323" y="5461"/>
                </a:cubicBezTo>
                <a:cubicBezTo>
                  <a:pt x="3105" y="5461"/>
                  <a:pt x="2888" y="5452"/>
                  <a:pt x="2671" y="5434"/>
                </a:cubicBezTo>
                <a:cubicBezTo>
                  <a:pt x="2169" y="5388"/>
                  <a:pt x="1758" y="5320"/>
                  <a:pt x="1393" y="5206"/>
                </a:cubicBezTo>
                <a:cubicBezTo>
                  <a:pt x="936" y="5046"/>
                  <a:pt x="639" y="4863"/>
                  <a:pt x="480" y="4612"/>
                </a:cubicBezTo>
                <a:cubicBezTo>
                  <a:pt x="274" y="4293"/>
                  <a:pt x="251" y="3928"/>
                  <a:pt x="251" y="3540"/>
                </a:cubicBezTo>
                <a:lnTo>
                  <a:pt x="251" y="3540"/>
                </a:lnTo>
                <a:cubicBezTo>
                  <a:pt x="388" y="3745"/>
                  <a:pt x="594" y="3905"/>
                  <a:pt x="868" y="4019"/>
                </a:cubicBezTo>
                <a:cubicBezTo>
                  <a:pt x="1256" y="4202"/>
                  <a:pt x="1735" y="4247"/>
                  <a:pt x="2123" y="4247"/>
                </a:cubicBezTo>
                <a:lnTo>
                  <a:pt x="2374" y="4247"/>
                </a:lnTo>
                <a:cubicBezTo>
                  <a:pt x="3789" y="4247"/>
                  <a:pt x="5204" y="3973"/>
                  <a:pt x="6505" y="3425"/>
                </a:cubicBezTo>
                <a:cubicBezTo>
                  <a:pt x="6871" y="3289"/>
                  <a:pt x="7441" y="2855"/>
                  <a:pt x="7852" y="2512"/>
                </a:cubicBezTo>
                <a:cubicBezTo>
                  <a:pt x="8058" y="2353"/>
                  <a:pt x="8240" y="2170"/>
                  <a:pt x="8377" y="1942"/>
                </a:cubicBezTo>
                <a:close/>
                <a:moveTo>
                  <a:pt x="5642" y="0"/>
                </a:moveTo>
                <a:cubicBezTo>
                  <a:pt x="4073" y="0"/>
                  <a:pt x="2479" y="440"/>
                  <a:pt x="1142" y="1257"/>
                </a:cubicBezTo>
                <a:cubicBezTo>
                  <a:pt x="708" y="1531"/>
                  <a:pt x="23" y="2079"/>
                  <a:pt x="0" y="2786"/>
                </a:cubicBezTo>
                <a:cubicBezTo>
                  <a:pt x="0" y="2809"/>
                  <a:pt x="0" y="2832"/>
                  <a:pt x="0" y="2832"/>
                </a:cubicBezTo>
                <a:cubicBezTo>
                  <a:pt x="23" y="3037"/>
                  <a:pt x="23" y="3243"/>
                  <a:pt x="23" y="3448"/>
                </a:cubicBezTo>
                <a:cubicBezTo>
                  <a:pt x="46" y="3882"/>
                  <a:pt x="46" y="4338"/>
                  <a:pt x="297" y="4726"/>
                </a:cubicBezTo>
                <a:cubicBezTo>
                  <a:pt x="502" y="5023"/>
                  <a:pt x="822" y="5229"/>
                  <a:pt x="1324" y="5388"/>
                </a:cubicBezTo>
                <a:cubicBezTo>
                  <a:pt x="1712" y="5525"/>
                  <a:pt x="2146" y="5594"/>
                  <a:pt x="2648" y="5640"/>
                </a:cubicBezTo>
                <a:cubicBezTo>
                  <a:pt x="2876" y="5662"/>
                  <a:pt x="3082" y="5662"/>
                  <a:pt x="3310" y="5662"/>
                </a:cubicBezTo>
                <a:cubicBezTo>
                  <a:pt x="4794" y="5662"/>
                  <a:pt x="6277" y="5274"/>
                  <a:pt x="7555" y="4544"/>
                </a:cubicBezTo>
                <a:cubicBezTo>
                  <a:pt x="7898" y="4361"/>
                  <a:pt x="8149" y="4179"/>
                  <a:pt x="8377" y="3973"/>
                </a:cubicBezTo>
                <a:cubicBezTo>
                  <a:pt x="8514" y="3882"/>
                  <a:pt x="8628" y="3768"/>
                  <a:pt x="8674" y="3608"/>
                </a:cubicBezTo>
                <a:cubicBezTo>
                  <a:pt x="8720" y="3448"/>
                  <a:pt x="8720" y="3289"/>
                  <a:pt x="8720" y="3174"/>
                </a:cubicBezTo>
                <a:cubicBezTo>
                  <a:pt x="8651" y="2490"/>
                  <a:pt x="8583" y="1828"/>
                  <a:pt x="8468" y="1143"/>
                </a:cubicBezTo>
                <a:cubicBezTo>
                  <a:pt x="8468" y="1120"/>
                  <a:pt x="8423" y="1074"/>
                  <a:pt x="8400" y="1074"/>
                </a:cubicBezTo>
                <a:cubicBezTo>
                  <a:pt x="8286" y="846"/>
                  <a:pt x="8126" y="641"/>
                  <a:pt x="7943" y="504"/>
                </a:cubicBezTo>
                <a:cubicBezTo>
                  <a:pt x="7578" y="230"/>
                  <a:pt x="7099" y="139"/>
                  <a:pt x="6711" y="70"/>
                </a:cubicBezTo>
                <a:cubicBezTo>
                  <a:pt x="6358" y="23"/>
                  <a:pt x="6001" y="0"/>
                  <a:pt x="5642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59" name="Google Shape;159;p9"/>
          <p:cNvSpPr/>
          <p:nvPr/>
        </p:nvSpPr>
        <p:spPr>
          <a:xfrm>
            <a:off x="4209513" y="486274"/>
            <a:ext cx="219448" cy="72873"/>
          </a:xfrm>
          <a:custGeom>
            <a:avLst/>
            <a:gdLst/>
            <a:ahLst/>
            <a:cxnLst/>
            <a:rect l="l" t="t" r="r" b="b"/>
            <a:pathLst>
              <a:path w="8218" h="2729" extrusionOk="0">
                <a:moveTo>
                  <a:pt x="3698" y="948"/>
                </a:moveTo>
                <a:cubicBezTo>
                  <a:pt x="3835" y="1017"/>
                  <a:pt x="3972" y="1131"/>
                  <a:pt x="4064" y="1245"/>
                </a:cubicBezTo>
                <a:cubicBezTo>
                  <a:pt x="4315" y="1496"/>
                  <a:pt x="4406" y="1839"/>
                  <a:pt x="4315" y="2113"/>
                </a:cubicBezTo>
                <a:cubicBezTo>
                  <a:pt x="4269" y="2272"/>
                  <a:pt x="4132" y="2409"/>
                  <a:pt x="3995" y="2478"/>
                </a:cubicBezTo>
                <a:cubicBezTo>
                  <a:pt x="3927" y="2501"/>
                  <a:pt x="3858" y="2512"/>
                  <a:pt x="3793" y="2512"/>
                </a:cubicBezTo>
                <a:cubicBezTo>
                  <a:pt x="3727" y="2512"/>
                  <a:pt x="3664" y="2501"/>
                  <a:pt x="3607" y="2478"/>
                </a:cubicBezTo>
                <a:cubicBezTo>
                  <a:pt x="3288" y="2341"/>
                  <a:pt x="3219" y="1861"/>
                  <a:pt x="3379" y="1473"/>
                </a:cubicBezTo>
                <a:cubicBezTo>
                  <a:pt x="3447" y="1291"/>
                  <a:pt x="3562" y="1108"/>
                  <a:pt x="3698" y="948"/>
                </a:cubicBezTo>
                <a:close/>
                <a:moveTo>
                  <a:pt x="5462" y="0"/>
                </a:moveTo>
                <a:cubicBezTo>
                  <a:pt x="5246" y="0"/>
                  <a:pt x="5022" y="24"/>
                  <a:pt x="4794" y="81"/>
                </a:cubicBezTo>
                <a:cubicBezTo>
                  <a:pt x="4360" y="172"/>
                  <a:pt x="3950" y="401"/>
                  <a:pt x="3653" y="697"/>
                </a:cubicBezTo>
                <a:cubicBezTo>
                  <a:pt x="3420" y="620"/>
                  <a:pt x="3177" y="574"/>
                  <a:pt x="2923" y="574"/>
                </a:cubicBezTo>
                <a:cubicBezTo>
                  <a:pt x="2804" y="574"/>
                  <a:pt x="2682" y="584"/>
                  <a:pt x="2557" y="606"/>
                </a:cubicBezTo>
                <a:cubicBezTo>
                  <a:pt x="1918" y="697"/>
                  <a:pt x="1347" y="1063"/>
                  <a:pt x="982" y="1336"/>
                </a:cubicBezTo>
                <a:cubicBezTo>
                  <a:pt x="617" y="1588"/>
                  <a:pt x="183" y="1976"/>
                  <a:pt x="1" y="2501"/>
                </a:cubicBezTo>
                <a:cubicBezTo>
                  <a:pt x="1" y="2546"/>
                  <a:pt x="24" y="2615"/>
                  <a:pt x="69" y="2615"/>
                </a:cubicBezTo>
                <a:cubicBezTo>
                  <a:pt x="86" y="2620"/>
                  <a:pt x="102" y="2623"/>
                  <a:pt x="116" y="2623"/>
                </a:cubicBezTo>
                <a:cubicBezTo>
                  <a:pt x="159" y="2623"/>
                  <a:pt x="189" y="2598"/>
                  <a:pt x="206" y="2546"/>
                </a:cubicBezTo>
                <a:cubicBezTo>
                  <a:pt x="366" y="2090"/>
                  <a:pt x="777" y="1747"/>
                  <a:pt x="1119" y="1496"/>
                </a:cubicBezTo>
                <a:cubicBezTo>
                  <a:pt x="1667" y="1108"/>
                  <a:pt x="2146" y="880"/>
                  <a:pt x="2603" y="811"/>
                </a:cubicBezTo>
                <a:cubicBezTo>
                  <a:pt x="2702" y="796"/>
                  <a:pt x="2803" y="789"/>
                  <a:pt x="2905" y="789"/>
                </a:cubicBezTo>
                <a:cubicBezTo>
                  <a:pt x="3108" y="789"/>
                  <a:pt x="3310" y="819"/>
                  <a:pt x="3493" y="880"/>
                </a:cubicBezTo>
                <a:cubicBezTo>
                  <a:pt x="3356" y="1040"/>
                  <a:pt x="3242" y="1222"/>
                  <a:pt x="3173" y="1405"/>
                </a:cubicBezTo>
                <a:cubicBezTo>
                  <a:pt x="2991" y="1861"/>
                  <a:pt x="3082" y="2478"/>
                  <a:pt x="3516" y="2683"/>
                </a:cubicBezTo>
                <a:cubicBezTo>
                  <a:pt x="3607" y="2706"/>
                  <a:pt x="3698" y="2729"/>
                  <a:pt x="3767" y="2729"/>
                </a:cubicBezTo>
                <a:cubicBezTo>
                  <a:pt x="3881" y="2729"/>
                  <a:pt x="3972" y="2706"/>
                  <a:pt x="4064" y="2660"/>
                </a:cubicBezTo>
                <a:cubicBezTo>
                  <a:pt x="4292" y="2569"/>
                  <a:pt x="4452" y="2386"/>
                  <a:pt x="4520" y="2181"/>
                </a:cubicBezTo>
                <a:cubicBezTo>
                  <a:pt x="4634" y="1839"/>
                  <a:pt x="4520" y="1405"/>
                  <a:pt x="4223" y="1085"/>
                </a:cubicBezTo>
                <a:cubicBezTo>
                  <a:pt x="4109" y="971"/>
                  <a:pt x="3995" y="880"/>
                  <a:pt x="3858" y="789"/>
                </a:cubicBezTo>
                <a:cubicBezTo>
                  <a:pt x="4109" y="560"/>
                  <a:pt x="4475" y="355"/>
                  <a:pt x="4840" y="286"/>
                </a:cubicBezTo>
                <a:cubicBezTo>
                  <a:pt x="5051" y="237"/>
                  <a:pt x="5259" y="216"/>
                  <a:pt x="5460" y="216"/>
                </a:cubicBezTo>
                <a:cubicBezTo>
                  <a:pt x="5995" y="216"/>
                  <a:pt x="6477" y="365"/>
                  <a:pt x="6826" y="515"/>
                </a:cubicBezTo>
                <a:cubicBezTo>
                  <a:pt x="7191" y="675"/>
                  <a:pt x="7875" y="1040"/>
                  <a:pt x="8012" y="1702"/>
                </a:cubicBezTo>
                <a:cubicBezTo>
                  <a:pt x="8012" y="1770"/>
                  <a:pt x="8081" y="1793"/>
                  <a:pt x="8127" y="1793"/>
                </a:cubicBezTo>
                <a:cubicBezTo>
                  <a:pt x="8195" y="1770"/>
                  <a:pt x="8218" y="1724"/>
                  <a:pt x="8218" y="1656"/>
                </a:cubicBezTo>
                <a:cubicBezTo>
                  <a:pt x="8058" y="903"/>
                  <a:pt x="7328" y="492"/>
                  <a:pt x="6894" y="309"/>
                </a:cubicBezTo>
                <a:cubicBezTo>
                  <a:pt x="6531" y="161"/>
                  <a:pt x="6025" y="0"/>
                  <a:pt x="5462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60" name="Google Shape;160;p9"/>
          <p:cNvSpPr/>
          <p:nvPr/>
        </p:nvSpPr>
        <p:spPr>
          <a:xfrm rot="2700000" flipH="1">
            <a:off x="864474" y="864552"/>
            <a:ext cx="163996" cy="256048"/>
          </a:xfrm>
          <a:custGeom>
            <a:avLst/>
            <a:gdLst/>
            <a:ahLst/>
            <a:cxnLst/>
            <a:rect l="l" t="t" r="r" b="b"/>
            <a:pathLst>
              <a:path w="6141" h="9588" extrusionOk="0">
                <a:moveTo>
                  <a:pt x="5935" y="366"/>
                </a:moveTo>
                <a:lnTo>
                  <a:pt x="5935" y="366"/>
                </a:lnTo>
                <a:cubicBezTo>
                  <a:pt x="5821" y="3356"/>
                  <a:pt x="5547" y="6369"/>
                  <a:pt x="5090" y="9336"/>
                </a:cubicBezTo>
                <a:cubicBezTo>
                  <a:pt x="3424" y="8811"/>
                  <a:pt x="1826" y="8081"/>
                  <a:pt x="274" y="7373"/>
                </a:cubicBezTo>
                <a:cubicBezTo>
                  <a:pt x="1895" y="4840"/>
                  <a:pt x="3789" y="2489"/>
                  <a:pt x="5935" y="366"/>
                </a:cubicBezTo>
                <a:close/>
                <a:moveTo>
                  <a:pt x="6095" y="1"/>
                </a:moveTo>
                <a:cubicBezTo>
                  <a:pt x="6049" y="1"/>
                  <a:pt x="6003" y="1"/>
                  <a:pt x="5958" y="24"/>
                </a:cubicBezTo>
                <a:cubicBezTo>
                  <a:pt x="3721" y="2238"/>
                  <a:pt x="1712" y="4703"/>
                  <a:pt x="23" y="7350"/>
                </a:cubicBezTo>
                <a:cubicBezTo>
                  <a:pt x="0" y="7396"/>
                  <a:pt x="0" y="7419"/>
                  <a:pt x="23" y="7442"/>
                </a:cubicBezTo>
                <a:cubicBezTo>
                  <a:pt x="23" y="7465"/>
                  <a:pt x="46" y="7510"/>
                  <a:pt x="69" y="7510"/>
                </a:cubicBezTo>
                <a:cubicBezTo>
                  <a:pt x="1689" y="8264"/>
                  <a:pt x="3378" y="9040"/>
                  <a:pt x="5159" y="9565"/>
                </a:cubicBezTo>
                <a:cubicBezTo>
                  <a:pt x="5159" y="9587"/>
                  <a:pt x="5182" y="9587"/>
                  <a:pt x="5182" y="9587"/>
                </a:cubicBezTo>
                <a:cubicBezTo>
                  <a:pt x="5204" y="9587"/>
                  <a:pt x="5227" y="9565"/>
                  <a:pt x="5250" y="9565"/>
                </a:cubicBezTo>
                <a:cubicBezTo>
                  <a:pt x="5273" y="9542"/>
                  <a:pt x="5296" y="9519"/>
                  <a:pt x="5296" y="9496"/>
                </a:cubicBezTo>
                <a:cubicBezTo>
                  <a:pt x="5752" y="6392"/>
                  <a:pt x="6049" y="3242"/>
                  <a:pt x="6140" y="115"/>
                </a:cubicBezTo>
                <a:cubicBezTo>
                  <a:pt x="6140" y="69"/>
                  <a:pt x="6117" y="24"/>
                  <a:pt x="6095" y="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61" name="Google Shape;161;p9"/>
          <p:cNvSpPr/>
          <p:nvPr/>
        </p:nvSpPr>
        <p:spPr>
          <a:xfrm>
            <a:off x="7362613" y="6444408"/>
            <a:ext cx="219448" cy="72873"/>
          </a:xfrm>
          <a:custGeom>
            <a:avLst/>
            <a:gdLst/>
            <a:ahLst/>
            <a:cxnLst/>
            <a:rect l="l" t="t" r="r" b="b"/>
            <a:pathLst>
              <a:path w="8218" h="2729" extrusionOk="0">
                <a:moveTo>
                  <a:pt x="3698" y="948"/>
                </a:moveTo>
                <a:cubicBezTo>
                  <a:pt x="3835" y="1017"/>
                  <a:pt x="3972" y="1131"/>
                  <a:pt x="4064" y="1245"/>
                </a:cubicBezTo>
                <a:cubicBezTo>
                  <a:pt x="4315" y="1496"/>
                  <a:pt x="4406" y="1839"/>
                  <a:pt x="4315" y="2113"/>
                </a:cubicBezTo>
                <a:cubicBezTo>
                  <a:pt x="4269" y="2272"/>
                  <a:pt x="4132" y="2409"/>
                  <a:pt x="3995" y="2478"/>
                </a:cubicBezTo>
                <a:cubicBezTo>
                  <a:pt x="3927" y="2501"/>
                  <a:pt x="3858" y="2512"/>
                  <a:pt x="3793" y="2512"/>
                </a:cubicBezTo>
                <a:cubicBezTo>
                  <a:pt x="3727" y="2512"/>
                  <a:pt x="3664" y="2501"/>
                  <a:pt x="3607" y="2478"/>
                </a:cubicBezTo>
                <a:cubicBezTo>
                  <a:pt x="3288" y="2341"/>
                  <a:pt x="3219" y="1861"/>
                  <a:pt x="3379" y="1473"/>
                </a:cubicBezTo>
                <a:cubicBezTo>
                  <a:pt x="3447" y="1291"/>
                  <a:pt x="3562" y="1108"/>
                  <a:pt x="3698" y="948"/>
                </a:cubicBezTo>
                <a:close/>
                <a:moveTo>
                  <a:pt x="5462" y="0"/>
                </a:moveTo>
                <a:cubicBezTo>
                  <a:pt x="5246" y="0"/>
                  <a:pt x="5022" y="24"/>
                  <a:pt x="4794" y="81"/>
                </a:cubicBezTo>
                <a:cubicBezTo>
                  <a:pt x="4360" y="172"/>
                  <a:pt x="3950" y="401"/>
                  <a:pt x="3653" y="697"/>
                </a:cubicBezTo>
                <a:cubicBezTo>
                  <a:pt x="3420" y="620"/>
                  <a:pt x="3177" y="574"/>
                  <a:pt x="2923" y="574"/>
                </a:cubicBezTo>
                <a:cubicBezTo>
                  <a:pt x="2804" y="574"/>
                  <a:pt x="2682" y="584"/>
                  <a:pt x="2557" y="606"/>
                </a:cubicBezTo>
                <a:cubicBezTo>
                  <a:pt x="1918" y="697"/>
                  <a:pt x="1347" y="1063"/>
                  <a:pt x="982" y="1336"/>
                </a:cubicBezTo>
                <a:cubicBezTo>
                  <a:pt x="617" y="1588"/>
                  <a:pt x="183" y="1976"/>
                  <a:pt x="1" y="2501"/>
                </a:cubicBezTo>
                <a:cubicBezTo>
                  <a:pt x="1" y="2546"/>
                  <a:pt x="24" y="2615"/>
                  <a:pt x="69" y="2615"/>
                </a:cubicBezTo>
                <a:cubicBezTo>
                  <a:pt x="86" y="2620"/>
                  <a:pt x="102" y="2623"/>
                  <a:pt x="116" y="2623"/>
                </a:cubicBezTo>
                <a:cubicBezTo>
                  <a:pt x="159" y="2623"/>
                  <a:pt x="189" y="2598"/>
                  <a:pt x="206" y="2546"/>
                </a:cubicBezTo>
                <a:cubicBezTo>
                  <a:pt x="366" y="2090"/>
                  <a:pt x="777" y="1747"/>
                  <a:pt x="1119" y="1496"/>
                </a:cubicBezTo>
                <a:cubicBezTo>
                  <a:pt x="1667" y="1108"/>
                  <a:pt x="2146" y="880"/>
                  <a:pt x="2603" y="811"/>
                </a:cubicBezTo>
                <a:cubicBezTo>
                  <a:pt x="2702" y="796"/>
                  <a:pt x="2803" y="789"/>
                  <a:pt x="2905" y="789"/>
                </a:cubicBezTo>
                <a:cubicBezTo>
                  <a:pt x="3108" y="789"/>
                  <a:pt x="3310" y="819"/>
                  <a:pt x="3493" y="880"/>
                </a:cubicBezTo>
                <a:cubicBezTo>
                  <a:pt x="3356" y="1040"/>
                  <a:pt x="3242" y="1222"/>
                  <a:pt x="3173" y="1405"/>
                </a:cubicBezTo>
                <a:cubicBezTo>
                  <a:pt x="2991" y="1861"/>
                  <a:pt x="3082" y="2478"/>
                  <a:pt x="3516" y="2683"/>
                </a:cubicBezTo>
                <a:cubicBezTo>
                  <a:pt x="3607" y="2706"/>
                  <a:pt x="3698" y="2729"/>
                  <a:pt x="3767" y="2729"/>
                </a:cubicBezTo>
                <a:cubicBezTo>
                  <a:pt x="3881" y="2729"/>
                  <a:pt x="3972" y="2706"/>
                  <a:pt x="4064" y="2660"/>
                </a:cubicBezTo>
                <a:cubicBezTo>
                  <a:pt x="4292" y="2569"/>
                  <a:pt x="4452" y="2386"/>
                  <a:pt x="4520" y="2181"/>
                </a:cubicBezTo>
                <a:cubicBezTo>
                  <a:pt x="4634" y="1839"/>
                  <a:pt x="4520" y="1405"/>
                  <a:pt x="4223" y="1085"/>
                </a:cubicBezTo>
                <a:cubicBezTo>
                  <a:pt x="4109" y="971"/>
                  <a:pt x="3995" y="880"/>
                  <a:pt x="3858" y="789"/>
                </a:cubicBezTo>
                <a:cubicBezTo>
                  <a:pt x="4109" y="560"/>
                  <a:pt x="4475" y="355"/>
                  <a:pt x="4840" y="286"/>
                </a:cubicBezTo>
                <a:cubicBezTo>
                  <a:pt x="5051" y="237"/>
                  <a:pt x="5259" y="216"/>
                  <a:pt x="5460" y="216"/>
                </a:cubicBezTo>
                <a:cubicBezTo>
                  <a:pt x="5995" y="216"/>
                  <a:pt x="6477" y="365"/>
                  <a:pt x="6826" y="515"/>
                </a:cubicBezTo>
                <a:cubicBezTo>
                  <a:pt x="7191" y="675"/>
                  <a:pt x="7875" y="1040"/>
                  <a:pt x="8012" y="1702"/>
                </a:cubicBezTo>
                <a:cubicBezTo>
                  <a:pt x="8012" y="1770"/>
                  <a:pt x="8081" y="1793"/>
                  <a:pt x="8127" y="1793"/>
                </a:cubicBezTo>
                <a:cubicBezTo>
                  <a:pt x="8195" y="1770"/>
                  <a:pt x="8218" y="1724"/>
                  <a:pt x="8218" y="1656"/>
                </a:cubicBezTo>
                <a:cubicBezTo>
                  <a:pt x="8058" y="903"/>
                  <a:pt x="7328" y="492"/>
                  <a:pt x="6894" y="309"/>
                </a:cubicBezTo>
                <a:cubicBezTo>
                  <a:pt x="6531" y="161"/>
                  <a:pt x="6025" y="0"/>
                  <a:pt x="5462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sp>
        <p:nvSpPr>
          <p:cNvPr id="162" name="Google Shape;162;p9"/>
          <p:cNvSpPr/>
          <p:nvPr/>
        </p:nvSpPr>
        <p:spPr>
          <a:xfrm flipH="1">
            <a:off x="4280249" y="6457603"/>
            <a:ext cx="124028" cy="151235"/>
          </a:xfrm>
          <a:custGeom>
            <a:avLst/>
            <a:gdLst/>
            <a:ahLst/>
            <a:cxnLst/>
            <a:rect l="l" t="t" r="r" b="b"/>
            <a:pathLst>
              <a:path w="6141" h="9588" extrusionOk="0">
                <a:moveTo>
                  <a:pt x="5935" y="366"/>
                </a:moveTo>
                <a:lnTo>
                  <a:pt x="5935" y="366"/>
                </a:lnTo>
                <a:cubicBezTo>
                  <a:pt x="5821" y="3356"/>
                  <a:pt x="5547" y="6369"/>
                  <a:pt x="5090" y="9336"/>
                </a:cubicBezTo>
                <a:cubicBezTo>
                  <a:pt x="3424" y="8811"/>
                  <a:pt x="1826" y="8081"/>
                  <a:pt x="274" y="7373"/>
                </a:cubicBezTo>
                <a:cubicBezTo>
                  <a:pt x="1895" y="4840"/>
                  <a:pt x="3789" y="2489"/>
                  <a:pt x="5935" y="366"/>
                </a:cubicBezTo>
                <a:close/>
                <a:moveTo>
                  <a:pt x="6095" y="1"/>
                </a:moveTo>
                <a:cubicBezTo>
                  <a:pt x="6049" y="1"/>
                  <a:pt x="6003" y="1"/>
                  <a:pt x="5958" y="24"/>
                </a:cubicBezTo>
                <a:cubicBezTo>
                  <a:pt x="3721" y="2238"/>
                  <a:pt x="1712" y="4703"/>
                  <a:pt x="23" y="7350"/>
                </a:cubicBezTo>
                <a:cubicBezTo>
                  <a:pt x="0" y="7396"/>
                  <a:pt x="0" y="7419"/>
                  <a:pt x="23" y="7442"/>
                </a:cubicBezTo>
                <a:cubicBezTo>
                  <a:pt x="23" y="7465"/>
                  <a:pt x="46" y="7510"/>
                  <a:pt x="69" y="7510"/>
                </a:cubicBezTo>
                <a:cubicBezTo>
                  <a:pt x="1689" y="8264"/>
                  <a:pt x="3378" y="9040"/>
                  <a:pt x="5159" y="9565"/>
                </a:cubicBezTo>
                <a:cubicBezTo>
                  <a:pt x="5159" y="9587"/>
                  <a:pt x="5182" y="9587"/>
                  <a:pt x="5182" y="9587"/>
                </a:cubicBezTo>
                <a:cubicBezTo>
                  <a:pt x="5204" y="9587"/>
                  <a:pt x="5227" y="9565"/>
                  <a:pt x="5250" y="9565"/>
                </a:cubicBezTo>
                <a:cubicBezTo>
                  <a:pt x="5273" y="9542"/>
                  <a:pt x="5296" y="9519"/>
                  <a:pt x="5296" y="9496"/>
                </a:cubicBezTo>
                <a:cubicBezTo>
                  <a:pt x="5752" y="6392"/>
                  <a:pt x="6049" y="3242"/>
                  <a:pt x="6140" y="115"/>
                </a:cubicBezTo>
                <a:cubicBezTo>
                  <a:pt x="6140" y="69"/>
                  <a:pt x="6117" y="24"/>
                  <a:pt x="6095" y="1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67"/>
          </a:p>
        </p:txBody>
      </p:sp>
      <p:grpSp>
        <p:nvGrpSpPr>
          <p:cNvPr id="163" name="Google Shape;163;p9"/>
          <p:cNvGrpSpPr/>
          <p:nvPr/>
        </p:nvGrpSpPr>
        <p:grpSpPr>
          <a:xfrm>
            <a:off x="-291061" y="4128521"/>
            <a:ext cx="1732869" cy="3535935"/>
            <a:chOff x="-218296" y="3096390"/>
            <a:chExt cx="1299652" cy="2651951"/>
          </a:xfrm>
        </p:grpSpPr>
        <p:sp>
          <p:nvSpPr>
            <p:cNvPr id="164" name="Google Shape;164;p9"/>
            <p:cNvSpPr/>
            <p:nvPr/>
          </p:nvSpPr>
          <p:spPr>
            <a:xfrm flipH="1">
              <a:off x="-218296" y="3096390"/>
              <a:ext cx="692948" cy="785102"/>
            </a:xfrm>
            <a:custGeom>
              <a:avLst/>
              <a:gdLst/>
              <a:ahLst/>
              <a:cxnLst/>
              <a:rect l="l" t="t" r="r" b="b"/>
              <a:pathLst>
                <a:path w="25679" h="29094" extrusionOk="0">
                  <a:moveTo>
                    <a:pt x="15362" y="0"/>
                  </a:moveTo>
                  <a:cubicBezTo>
                    <a:pt x="14997" y="0"/>
                    <a:pt x="14631" y="16"/>
                    <a:pt x="14266" y="43"/>
                  </a:cubicBezTo>
                  <a:cubicBezTo>
                    <a:pt x="13581" y="112"/>
                    <a:pt x="12897" y="203"/>
                    <a:pt x="12280" y="500"/>
                  </a:cubicBezTo>
                  <a:cubicBezTo>
                    <a:pt x="11504" y="888"/>
                    <a:pt x="10911" y="1550"/>
                    <a:pt x="10409" y="2234"/>
                  </a:cubicBezTo>
                  <a:cubicBezTo>
                    <a:pt x="8080" y="5498"/>
                    <a:pt x="7533" y="9653"/>
                    <a:pt x="6254" y="13464"/>
                  </a:cubicBezTo>
                  <a:cubicBezTo>
                    <a:pt x="6232" y="13533"/>
                    <a:pt x="6186" y="13624"/>
                    <a:pt x="6140" y="13693"/>
                  </a:cubicBezTo>
                  <a:cubicBezTo>
                    <a:pt x="6088" y="13737"/>
                    <a:pt x="6021" y="13758"/>
                    <a:pt x="5951" y="13758"/>
                  </a:cubicBezTo>
                  <a:cubicBezTo>
                    <a:pt x="5806" y="13758"/>
                    <a:pt x="5647" y="13671"/>
                    <a:pt x="5570" y="13533"/>
                  </a:cubicBezTo>
                  <a:cubicBezTo>
                    <a:pt x="5456" y="13350"/>
                    <a:pt x="5478" y="13099"/>
                    <a:pt x="5501" y="12871"/>
                  </a:cubicBezTo>
                  <a:cubicBezTo>
                    <a:pt x="5752" y="10383"/>
                    <a:pt x="6277" y="7941"/>
                    <a:pt x="7053" y="5544"/>
                  </a:cubicBezTo>
                  <a:cubicBezTo>
                    <a:pt x="7259" y="4928"/>
                    <a:pt x="7464" y="4289"/>
                    <a:pt x="7487" y="3627"/>
                  </a:cubicBezTo>
                  <a:cubicBezTo>
                    <a:pt x="7510" y="2965"/>
                    <a:pt x="7282" y="2257"/>
                    <a:pt x="6734" y="1869"/>
                  </a:cubicBezTo>
                  <a:cubicBezTo>
                    <a:pt x="6438" y="1663"/>
                    <a:pt x="6097" y="1577"/>
                    <a:pt x="5742" y="1577"/>
                  </a:cubicBezTo>
                  <a:cubicBezTo>
                    <a:pt x="5195" y="1577"/>
                    <a:pt x="4617" y="1784"/>
                    <a:pt x="4132" y="2075"/>
                  </a:cubicBezTo>
                  <a:cubicBezTo>
                    <a:pt x="3196" y="2622"/>
                    <a:pt x="2443" y="3467"/>
                    <a:pt x="1872" y="4403"/>
                  </a:cubicBezTo>
                  <a:cubicBezTo>
                    <a:pt x="0" y="7461"/>
                    <a:pt x="137" y="11296"/>
                    <a:pt x="662" y="14834"/>
                  </a:cubicBezTo>
                  <a:cubicBezTo>
                    <a:pt x="1233" y="18509"/>
                    <a:pt x="2169" y="22138"/>
                    <a:pt x="3470" y="25608"/>
                  </a:cubicBezTo>
                  <a:cubicBezTo>
                    <a:pt x="3903" y="26772"/>
                    <a:pt x="4588" y="28164"/>
                    <a:pt x="5958" y="28735"/>
                  </a:cubicBezTo>
                  <a:cubicBezTo>
                    <a:pt x="6548" y="28997"/>
                    <a:pt x="7176" y="29093"/>
                    <a:pt x="7811" y="29093"/>
                  </a:cubicBezTo>
                  <a:cubicBezTo>
                    <a:pt x="8281" y="29093"/>
                    <a:pt x="8756" y="29041"/>
                    <a:pt x="9222" y="28963"/>
                  </a:cubicBezTo>
                  <a:cubicBezTo>
                    <a:pt x="13673" y="28255"/>
                    <a:pt x="17485" y="25379"/>
                    <a:pt x="20657" y="22161"/>
                  </a:cubicBezTo>
                  <a:cubicBezTo>
                    <a:pt x="22050" y="20746"/>
                    <a:pt x="23351" y="19216"/>
                    <a:pt x="24264" y="17459"/>
                  </a:cubicBezTo>
                  <a:cubicBezTo>
                    <a:pt x="25177" y="15701"/>
                    <a:pt x="25679" y="13670"/>
                    <a:pt x="25382" y="11730"/>
                  </a:cubicBezTo>
                  <a:cubicBezTo>
                    <a:pt x="25291" y="11182"/>
                    <a:pt x="25108" y="10611"/>
                    <a:pt x="24652" y="10337"/>
                  </a:cubicBezTo>
                  <a:cubicBezTo>
                    <a:pt x="24472" y="10236"/>
                    <a:pt x="24273" y="10190"/>
                    <a:pt x="24071" y="10190"/>
                  </a:cubicBezTo>
                  <a:cubicBezTo>
                    <a:pt x="23686" y="10190"/>
                    <a:pt x="23293" y="10356"/>
                    <a:pt x="23008" y="10611"/>
                  </a:cubicBezTo>
                  <a:cubicBezTo>
                    <a:pt x="22552" y="10999"/>
                    <a:pt x="22278" y="11524"/>
                    <a:pt x="22004" y="12049"/>
                  </a:cubicBezTo>
                  <a:cubicBezTo>
                    <a:pt x="20885" y="14241"/>
                    <a:pt x="19516" y="16295"/>
                    <a:pt x="17918" y="18166"/>
                  </a:cubicBezTo>
                  <a:cubicBezTo>
                    <a:pt x="19288" y="15222"/>
                    <a:pt x="20657" y="12255"/>
                    <a:pt x="21639" y="9173"/>
                  </a:cubicBezTo>
                  <a:cubicBezTo>
                    <a:pt x="22232" y="7347"/>
                    <a:pt x="22643" y="5316"/>
                    <a:pt x="21913" y="3558"/>
                  </a:cubicBezTo>
                  <a:cubicBezTo>
                    <a:pt x="21342" y="2166"/>
                    <a:pt x="20087" y="1116"/>
                    <a:pt x="18694" y="568"/>
                  </a:cubicBezTo>
                  <a:cubicBezTo>
                    <a:pt x="17639" y="153"/>
                    <a:pt x="16505" y="0"/>
                    <a:pt x="1536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5" name="Google Shape;165;p9"/>
            <p:cNvSpPr/>
            <p:nvPr/>
          </p:nvSpPr>
          <p:spPr>
            <a:xfrm flipH="1">
              <a:off x="-105580" y="3623515"/>
              <a:ext cx="1186935" cy="2124826"/>
            </a:xfrm>
            <a:custGeom>
              <a:avLst/>
              <a:gdLst/>
              <a:ahLst/>
              <a:cxnLst/>
              <a:rect l="l" t="t" r="r" b="b"/>
              <a:pathLst>
                <a:path w="43985" h="78741" extrusionOk="0">
                  <a:moveTo>
                    <a:pt x="15204" y="1"/>
                  </a:moveTo>
                  <a:cubicBezTo>
                    <a:pt x="14564" y="1"/>
                    <a:pt x="13931" y="314"/>
                    <a:pt x="13467" y="755"/>
                  </a:cubicBezTo>
                  <a:cubicBezTo>
                    <a:pt x="12303" y="1805"/>
                    <a:pt x="11938" y="3517"/>
                    <a:pt x="12098" y="5092"/>
                  </a:cubicBezTo>
                  <a:cubicBezTo>
                    <a:pt x="12280" y="6644"/>
                    <a:pt x="12874" y="8105"/>
                    <a:pt x="13376" y="9611"/>
                  </a:cubicBezTo>
                  <a:cubicBezTo>
                    <a:pt x="15727" y="16824"/>
                    <a:pt x="15248" y="24653"/>
                    <a:pt x="13833" y="32140"/>
                  </a:cubicBezTo>
                  <a:cubicBezTo>
                    <a:pt x="12098" y="36226"/>
                    <a:pt x="10957" y="40585"/>
                    <a:pt x="10432" y="44991"/>
                  </a:cubicBezTo>
                  <a:cubicBezTo>
                    <a:pt x="9929" y="41224"/>
                    <a:pt x="8811" y="37435"/>
                    <a:pt x="8583" y="33601"/>
                  </a:cubicBezTo>
                  <a:cubicBezTo>
                    <a:pt x="8332" y="29538"/>
                    <a:pt x="9062" y="25407"/>
                    <a:pt x="8103" y="21458"/>
                  </a:cubicBezTo>
                  <a:cubicBezTo>
                    <a:pt x="7838" y="20331"/>
                    <a:pt x="7124" y="19034"/>
                    <a:pt x="6003" y="19034"/>
                  </a:cubicBezTo>
                  <a:cubicBezTo>
                    <a:pt x="5966" y="19034"/>
                    <a:pt x="5928" y="19035"/>
                    <a:pt x="5889" y="19038"/>
                  </a:cubicBezTo>
                  <a:cubicBezTo>
                    <a:pt x="5364" y="19084"/>
                    <a:pt x="4908" y="19426"/>
                    <a:pt x="4565" y="19814"/>
                  </a:cubicBezTo>
                  <a:cubicBezTo>
                    <a:pt x="3516" y="21001"/>
                    <a:pt x="3264" y="22645"/>
                    <a:pt x="3173" y="24197"/>
                  </a:cubicBezTo>
                  <a:cubicBezTo>
                    <a:pt x="2945" y="28465"/>
                    <a:pt x="3607" y="32756"/>
                    <a:pt x="5136" y="36751"/>
                  </a:cubicBezTo>
                  <a:cubicBezTo>
                    <a:pt x="6711" y="40836"/>
                    <a:pt x="9199" y="44671"/>
                    <a:pt x="10135" y="48871"/>
                  </a:cubicBezTo>
                  <a:cubicBezTo>
                    <a:pt x="9929" y="55947"/>
                    <a:pt x="11482" y="63182"/>
                    <a:pt x="14905" y="69254"/>
                  </a:cubicBezTo>
                  <a:cubicBezTo>
                    <a:pt x="11938" y="66560"/>
                    <a:pt x="9678" y="63228"/>
                    <a:pt x="8240" y="59553"/>
                  </a:cubicBezTo>
                  <a:cubicBezTo>
                    <a:pt x="6985" y="56358"/>
                    <a:pt x="6346" y="52934"/>
                    <a:pt x="4976" y="49784"/>
                  </a:cubicBezTo>
                  <a:cubicBezTo>
                    <a:pt x="4680" y="49168"/>
                    <a:pt x="4337" y="48506"/>
                    <a:pt x="3698" y="48232"/>
                  </a:cubicBezTo>
                  <a:cubicBezTo>
                    <a:pt x="3521" y="48163"/>
                    <a:pt x="3337" y="48132"/>
                    <a:pt x="3153" y="48132"/>
                  </a:cubicBezTo>
                  <a:cubicBezTo>
                    <a:pt x="2600" y="48132"/>
                    <a:pt x="2043" y="48414"/>
                    <a:pt x="1667" y="48825"/>
                  </a:cubicBezTo>
                  <a:cubicBezTo>
                    <a:pt x="1164" y="49396"/>
                    <a:pt x="936" y="50149"/>
                    <a:pt x="799" y="50880"/>
                  </a:cubicBezTo>
                  <a:cubicBezTo>
                    <a:pt x="0" y="55148"/>
                    <a:pt x="1781" y="59599"/>
                    <a:pt x="4702" y="62794"/>
                  </a:cubicBezTo>
                  <a:cubicBezTo>
                    <a:pt x="7510" y="65899"/>
                    <a:pt x="11253" y="67998"/>
                    <a:pt x="15111" y="69619"/>
                  </a:cubicBezTo>
                  <a:cubicBezTo>
                    <a:pt x="17051" y="72952"/>
                    <a:pt x="19539" y="75919"/>
                    <a:pt x="22620" y="78293"/>
                  </a:cubicBezTo>
                  <a:cubicBezTo>
                    <a:pt x="22926" y="78526"/>
                    <a:pt x="23344" y="78740"/>
                    <a:pt x="23701" y="78740"/>
                  </a:cubicBezTo>
                  <a:cubicBezTo>
                    <a:pt x="23903" y="78740"/>
                    <a:pt x="24086" y="78671"/>
                    <a:pt x="24218" y="78498"/>
                  </a:cubicBezTo>
                  <a:cubicBezTo>
                    <a:pt x="19288" y="74960"/>
                    <a:pt x="15818" y="69665"/>
                    <a:pt x="13673" y="63981"/>
                  </a:cubicBezTo>
                  <a:cubicBezTo>
                    <a:pt x="13330" y="63045"/>
                    <a:pt x="13011" y="62087"/>
                    <a:pt x="12737" y="61128"/>
                  </a:cubicBezTo>
                  <a:cubicBezTo>
                    <a:pt x="12303" y="55148"/>
                    <a:pt x="13764" y="49122"/>
                    <a:pt x="17416" y="44534"/>
                  </a:cubicBezTo>
                  <a:cubicBezTo>
                    <a:pt x="19813" y="41476"/>
                    <a:pt x="23077" y="39170"/>
                    <a:pt x="25451" y="36089"/>
                  </a:cubicBezTo>
                  <a:cubicBezTo>
                    <a:pt x="26090" y="35244"/>
                    <a:pt x="26683" y="34103"/>
                    <a:pt x="26135" y="33190"/>
                  </a:cubicBezTo>
                  <a:cubicBezTo>
                    <a:pt x="25784" y="32575"/>
                    <a:pt x="25085" y="32364"/>
                    <a:pt x="24346" y="32364"/>
                  </a:cubicBezTo>
                  <a:cubicBezTo>
                    <a:pt x="23933" y="32364"/>
                    <a:pt x="23507" y="32430"/>
                    <a:pt x="23122" y="32528"/>
                  </a:cubicBezTo>
                  <a:cubicBezTo>
                    <a:pt x="19105" y="33624"/>
                    <a:pt x="15978" y="36910"/>
                    <a:pt x="13969" y="40563"/>
                  </a:cubicBezTo>
                  <a:cubicBezTo>
                    <a:pt x="12372" y="43507"/>
                    <a:pt x="11390" y="46771"/>
                    <a:pt x="11048" y="50081"/>
                  </a:cubicBezTo>
                  <a:cubicBezTo>
                    <a:pt x="10934" y="43986"/>
                    <a:pt x="12098" y="37846"/>
                    <a:pt x="14494" y="32231"/>
                  </a:cubicBezTo>
                  <a:cubicBezTo>
                    <a:pt x="17895" y="28077"/>
                    <a:pt x="22529" y="24904"/>
                    <a:pt x="27665" y="23147"/>
                  </a:cubicBezTo>
                  <a:cubicBezTo>
                    <a:pt x="32595" y="21481"/>
                    <a:pt x="38096" y="21047"/>
                    <a:pt x="42319" y="18011"/>
                  </a:cubicBezTo>
                  <a:cubicBezTo>
                    <a:pt x="42844" y="17623"/>
                    <a:pt x="43368" y="17189"/>
                    <a:pt x="43665" y="16596"/>
                  </a:cubicBezTo>
                  <a:cubicBezTo>
                    <a:pt x="43962" y="16003"/>
                    <a:pt x="43985" y="15226"/>
                    <a:pt x="43551" y="14724"/>
                  </a:cubicBezTo>
                  <a:cubicBezTo>
                    <a:pt x="43277" y="14428"/>
                    <a:pt x="42889" y="14245"/>
                    <a:pt x="42524" y="14108"/>
                  </a:cubicBezTo>
                  <a:cubicBezTo>
                    <a:pt x="41374" y="13717"/>
                    <a:pt x="40169" y="13560"/>
                    <a:pt x="38953" y="13560"/>
                  </a:cubicBezTo>
                  <a:cubicBezTo>
                    <a:pt x="37827" y="13560"/>
                    <a:pt x="36693" y="13694"/>
                    <a:pt x="35585" y="13903"/>
                  </a:cubicBezTo>
                  <a:cubicBezTo>
                    <a:pt x="30153" y="14884"/>
                    <a:pt x="25085" y="17623"/>
                    <a:pt x="21114" y="21458"/>
                  </a:cubicBezTo>
                  <a:cubicBezTo>
                    <a:pt x="21548" y="20864"/>
                    <a:pt x="22004" y="20294"/>
                    <a:pt x="22461" y="19723"/>
                  </a:cubicBezTo>
                  <a:cubicBezTo>
                    <a:pt x="24241" y="17463"/>
                    <a:pt x="25998" y="15204"/>
                    <a:pt x="27779" y="12967"/>
                  </a:cubicBezTo>
                  <a:cubicBezTo>
                    <a:pt x="28190" y="12419"/>
                    <a:pt x="28646" y="11848"/>
                    <a:pt x="29194" y="11437"/>
                  </a:cubicBezTo>
                  <a:cubicBezTo>
                    <a:pt x="30175" y="10730"/>
                    <a:pt x="31431" y="10502"/>
                    <a:pt x="32572" y="10114"/>
                  </a:cubicBezTo>
                  <a:cubicBezTo>
                    <a:pt x="33736" y="9748"/>
                    <a:pt x="34946" y="9086"/>
                    <a:pt x="35357" y="7945"/>
                  </a:cubicBezTo>
                  <a:cubicBezTo>
                    <a:pt x="34923" y="7788"/>
                    <a:pt x="34458" y="7710"/>
                    <a:pt x="33993" y="7710"/>
                  </a:cubicBezTo>
                  <a:cubicBezTo>
                    <a:pt x="33309" y="7710"/>
                    <a:pt x="32622" y="7879"/>
                    <a:pt x="32024" y="8219"/>
                  </a:cubicBezTo>
                  <a:cubicBezTo>
                    <a:pt x="32892" y="7215"/>
                    <a:pt x="33531" y="6051"/>
                    <a:pt x="33896" y="4772"/>
                  </a:cubicBezTo>
                  <a:cubicBezTo>
                    <a:pt x="33987" y="4499"/>
                    <a:pt x="34033" y="4179"/>
                    <a:pt x="33873" y="3951"/>
                  </a:cubicBezTo>
                  <a:cubicBezTo>
                    <a:pt x="33753" y="3779"/>
                    <a:pt x="33580" y="3710"/>
                    <a:pt x="33389" y="3710"/>
                  </a:cubicBezTo>
                  <a:cubicBezTo>
                    <a:pt x="33073" y="3710"/>
                    <a:pt x="32705" y="3897"/>
                    <a:pt x="32435" y="4111"/>
                  </a:cubicBezTo>
                  <a:cubicBezTo>
                    <a:pt x="31522" y="4864"/>
                    <a:pt x="30746" y="5777"/>
                    <a:pt x="30153" y="6827"/>
                  </a:cubicBezTo>
                  <a:cubicBezTo>
                    <a:pt x="30563" y="5343"/>
                    <a:pt x="30700" y="3768"/>
                    <a:pt x="30495" y="2239"/>
                  </a:cubicBezTo>
                  <a:cubicBezTo>
                    <a:pt x="30449" y="1897"/>
                    <a:pt x="30335" y="1508"/>
                    <a:pt x="30016" y="1417"/>
                  </a:cubicBezTo>
                  <a:cubicBezTo>
                    <a:pt x="29975" y="1406"/>
                    <a:pt x="29935" y="1401"/>
                    <a:pt x="29896" y="1401"/>
                  </a:cubicBezTo>
                  <a:cubicBezTo>
                    <a:pt x="29605" y="1401"/>
                    <a:pt x="29352" y="1683"/>
                    <a:pt x="29171" y="1965"/>
                  </a:cubicBezTo>
                  <a:cubicBezTo>
                    <a:pt x="28190" y="3517"/>
                    <a:pt x="27596" y="5343"/>
                    <a:pt x="27505" y="7215"/>
                  </a:cubicBezTo>
                  <a:cubicBezTo>
                    <a:pt x="27414" y="6165"/>
                    <a:pt x="27003" y="5161"/>
                    <a:pt x="26364" y="4339"/>
                  </a:cubicBezTo>
                  <a:cubicBezTo>
                    <a:pt x="26139" y="4045"/>
                    <a:pt x="25783" y="3764"/>
                    <a:pt x="25455" y="3764"/>
                  </a:cubicBezTo>
                  <a:cubicBezTo>
                    <a:pt x="25350" y="3764"/>
                    <a:pt x="25248" y="3793"/>
                    <a:pt x="25154" y="3859"/>
                  </a:cubicBezTo>
                  <a:cubicBezTo>
                    <a:pt x="24834" y="4065"/>
                    <a:pt x="24834" y="4499"/>
                    <a:pt x="24880" y="4864"/>
                  </a:cubicBezTo>
                  <a:cubicBezTo>
                    <a:pt x="25108" y="7192"/>
                    <a:pt x="25930" y="9474"/>
                    <a:pt x="27528" y="11346"/>
                  </a:cubicBezTo>
                  <a:cubicBezTo>
                    <a:pt x="24720" y="15820"/>
                    <a:pt x="21068" y="19700"/>
                    <a:pt x="18124" y="24105"/>
                  </a:cubicBezTo>
                  <a:cubicBezTo>
                    <a:pt x="17256" y="25429"/>
                    <a:pt x="16435" y="26776"/>
                    <a:pt x="15704" y="28191"/>
                  </a:cubicBezTo>
                  <a:cubicBezTo>
                    <a:pt x="16982" y="24562"/>
                    <a:pt x="17918" y="20819"/>
                    <a:pt x="18512" y="17030"/>
                  </a:cubicBezTo>
                  <a:cubicBezTo>
                    <a:pt x="19196" y="12602"/>
                    <a:pt x="19402" y="8059"/>
                    <a:pt x="18420" y="3723"/>
                  </a:cubicBezTo>
                  <a:cubicBezTo>
                    <a:pt x="18010" y="2011"/>
                    <a:pt x="17028" y="25"/>
                    <a:pt x="15271" y="2"/>
                  </a:cubicBezTo>
                  <a:cubicBezTo>
                    <a:pt x="15248" y="1"/>
                    <a:pt x="15226" y="1"/>
                    <a:pt x="15204" y="1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  <p:extLst>
      <p:ext uri="{BB962C8B-B14F-4D97-AF65-F5344CB8AC3E}">
        <p14:creationId xmlns:p14="http://schemas.microsoft.com/office/powerpoint/2010/main" val="3441418877"/>
      </p:ext>
    </p:extLst>
  </p:cSld>
  <p:clrMapOvr>
    <a:masterClrMapping/>
  </p:clrMapOvr>
</p:sldLayout>
</file>

<file path=ppt/slideLayouts/slideLayout2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24106900"/>
      </p:ext>
    </p:extLst>
  </p:cSld>
  <p:clrMapOvr>
    <a:masterClrMapping/>
  </p:clrMapOvr>
</p:sldLayout>
</file>

<file path=ppt/slideLayouts/slideLayout2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6629712"/>
      </p:ext>
    </p:extLst>
  </p:cSld>
  <p:clrMapOvr>
    <a:masterClrMapping/>
  </p:clrMapOvr>
</p:sldLayout>
</file>

<file path=ppt/slideLayouts/slideLayout2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8597581"/>
      </p:ext>
    </p:extLst>
  </p:cSld>
  <p:clrMapOvr>
    <a:masterClrMapping/>
  </p:clrMapOvr>
</p:sldLayout>
</file>

<file path=ppt/slideLayouts/slideLayout28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596123"/>
      </p:ext>
    </p:extLst>
  </p:cSld>
  <p:clrMapOvr>
    <a:masterClrMapping/>
  </p:clrMapOvr>
</p:sldLayout>
</file>

<file path=ppt/slideLayouts/slideLayout28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2536888"/>
      </p:ext>
    </p:extLst>
  </p:cSld>
  <p:clrMapOvr>
    <a:masterClrMapping/>
  </p:clrMapOvr>
</p:sldLayout>
</file>

<file path=ppt/slideLayouts/slideLayout28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73683298"/>
      </p:ext>
    </p:extLst>
  </p:cSld>
  <p:clrMapOvr>
    <a:masterClrMapping/>
  </p:clrMapOvr>
</p:sldLayout>
</file>

<file path=ppt/slideLayouts/slideLayout28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0706996"/>
      </p:ext>
    </p:extLst>
  </p:cSld>
  <p:clrMapOvr>
    <a:masterClrMapping/>
  </p:clrMapOvr>
</p:sldLayout>
</file>

<file path=ppt/slideLayouts/slideLayout28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45131242"/>
      </p:ext>
    </p:extLst>
  </p:cSld>
  <p:clrMapOvr>
    <a:masterClrMapping/>
  </p:clrMapOvr>
</p:sldLayout>
</file>

<file path=ppt/slideLayouts/slideLayout2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77157"/>
      </p:ext>
    </p:extLst>
  </p:cSld>
  <p:clrMapOvr>
    <a:masterClrMapping/>
  </p:clrMapOvr>
</p:sldLayout>
</file>

<file path=ppt/slideLayouts/slideLayout28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53754008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4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00" name="Google Shape;2500;p2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01" name="Google Shape;2501;p25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02" name="Google Shape;2502;p2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03" name="Google Shape;2503;p2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04" name="Google Shape;2504;p2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2505" name="Google Shape;2505;p2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6" name="Google Shape;2506;p25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07" name="Google Shape;2507;p2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08" name="Google Shape;2508;p2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509" name="Google Shape;2509;p254"/>
          <p:cNvCxnSpPr/>
          <p:nvPr/>
        </p:nvCxnSpPr>
        <p:spPr>
          <a:xfrm>
            <a:off x="704314" y="1425993"/>
            <a:ext cx="109728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10" name="Google Shape;2510;p2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57152074"/>
      </p:ext>
    </p:extLst>
  </p:cSld>
  <p:clrMapOvr>
    <a:masterClrMapping/>
  </p:clrMapOvr>
</p:sldLayout>
</file>

<file path=ppt/slideLayouts/slideLayout2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57140165"/>
      </p:ext>
    </p:extLst>
  </p:cSld>
  <p:clrMapOvr>
    <a:masterClrMapping/>
  </p:clrMapOvr>
</p:sldLayout>
</file>

<file path=ppt/slideLayouts/slideLayout2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93537"/>
      </p:ext>
    </p:extLst>
  </p:cSld>
  <p:clrMapOvr>
    <a:masterClrMapping/>
  </p:clrMapOvr>
</p:sldLayout>
</file>

<file path=ppt/slideLayouts/slideLayout28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9134775"/>
      </p:ext>
    </p:extLst>
  </p:cSld>
  <p:clrMapOvr>
    <a:masterClrMapping/>
  </p:clrMapOvr>
</p:sldLayout>
</file>

<file path=ppt/slideLayouts/slideLayout28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15879610"/>
      </p:ext>
    </p:extLst>
  </p:cSld>
  <p:clrMapOvr>
    <a:masterClrMapping/>
  </p:clrMapOvr>
</p:sldLayout>
</file>

<file path=ppt/slideLayouts/slideLayout28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26563671"/>
      </p:ext>
    </p:extLst>
  </p:cSld>
  <p:clrMapOvr>
    <a:masterClrMapping/>
  </p:clrMapOvr>
</p:sldLayout>
</file>

<file path=ppt/slideLayouts/slideLayout28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18299742"/>
      </p:ext>
    </p:extLst>
  </p:cSld>
  <p:clrMapOvr>
    <a:masterClrMapping/>
  </p:clrMapOvr>
</p:sldLayout>
</file>

<file path=ppt/slideLayouts/slideLayout28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29405902"/>
      </p:ext>
    </p:extLst>
  </p:cSld>
  <p:clrMapOvr>
    <a:masterClrMapping/>
  </p:clrMapOvr>
</p:sldLayout>
</file>

<file path=ppt/slideLayouts/slideLayout28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1506376"/>
      </p:ext>
    </p:extLst>
  </p:cSld>
  <p:clrMapOvr>
    <a:masterClrMapping/>
  </p:clrMapOvr>
</p:sldLayout>
</file>

<file path=ppt/slideLayouts/slideLayout288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17444967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25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22" name="Google Shape;2522;p25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523" name="Google Shape;2523;p25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24" name="Google Shape;2524;p25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25" name="Google Shape;2525;p25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2526" name="Google Shape;2526;p25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527" name="Google Shape;2527;p25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28" name="Google Shape;2528;p25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2529" name="Google Shape;2529;p256"/>
          <p:cNvCxnSpPr/>
          <p:nvPr/>
        </p:nvCxnSpPr>
        <p:spPr>
          <a:xfrm>
            <a:off x="1520055" y="2811818"/>
            <a:ext cx="22860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</p:spTree>
  </p:cSld>
  <p:clrMapOvr>
    <a:masterClrMapping/>
  </p:clrMapOvr>
</p:sldLayout>
</file>

<file path=ppt/slideLayouts/slideLayout28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8341424"/>
      </p:ext>
    </p:extLst>
  </p:cSld>
  <p:clrMapOvr>
    <a:masterClrMapping/>
  </p:clrMapOvr>
</p:sldLayout>
</file>

<file path=ppt/slideLayouts/slideLayout28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769318"/>
      </p:ext>
    </p:extLst>
  </p:cSld>
  <p:clrMapOvr>
    <a:masterClrMapping/>
  </p:clrMapOvr>
</p:sldLayout>
</file>

<file path=ppt/slideLayouts/slideLayout28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4132977"/>
      </p:ext>
    </p:extLst>
  </p:cSld>
  <p:clrMapOvr>
    <a:masterClrMapping/>
  </p:clrMapOvr>
</p:sldLayout>
</file>

<file path=ppt/slideLayouts/slideLayout28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2996200"/>
      </p:ext>
    </p:extLst>
  </p:cSld>
  <p:clrMapOvr>
    <a:masterClrMapping/>
  </p:clrMapOvr>
</p:sldLayout>
</file>

<file path=ppt/slideLayouts/slideLayout28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48510127"/>
      </p:ext>
    </p:extLst>
  </p:cSld>
  <p:clrMapOvr>
    <a:masterClrMapping/>
  </p:clrMapOvr>
</p:sldLayout>
</file>

<file path=ppt/slideLayouts/slideLayout28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68803320"/>
      </p:ext>
    </p:extLst>
  </p:cSld>
  <p:clrMapOvr>
    <a:masterClrMapping/>
  </p:clrMapOvr>
</p:sldLayout>
</file>

<file path=ppt/slideLayouts/slideLayout2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6172484"/>
      </p:ext>
    </p:extLst>
  </p:cSld>
  <p:clrMapOvr>
    <a:masterClrMapping/>
  </p:clrMapOvr>
</p:sldLayout>
</file>

<file path=ppt/slideLayouts/slideLayout28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8952840"/>
      </p:ext>
    </p:extLst>
  </p:cSld>
  <p:clrMapOvr>
    <a:masterClrMapping/>
  </p:clrMapOvr>
</p:sldLayout>
</file>

<file path=ppt/slideLayouts/slideLayout2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75763023"/>
      </p:ext>
    </p:extLst>
  </p:cSld>
  <p:clrMapOvr>
    <a:masterClrMapping/>
  </p:clrMapOvr>
</p:sldLayout>
</file>

<file path=ppt/slideLayouts/slideLayout2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13579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" name="Google Shape;273;p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6" name="Google Shape;276;p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8" name="Google Shape;278;p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9" name="Google Shape;279;p2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0" name="Google Shape;280;p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1" name="Google Shape;281;p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282;p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3" name="Google Shape;283;p2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25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1" name="Google Shape;2531;p25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532" name="Google Shape;2532;p25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533" name="Google Shape;2533;p25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534" name="Google Shape;2534;p25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35" name="Google Shape;2535;p25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536" name="Google Shape;2536;p25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537" name="Google Shape;2537;p25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5197311"/>
      </p:ext>
    </p:extLst>
  </p:cSld>
  <p:clrMapOvr>
    <a:masterClrMapping/>
  </p:clrMapOvr>
</p:sldLayout>
</file>

<file path=ppt/slideLayouts/slideLayout29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00851886"/>
      </p:ext>
    </p:extLst>
  </p:cSld>
  <p:clrMapOvr>
    <a:masterClrMapping/>
  </p:clrMapOvr>
</p:sldLayout>
</file>

<file path=ppt/slideLayouts/slideLayout2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6913292"/>
      </p:ext>
    </p:extLst>
  </p:cSld>
  <p:clrMapOvr>
    <a:masterClrMapping/>
  </p:clrMapOvr>
</p:sldLayout>
</file>

<file path=ppt/slideLayouts/slideLayout2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30297693"/>
      </p:ext>
    </p:extLst>
  </p:cSld>
  <p:clrMapOvr>
    <a:masterClrMapping/>
  </p:clrMapOvr>
</p:sldLayout>
</file>

<file path=ppt/slideLayouts/slideLayout2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8458734"/>
      </p:ext>
    </p:extLst>
  </p:cSld>
  <p:clrMapOvr>
    <a:masterClrMapping/>
  </p:clrMapOvr>
</p:sldLayout>
</file>

<file path=ppt/slideLayouts/slideLayout29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0525132"/>
      </p:ext>
    </p:extLst>
  </p:cSld>
  <p:clrMapOvr>
    <a:masterClrMapping/>
  </p:clrMapOvr>
</p:sldLayout>
</file>

<file path=ppt/slideLayouts/slideLayout29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87392039"/>
      </p:ext>
    </p:extLst>
  </p:cSld>
  <p:clrMapOvr>
    <a:masterClrMapping/>
  </p:clrMapOvr>
</p:sldLayout>
</file>

<file path=ppt/slideLayouts/slideLayout29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8355853"/>
      </p:ext>
    </p:extLst>
  </p:cSld>
  <p:clrMapOvr>
    <a:masterClrMapping/>
  </p:clrMapOvr>
</p:sldLayout>
</file>

<file path=ppt/slideLayouts/slideLayout29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873811"/>
      </p:ext>
    </p:extLst>
  </p:cSld>
  <p:clrMapOvr>
    <a:masterClrMapping/>
  </p:clrMapOvr>
</p:sldLayout>
</file>

<file path=ppt/slideLayouts/slideLayout29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02294413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2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39" name="Google Shape;2539;p25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540" name="Google Shape;2540;p25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41" name="Google Shape;2541;p25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42" name="Google Shape;2542;p2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43" name="Google Shape;2543;p2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44" name="Google Shape;2544;p2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545" name="Google Shape;2545;p2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46" name="Google Shape;2546;p25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47" name="Google Shape;2547;p2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48" name="Google Shape;2548;p2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49" name="Google Shape;2549;p2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2550" name="Google Shape;2550;p25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513807"/>
      </p:ext>
    </p:extLst>
  </p:cSld>
  <p:clrMapOvr>
    <a:masterClrMapping/>
  </p:clrMapOvr>
</p:sldLayout>
</file>

<file path=ppt/slideLayouts/slideLayout29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21110874"/>
      </p:ext>
    </p:extLst>
  </p:cSld>
  <p:clrMapOvr>
    <a:masterClrMapping/>
  </p:clrMapOvr>
</p:sldLayout>
</file>

<file path=ppt/slideLayouts/slideLayout29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91349256"/>
      </p:ext>
    </p:extLst>
  </p:cSld>
  <p:clrMapOvr>
    <a:masterClrMapping/>
  </p:clrMapOvr>
</p:sldLayout>
</file>

<file path=ppt/slideLayouts/slideLayout29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59700374"/>
      </p:ext>
    </p:extLst>
  </p:cSld>
  <p:clrMapOvr>
    <a:masterClrMapping/>
  </p:clrMapOvr>
</p:sldLayout>
</file>

<file path=ppt/slideLayouts/slideLayout29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375943"/>
      </p:ext>
    </p:extLst>
  </p:cSld>
  <p:clrMapOvr>
    <a:masterClrMapping/>
  </p:clrMapOvr>
</p:sldLayout>
</file>

<file path=ppt/slideLayouts/slideLayout29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00663776"/>
      </p:ext>
    </p:extLst>
  </p:cSld>
  <p:clrMapOvr>
    <a:masterClrMapping/>
  </p:clrMapOvr>
</p:sldLayout>
</file>

<file path=ppt/slideLayouts/slideLayout29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26852934"/>
      </p:ext>
    </p:extLst>
  </p:cSld>
  <p:clrMapOvr>
    <a:masterClrMapping/>
  </p:clrMapOvr>
</p:sldLayout>
</file>

<file path=ppt/slideLayouts/slideLayout29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52792740"/>
      </p:ext>
    </p:extLst>
  </p:cSld>
  <p:clrMapOvr>
    <a:masterClrMapping/>
  </p:clrMapOvr>
</p:sldLayout>
</file>

<file path=ppt/slideLayouts/slideLayout2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927239"/>
      </p:ext>
    </p:extLst>
  </p:cSld>
  <p:clrMapOvr>
    <a:masterClrMapping/>
  </p:clrMapOvr>
</p:sldLayout>
</file>

<file path=ppt/slideLayouts/slideLayout2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41473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2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52" name="Google Shape;2552;p2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53" name="Google Shape;2553;p2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554" name="Google Shape;2554;p2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55" name="Google Shape;2555;p25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56" name="Google Shape;2556;p2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57" name="Google Shape;2557;p2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58" name="Google Shape;2558;p2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2559" name="Google Shape;2559;p25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60" name="Google Shape;2560;p25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61" name="Google Shape;2561;p2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562" name="Google Shape;2562;p259"/>
          <p:cNvCxnSpPr/>
          <p:nvPr/>
        </p:nvCxnSpPr>
        <p:spPr>
          <a:xfrm>
            <a:off x="704314" y="1425993"/>
            <a:ext cx="109728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63" name="Google Shape;2563;p2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13591315"/>
      </p:ext>
    </p:extLst>
  </p:cSld>
  <p:clrMapOvr>
    <a:masterClrMapping/>
  </p:clrMapOvr>
</p:sldLayout>
</file>

<file path=ppt/slideLayouts/slideLayout29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79163230"/>
      </p:ext>
    </p:extLst>
  </p:cSld>
  <p:clrMapOvr>
    <a:masterClrMapping/>
  </p:clrMapOvr>
</p:sldLayout>
</file>

<file path=ppt/slideLayouts/slideLayout2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48004699"/>
      </p:ext>
    </p:extLst>
  </p:cSld>
  <p:clrMapOvr>
    <a:masterClrMapping/>
  </p:clrMapOvr>
</p:sldLayout>
</file>

<file path=ppt/slideLayouts/slideLayout2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80367529"/>
      </p:ext>
    </p:extLst>
  </p:cSld>
  <p:clrMapOvr>
    <a:masterClrMapping/>
  </p:clrMapOvr>
</p:sldLayout>
</file>

<file path=ppt/slideLayouts/slideLayout29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5885365"/>
      </p:ext>
    </p:extLst>
  </p:cSld>
  <p:clrMapOvr>
    <a:masterClrMapping/>
  </p:clrMapOvr>
</p:sldLayout>
</file>

<file path=ppt/slideLayouts/slideLayout29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66072963"/>
      </p:ext>
    </p:extLst>
  </p:cSld>
  <p:clrMapOvr>
    <a:masterClrMapping/>
  </p:clrMapOvr>
</p:sldLayout>
</file>

<file path=ppt/slideLayouts/slideLayout29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01064933"/>
      </p:ext>
    </p:extLst>
  </p:cSld>
  <p:clrMapOvr>
    <a:masterClrMapping/>
  </p:clrMapOvr>
</p:sldLayout>
</file>

<file path=ppt/slideLayouts/slideLayout29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89492509"/>
      </p:ext>
    </p:extLst>
  </p:cSld>
  <p:clrMapOvr>
    <a:masterClrMapping/>
  </p:clrMapOvr>
</p:sldLayout>
</file>

<file path=ppt/slideLayouts/slideLayout2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341523"/>
      </p:ext>
    </p:extLst>
  </p:cSld>
  <p:clrMapOvr>
    <a:masterClrMapping/>
  </p:clrMapOvr>
</p:sldLayout>
</file>

<file path=ppt/slideLayouts/slideLayout2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679174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2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65" name="Google Shape;2565;p2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66" name="Google Shape;2566;p26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67" name="Google Shape;2567;p2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68" name="Google Shape;2568;p2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69" name="Google Shape;2569;p2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2570" name="Google Shape;2570;p2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71" name="Google Shape;2571;p26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572" name="Google Shape;2572;p26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73" name="Google Shape;2573;p26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574" name="Google Shape;2574;p26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75" name="Google Shape;2575;p2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76" name="Google Shape;2576;p2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77" name="Google Shape;2577;p2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6370464"/>
      </p:ext>
    </p:extLst>
  </p:cSld>
  <p:clrMapOvr>
    <a:masterClrMapping/>
  </p:clrMapOvr>
</p:sldLayout>
</file>

<file path=ppt/slideLayouts/slideLayout29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50781625"/>
      </p:ext>
    </p:extLst>
  </p:cSld>
  <p:clrMapOvr>
    <a:masterClrMapping/>
  </p:clrMapOvr>
</p:sldLayout>
</file>

<file path=ppt/slideLayouts/slideLayout2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255103"/>
      </p:ext>
    </p:extLst>
  </p:cSld>
  <p:clrMapOvr>
    <a:masterClrMapping/>
  </p:clrMapOvr>
</p:sldLayout>
</file>

<file path=ppt/slideLayouts/slideLayout29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11795"/>
      </p:ext>
    </p:extLst>
  </p:cSld>
  <p:clrMapOvr>
    <a:masterClrMapping/>
  </p:clrMapOvr>
</p:sldLayout>
</file>

<file path=ppt/slideLayouts/slideLayout29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497881"/>
      </p:ext>
    </p:extLst>
  </p:cSld>
  <p:clrMapOvr>
    <a:masterClrMapping/>
  </p:clrMapOvr>
</p:sldLayout>
</file>

<file path=ppt/slideLayouts/slideLayout29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3830056"/>
      </p:ext>
    </p:extLst>
  </p:cSld>
  <p:clrMapOvr>
    <a:masterClrMapping/>
  </p:clrMapOvr>
</p:sldLayout>
</file>

<file path=ppt/slideLayouts/slideLayout29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39058731"/>
      </p:ext>
    </p:extLst>
  </p:cSld>
  <p:clrMapOvr>
    <a:masterClrMapping/>
  </p:clrMapOvr>
</p:sldLayout>
</file>

<file path=ppt/slideLayouts/slideLayout29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38126803"/>
      </p:ext>
    </p:extLst>
  </p:cSld>
  <p:clrMapOvr>
    <a:masterClrMapping/>
  </p:clrMapOvr>
</p:sldLayout>
</file>

<file path=ppt/slideLayouts/slideLayout2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43009"/>
      </p:ext>
    </p:extLst>
  </p:cSld>
  <p:clrMapOvr>
    <a:masterClrMapping/>
  </p:clrMapOvr>
</p:sldLayout>
</file>

<file path=ppt/slideLayouts/slideLayout29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1217761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79" name="Google Shape;2579;p2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80" name="Google Shape;2580;p26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81" name="Google Shape;2581;p2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82" name="Google Shape;2582;p2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583" name="Google Shape;2583;p2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sp>
        <p:nvSpPr>
          <p:cNvPr id="2584" name="Google Shape;2584;p26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85" name="Google Shape;2585;p2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86" name="Google Shape;2586;p2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2587" name="Google Shape;2587;p261"/>
          <p:cNvCxnSpPr/>
          <p:nvPr/>
        </p:nvCxnSpPr>
        <p:spPr>
          <a:xfrm>
            <a:off x="707293" y="1425993"/>
            <a:ext cx="109728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88" name="Google Shape;2588;p2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9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70818450"/>
      </p:ext>
    </p:extLst>
  </p:cSld>
  <p:clrMapOvr>
    <a:masterClrMapping/>
  </p:clrMapOvr>
</p:sldLayout>
</file>

<file path=ppt/slideLayouts/slideLayout2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37000077"/>
      </p:ext>
    </p:extLst>
  </p:cSld>
  <p:clrMapOvr>
    <a:masterClrMapping/>
  </p:clrMapOvr>
</p:sldLayout>
</file>

<file path=ppt/slideLayouts/slideLayout29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852606"/>
      </p:ext>
    </p:extLst>
  </p:cSld>
  <p:clrMapOvr>
    <a:masterClrMapping/>
  </p:clrMapOvr>
</p:sldLayout>
</file>

<file path=ppt/slideLayouts/slideLayout29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15273673"/>
      </p:ext>
    </p:extLst>
  </p:cSld>
  <p:clrMapOvr>
    <a:masterClrMapping/>
  </p:clrMapOvr>
</p:sldLayout>
</file>

<file path=ppt/slideLayouts/slideLayout29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565947"/>
      </p:ext>
    </p:extLst>
  </p:cSld>
  <p:clrMapOvr>
    <a:masterClrMapping/>
  </p:clrMapOvr>
</p:sldLayout>
</file>

<file path=ppt/slideLayouts/slideLayout29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60051"/>
      </p:ext>
    </p:extLst>
  </p:cSld>
  <p:clrMapOvr>
    <a:masterClrMapping/>
  </p:clrMapOvr>
</p:sldLayout>
</file>

<file path=ppt/slideLayouts/slideLayout29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14639545"/>
      </p:ext>
    </p:extLst>
  </p:cSld>
  <p:clrMapOvr>
    <a:masterClrMapping/>
  </p:clrMapOvr>
</p:sldLayout>
</file>

<file path=ppt/slideLayouts/slideLayout29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740563"/>
      </p:ext>
    </p:extLst>
  </p:cSld>
  <p:clrMapOvr>
    <a:masterClrMapping/>
  </p:clrMapOvr>
</p:sldLayout>
</file>

<file path=ppt/slideLayouts/slideLayout29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691689"/>
      </p:ext>
    </p:extLst>
  </p:cSld>
  <p:clrMapOvr>
    <a:masterClrMapping/>
  </p:clrMapOvr>
</p:sldLayout>
</file>

<file path=ppt/slideLayouts/slideLayout29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6804205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5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90" name="Google Shape;2590;p26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91" name="Google Shape;2591;p26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92" name="Google Shape;2592;p26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593" name="Google Shape;2593;p26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2594" name="Google Shape;2594;p262"/>
          <p:cNvCxnSpPr/>
          <p:nvPr/>
        </p:nvCxnSpPr>
        <p:spPr>
          <a:xfrm>
            <a:off x="1325946" y="3080084"/>
            <a:ext cx="685399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95" name="Google Shape;2595;p26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6" name="Google Shape;2596;p26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Arial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597" name="Google Shape;2597;p26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598" name="Google Shape;2598;p2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2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42014419"/>
      </p:ext>
    </p:extLst>
  </p:cSld>
  <p:clrMapOvr>
    <a:masterClrMapping/>
  </p:clrMapOvr>
</p:sldLayout>
</file>

<file path=ppt/slideLayouts/slideLayout29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8557025"/>
      </p:ext>
    </p:extLst>
  </p:cSld>
  <p:clrMapOvr>
    <a:masterClrMapping/>
  </p:clrMapOvr>
</p:sldLayout>
</file>

<file path=ppt/slideLayouts/slideLayout2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0909445"/>
      </p:ext>
    </p:extLst>
  </p:cSld>
  <p:clrMapOvr>
    <a:masterClrMapping/>
  </p:clrMapOvr>
</p:sldLayout>
</file>

<file path=ppt/slideLayouts/slideLayout29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33074965"/>
      </p:ext>
    </p:extLst>
  </p:cSld>
  <p:clrMapOvr>
    <a:masterClrMapping/>
  </p:clrMapOvr>
</p:sldLayout>
</file>

<file path=ppt/slideLayouts/slideLayout29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97382710"/>
      </p:ext>
    </p:extLst>
  </p:cSld>
  <p:clrMapOvr>
    <a:masterClrMapping/>
  </p:clrMapOvr>
</p:sldLayout>
</file>

<file path=ppt/slideLayouts/slideLayout29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0792673"/>
      </p:ext>
    </p:extLst>
  </p:cSld>
  <p:clrMapOvr>
    <a:masterClrMapping/>
  </p:clrMapOvr>
</p:sldLayout>
</file>

<file path=ppt/slideLayouts/slideLayout29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67714482"/>
      </p:ext>
    </p:extLst>
  </p:cSld>
  <p:clrMapOvr>
    <a:masterClrMapping/>
  </p:clrMapOvr>
</p:sldLayout>
</file>

<file path=ppt/slideLayouts/slideLayout2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020723"/>
      </p:ext>
    </p:extLst>
  </p:cSld>
  <p:clrMapOvr>
    <a:masterClrMapping/>
  </p:clrMapOvr>
</p:sldLayout>
</file>

<file path=ppt/slideLayouts/slideLayout29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70634673"/>
      </p:ext>
    </p:extLst>
  </p:cSld>
  <p:clrMapOvr>
    <a:masterClrMapping/>
  </p:clrMapOvr>
</p:sldLayout>
</file>

<file path=ppt/slideLayouts/slideLayout29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079326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2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9" name="Google Shape;2609;p264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10" name="Google Shape;2610;p264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cxnSp>
        <p:nvCxnSpPr>
          <p:cNvPr id="2611" name="Google Shape;2611;p264"/>
          <p:cNvCxnSpPr/>
          <p:nvPr/>
        </p:nvCxnSpPr>
        <p:spPr>
          <a:xfrm>
            <a:off x="620093" y="5141451"/>
            <a:ext cx="2286000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612" name="Google Shape;2612;p264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2613" name="Google Shape;2613;p264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14" name="Google Shape;2614;p264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2615" name="Google Shape;2615;p26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8896290"/>
      </p:ext>
    </p:extLst>
  </p:cSld>
  <p:clrMapOvr>
    <a:masterClrMapping/>
  </p:clrMapOvr>
</p:sldLayout>
</file>

<file path=ppt/slideLayouts/slideLayout29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6220077"/>
      </p:ext>
    </p:extLst>
  </p:cSld>
  <p:clrMapOvr>
    <a:masterClrMapping/>
  </p:clrMapOvr>
</p:sldLayout>
</file>

<file path=ppt/slideLayouts/slideLayout29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952973"/>
      </p:ext>
    </p:extLst>
  </p:cSld>
  <p:clrMapOvr>
    <a:masterClrMapping/>
  </p:clrMapOvr>
</p:sldLayout>
</file>

<file path=ppt/slideLayouts/slideLayout2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55739371"/>
      </p:ext>
    </p:extLst>
  </p:cSld>
  <p:clrMapOvr>
    <a:masterClrMapping/>
  </p:clrMapOvr>
</p:sldLayout>
</file>

<file path=ppt/slideLayouts/slideLayout29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28802024"/>
      </p:ext>
    </p:extLst>
  </p:cSld>
  <p:clrMapOvr>
    <a:masterClrMapping/>
  </p:clrMapOvr>
</p:sldLayout>
</file>

<file path=ppt/slideLayouts/slideLayout29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2309243"/>
      </p:ext>
    </p:extLst>
  </p:cSld>
  <p:clrMapOvr>
    <a:masterClrMapping/>
  </p:clrMapOvr>
</p:sldLayout>
</file>

<file path=ppt/slideLayouts/slideLayout29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583192"/>
      </p:ext>
    </p:extLst>
  </p:cSld>
  <p:clrMapOvr>
    <a:masterClrMapping/>
  </p:clrMapOvr>
</p:sldLayout>
</file>

<file path=ppt/slideLayouts/slideLayout29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65809134"/>
      </p:ext>
    </p:extLst>
  </p:cSld>
  <p:clrMapOvr>
    <a:masterClrMapping/>
  </p:clrMapOvr>
</p:sldLayout>
</file>

<file path=ppt/slideLayouts/slideLayout29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68081795"/>
      </p:ext>
    </p:extLst>
  </p:cSld>
  <p:clrMapOvr>
    <a:masterClrMapping/>
  </p:clrMapOvr>
</p:sldLayout>
</file>

<file path=ppt/slideLayouts/slideLayout29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1195809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9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27556040"/>
      </p:ext>
    </p:extLst>
  </p:cSld>
  <p:clrMapOvr>
    <a:masterClrMapping/>
  </p:clrMapOvr>
</p:sldLayout>
</file>

<file path=ppt/slideLayouts/slideLayout2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909197"/>
      </p:ext>
    </p:extLst>
  </p:cSld>
  <p:clrMapOvr>
    <a:masterClrMapping/>
  </p:clrMapOvr>
</p:sldLayout>
</file>

<file path=ppt/slideLayouts/slideLayout29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50050544"/>
      </p:ext>
    </p:extLst>
  </p:cSld>
  <p:clrMapOvr>
    <a:masterClrMapping/>
  </p:clrMapOvr>
</p:sldLayout>
</file>

<file path=ppt/slideLayouts/slideLayout29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412943"/>
      </p:ext>
    </p:extLst>
  </p:cSld>
  <p:clrMapOvr>
    <a:masterClrMapping/>
  </p:clrMapOvr>
</p:sldLayout>
</file>

<file path=ppt/slideLayouts/slideLayout29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6049583"/>
      </p:ext>
    </p:extLst>
  </p:cSld>
  <p:clrMapOvr>
    <a:masterClrMapping/>
  </p:clrMapOvr>
</p:sldLayout>
</file>

<file path=ppt/slideLayouts/slideLayout29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234866"/>
      </p:ext>
    </p:extLst>
  </p:cSld>
  <p:clrMapOvr>
    <a:masterClrMapping/>
  </p:clrMapOvr>
</p:sldLayout>
</file>

<file path=ppt/slideLayouts/slideLayout29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25822116"/>
      </p:ext>
    </p:extLst>
  </p:cSld>
  <p:clrMapOvr>
    <a:masterClrMapping/>
  </p:clrMapOvr>
</p:sldLayout>
</file>

<file path=ppt/slideLayouts/slideLayout29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013015"/>
      </p:ext>
    </p:extLst>
  </p:cSld>
  <p:clrMapOvr>
    <a:masterClrMapping/>
  </p:clrMapOvr>
</p:sldLayout>
</file>

<file path=ppt/slideLayouts/slideLayout29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388507"/>
      </p:ext>
    </p:extLst>
  </p:cSld>
  <p:clrMapOvr>
    <a:masterClrMapping/>
  </p:clrMapOvr>
</p:sldLayout>
</file>

<file path=ppt/slideLayouts/slideLayout29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28353364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9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3202998"/>
      </p:ext>
    </p:extLst>
  </p:cSld>
  <p:clrMapOvr>
    <a:masterClrMapping/>
  </p:clrMapOvr>
</p:sldLayout>
</file>

<file path=ppt/slideLayouts/slideLayout29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1078644"/>
      </p:ext>
    </p:extLst>
  </p:cSld>
  <p:clrMapOvr>
    <a:masterClrMapping/>
  </p:clrMapOvr>
</p:sldLayout>
</file>

<file path=ppt/slideLayouts/slideLayout29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70976871"/>
      </p:ext>
    </p:extLst>
  </p:cSld>
  <p:clrMapOvr>
    <a:masterClrMapping/>
  </p:clrMapOvr>
</p:sldLayout>
</file>

<file path=ppt/slideLayouts/slideLayout29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9774901"/>
      </p:ext>
    </p:extLst>
  </p:cSld>
  <p:clrMapOvr>
    <a:masterClrMapping/>
  </p:clrMapOvr>
</p:sldLayout>
</file>

<file path=ppt/slideLayouts/slideLayout29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8822270"/>
      </p:ext>
    </p:extLst>
  </p:cSld>
  <p:clrMapOvr>
    <a:masterClrMapping/>
  </p:clrMapOvr>
</p:sldLayout>
</file>

<file path=ppt/slideLayouts/slideLayout29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90736874"/>
      </p:ext>
    </p:extLst>
  </p:cSld>
  <p:clrMapOvr>
    <a:masterClrMapping/>
  </p:clrMapOvr>
</p:sldLayout>
</file>

<file path=ppt/slideLayouts/slideLayout29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58609824"/>
      </p:ext>
    </p:extLst>
  </p:cSld>
  <p:clrMapOvr>
    <a:masterClrMapping/>
  </p:clrMapOvr>
</p:sldLayout>
</file>

<file path=ppt/slideLayouts/slideLayout29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924972"/>
      </p:ext>
    </p:extLst>
  </p:cSld>
  <p:clrMapOvr>
    <a:masterClrMapping/>
  </p:clrMapOvr>
</p:sldLayout>
</file>

<file path=ppt/slideLayouts/slideLayout29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89973256"/>
      </p:ext>
    </p:extLst>
  </p:cSld>
  <p:clrMapOvr>
    <a:masterClrMapping/>
  </p:clrMapOvr>
</p:sldLayout>
</file>

<file path=ppt/slideLayouts/slideLayout29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9982050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9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59725466"/>
      </p:ext>
    </p:extLst>
  </p:cSld>
  <p:clrMapOvr>
    <a:masterClrMapping/>
  </p:clrMapOvr>
</p:sldLayout>
</file>

<file path=ppt/slideLayouts/slideLayout29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62292055"/>
      </p:ext>
    </p:extLst>
  </p:cSld>
  <p:clrMapOvr>
    <a:masterClrMapping/>
  </p:clrMapOvr>
</p:sldLayout>
</file>

<file path=ppt/slideLayouts/slideLayout2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531512"/>
      </p:ext>
    </p:extLst>
  </p:cSld>
  <p:clrMapOvr>
    <a:masterClrMapping/>
  </p:clrMapOvr>
</p:sldLayout>
</file>

<file path=ppt/slideLayouts/slideLayout29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34790630"/>
      </p:ext>
    </p:extLst>
  </p:cSld>
  <p:clrMapOvr>
    <a:masterClrMapping/>
  </p:clrMapOvr>
</p:sldLayout>
</file>

<file path=ppt/slideLayouts/slideLayout29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8884576"/>
      </p:ext>
    </p:extLst>
  </p:cSld>
  <p:clrMapOvr>
    <a:masterClrMapping/>
  </p:clrMapOvr>
</p:sldLayout>
</file>

<file path=ppt/slideLayouts/slideLayout29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164828"/>
      </p:ext>
    </p:extLst>
  </p:cSld>
  <p:clrMapOvr>
    <a:masterClrMapping/>
  </p:clrMapOvr>
</p:sldLayout>
</file>

<file path=ppt/slideLayouts/slideLayout29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3750917"/>
      </p:ext>
    </p:extLst>
  </p:cSld>
  <p:clrMapOvr>
    <a:masterClrMapping/>
  </p:clrMapOvr>
</p:sldLayout>
</file>

<file path=ppt/slideLayouts/slideLayout29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0681262"/>
      </p:ext>
    </p:extLst>
  </p:cSld>
  <p:clrMapOvr>
    <a:masterClrMapping/>
  </p:clrMapOvr>
</p:sldLayout>
</file>

<file path=ppt/slideLayouts/slideLayout29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833792922"/>
      </p:ext>
    </p:extLst>
  </p:cSld>
  <p:clrMapOvr>
    <a:masterClrMapping/>
  </p:clrMapOvr>
</p:sldLayout>
</file>

<file path=ppt/slideLayouts/slideLayout299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597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oogle Shape;15;p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" name="Google Shape;16;p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" name="Google Shape;17;p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" name="Google Shape;18;p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;p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" name="Google Shape;20;p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" name="Google Shape;23;p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" name="Google Shape;24;p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Google Shape;169;p1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" name="Google Shape;170;p1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" name="Google Shape;171;p1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2" name="Google Shape;172;p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3" name="Google Shape;173;p1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4" name="Google Shape;174;p1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1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6" name="Google Shape;176;p1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6347540"/>
      </p:ext>
    </p:extLst>
  </p:cSld>
  <p:clrMapOvr>
    <a:masterClrMapping/>
  </p:clrMapOvr>
</p:sldLayout>
</file>

<file path=ppt/slideLayouts/slideLayout30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433192"/>
      </p:ext>
    </p:extLst>
  </p:cSld>
  <p:clrMapOvr>
    <a:masterClrMapping/>
  </p:clrMapOvr>
</p:sldLayout>
</file>

<file path=ppt/slideLayouts/slideLayout30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07588649"/>
      </p:ext>
    </p:extLst>
  </p:cSld>
  <p:clrMapOvr>
    <a:masterClrMapping/>
  </p:clrMapOvr>
</p:sldLayout>
</file>

<file path=ppt/slideLayouts/slideLayout300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6351725"/>
      </p:ext>
    </p:extLst>
  </p:cSld>
  <p:clrMapOvr>
    <a:masterClrMapping/>
  </p:clrMapOvr>
</p:sldLayout>
</file>

<file path=ppt/slideLayouts/slideLayout30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983980"/>
      </p:ext>
    </p:extLst>
  </p:cSld>
  <p:clrMapOvr>
    <a:masterClrMapping/>
  </p:clrMapOvr>
</p:sldLayout>
</file>

<file path=ppt/slideLayouts/slideLayout30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036402"/>
      </p:ext>
    </p:extLst>
  </p:cSld>
  <p:clrMapOvr>
    <a:masterClrMapping/>
  </p:clrMapOvr>
</p:sldLayout>
</file>

<file path=ppt/slideLayouts/slideLayout30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5207469"/>
      </p:ext>
    </p:extLst>
  </p:cSld>
  <p:clrMapOvr>
    <a:masterClrMapping/>
  </p:clrMapOvr>
</p:sldLayout>
</file>

<file path=ppt/slideLayouts/slideLayout30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586425"/>
      </p:ext>
    </p:extLst>
  </p:cSld>
  <p:clrMapOvr>
    <a:masterClrMapping/>
  </p:clrMapOvr>
</p:sldLayout>
</file>

<file path=ppt/slideLayouts/slideLayout30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244486060"/>
      </p:ext>
    </p:extLst>
  </p:cSld>
  <p:clrMapOvr>
    <a:masterClrMapping/>
  </p:clrMapOvr>
</p:sldLayout>
</file>

<file path=ppt/slideLayouts/slideLayout30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683301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390016"/>
      </p:ext>
    </p:extLst>
  </p:cSld>
  <p:clrMapOvr>
    <a:masterClrMapping/>
  </p:clrMapOvr>
</p:sldLayout>
</file>

<file path=ppt/slideLayouts/slideLayout30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0107249"/>
      </p:ext>
    </p:extLst>
  </p:cSld>
  <p:clrMapOvr>
    <a:masterClrMapping/>
  </p:clrMapOvr>
</p:sldLayout>
</file>

<file path=ppt/slideLayouts/slideLayout30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082803815"/>
      </p:ext>
    </p:extLst>
  </p:cSld>
  <p:clrMapOvr>
    <a:masterClrMapping/>
  </p:clrMapOvr>
</p:sldLayout>
</file>

<file path=ppt/slideLayouts/slideLayout30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5867630"/>
      </p:ext>
    </p:extLst>
  </p:cSld>
  <p:clrMapOvr>
    <a:masterClrMapping/>
  </p:clrMapOvr>
</p:sldLayout>
</file>

<file path=ppt/slideLayouts/slideLayout30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0514285"/>
      </p:ext>
    </p:extLst>
  </p:cSld>
  <p:clrMapOvr>
    <a:masterClrMapping/>
  </p:clrMapOvr>
</p:sldLayout>
</file>

<file path=ppt/slideLayouts/slideLayout30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982811801"/>
      </p:ext>
    </p:extLst>
  </p:cSld>
  <p:clrMapOvr>
    <a:masterClrMapping/>
  </p:clrMapOvr>
</p:sldLayout>
</file>

<file path=ppt/slideLayouts/slideLayout30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7784164"/>
      </p:ext>
    </p:extLst>
  </p:cSld>
  <p:clrMapOvr>
    <a:masterClrMapping/>
  </p:clrMapOvr>
</p:sldLayout>
</file>

<file path=ppt/slideLayouts/slideLayout30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500332"/>
      </p:ext>
    </p:extLst>
  </p:cSld>
  <p:clrMapOvr>
    <a:masterClrMapping/>
  </p:clrMapOvr>
</p:sldLayout>
</file>

<file path=ppt/slideLayouts/slideLayout30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684235"/>
      </p:ext>
    </p:extLst>
  </p:cSld>
  <p:clrMapOvr>
    <a:masterClrMapping/>
  </p:clrMapOvr>
</p:sldLayout>
</file>

<file path=ppt/slideLayouts/slideLayout30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539416679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2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917760"/>
      </p:ext>
    </p:extLst>
  </p:cSld>
  <p:clrMapOvr>
    <a:masterClrMapping/>
  </p:clrMapOvr>
</p:sldLayout>
</file>

<file path=ppt/slideLayouts/slideLayout30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173591"/>
      </p:ext>
    </p:extLst>
  </p:cSld>
  <p:clrMapOvr>
    <a:masterClrMapping/>
  </p:clrMapOvr>
</p:sldLayout>
</file>

<file path=ppt/slideLayouts/slideLayout30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033750382"/>
      </p:ext>
    </p:extLst>
  </p:cSld>
  <p:clrMapOvr>
    <a:masterClrMapping/>
  </p:clrMapOvr>
</p:sldLayout>
</file>

<file path=ppt/slideLayouts/slideLayout30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704316"/>
      </p:ext>
    </p:extLst>
  </p:cSld>
  <p:clrMapOvr>
    <a:masterClrMapping/>
  </p:clrMapOvr>
</p:sldLayout>
</file>

<file path=ppt/slideLayouts/slideLayout30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2816421"/>
      </p:ext>
    </p:extLst>
  </p:cSld>
  <p:clrMapOvr>
    <a:masterClrMapping/>
  </p:clrMapOvr>
</p:sldLayout>
</file>

<file path=ppt/slideLayouts/slideLayout30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8322102"/>
      </p:ext>
    </p:extLst>
  </p:cSld>
  <p:clrMapOvr>
    <a:masterClrMapping/>
  </p:clrMapOvr>
</p:sldLayout>
</file>

<file path=ppt/slideLayouts/slideLayout30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80562959"/>
      </p:ext>
    </p:extLst>
  </p:cSld>
  <p:clrMapOvr>
    <a:masterClrMapping/>
  </p:clrMapOvr>
</p:sldLayout>
</file>

<file path=ppt/slideLayouts/slideLayout30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136426"/>
      </p:ext>
    </p:extLst>
  </p:cSld>
  <p:clrMapOvr>
    <a:masterClrMapping/>
  </p:clrMapOvr>
</p:sldLayout>
</file>

<file path=ppt/slideLayouts/slideLayout30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14999576"/>
      </p:ext>
    </p:extLst>
  </p:cSld>
  <p:clrMapOvr>
    <a:masterClrMapping/>
  </p:clrMapOvr>
</p:sldLayout>
</file>

<file path=ppt/slideLayouts/slideLayout30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035675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3103115"/>
      </p:ext>
    </p:extLst>
  </p:cSld>
  <p:clrMapOvr>
    <a:masterClrMapping/>
  </p:clrMapOvr>
</p:sldLayout>
</file>

<file path=ppt/slideLayouts/slideLayout30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05245167"/>
      </p:ext>
    </p:extLst>
  </p:cSld>
  <p:clrMapOvr>
    <a:masterClrMapping/>
  </p:clrMapOvr>
</p:sldLayout>
</file>

<file path=ppt/slideLayouts/slideLayout30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0406404"/>
      </p:ext>
    </p:extLst>
  </p:cSld>
  <p:clrMapOvr>
    <a:masterClrMapping/>
  </p:clrMapOvr>
</p:sldLayout>
</file>

<file path=ppt/slideLayouts/slideLayout30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40428519"/>
      </p:ext>
    </p:extLst>
  </p:cSld>
  <p:clrMapOvr>
    <a:masterClrMapping/>
  </p:clrMapOvr>
</p:sldLayout>
</file>

<file path=ppt/slideLayouts/slideLayout30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82990609"/>
      </p:ext>
    </p:extLst>
  </p:cSld>
  <p:clrMapOvr>
    <a:masterClrMapping/>
  </p:clrMapOvr>
</p:sldLayout>
</file>

<file path=ppt/slideLayouts/slideLayout3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441867"/>
      </p:ext>
    </p:extLst>
  </p:cSld>
  <p:clrMapOvr>
    <a:masterClrMapping/>
  </p:clrMapOvr>
</p:sldLayout>
</file>

<file path=ppt/slideLayouts/slideLayout30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56250"/>
      </p:ext>
    </p:extLst>
  </p:cSld>
  <p:clrMapOvr>
    <a:masterClrMapping/>
  </p:clrMapOvr>
</p:sldLayout>
</file>

<file path=ppt/slideLayouts/slideLayout30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58056572"/>
      </p:ext>
    </p:extLst>
  </p:cSld>
  <p:clrMapOvr>
    <a:masterClrMapping/>
  </p:clrMapOvr>
</p:sldLayout>
</file>

<file path=ppt/slideLayouts/slideLayout30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79656004"/>
      </p:ext>
    </p:extLst>
  </p:cSld>
  <p:clrMapOvr>
    <a:masterClrMapping/>
  </p:clrMapOvr>
</p:sldLayout>
</file>

<file path=ppt/slideLayouts/slideLayout30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90430812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87283117"/>
      </p:ext>
    </p:extLst>
  </p:cSld>
  <p:clrMapOvr>
    <a:masterClrMapping/>
  </p:clrMapOvr>
</p:sldLayout>
</file>

<file path=ppt/slideLayouts/slideLayout30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5285358"/>
      </p:ext>
    </p:extLst>
  </p:cSld>
  <p:clrMapOvr>
    <a:masterClrMapping/>
  </p:clrMapOvr>
</p:sldLayout>
</file>

<file path=ppt/slideLayouts/slideLayout30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97141769"/>
      </p:ext>
    </p:extLst>
  </p:cSld>
  <p:clrMapOvr>
    <a:masterClrMapping/>
  </p:clrMapOvr>
</p:sldLayout>
</file>

<file path=ppt/slideLayouts/slideLayout30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2001204"/>
      </p:ext>
    </p:extLst>
  </p:cSld>
  <p:clrMapOvr>
    <a:masterClrMapping/>
  </p:clrMapOvr>
</p:sldLayout>
</file>

<file path=ppt/slideLayouts/slideLayout30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03072810"/>
      </p:ext>
    </p:extLst>
  </p:cSld>
  <p:clrMapOvr>
    <a:masterClrMapping/>
  </p:clrMapOvr>
</p:sldLayout>
</file>

<file path=ppt/slideLayouts/slideLayout30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89476916"/>
      </p:ext>
    </p:extLst>
  </p:cSld>
  <p:clrMapOvr>
    <a:masterClrMapping/>
  </p:clrMapOvr>
</p:sldLayout>
</file>

<file path=ppt/slideLayouts/slideLayout30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279144"/>
      </p:ext>
    </p:extLst>
  </p:cSld>
  <p:clrMapOvr>
    <a:masterClrMapping/>
  </p:clrMapOvr>
</p:sldLayout>
</file>

<file path=ppt/slideLayouts/slideLayout30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43455920"/>
      </p:ext>
    </p:extLst>
  </p:cSld>
  <p:clrMapOvr>
    <a:masterClrMapping/>
  </p:clrMapOvr>
</p:sldLayout>
</file>

<file path=ppt/slideLayouts/slideLayout30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03593211"/>
      </p:ext>
    </p:extLst>
  </p:cSld>
  <p:clrMapOvr>
    <a:masterClrMapping/>
  </p:clrMapOvr>
</p:sldLayout>
</file>

<file path=ppt/slideLayouts/slideLayout30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684456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849299"/>
      </p:ext>
    </p:extLst>
  </p:cSld>
  <p:clrMapOvr>
    <a:masterClrMapping/>
  </p:clrMapOvr>
</p:sldLayout>
</file>

<file path=ppt/slideLayouts/slideLayout30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04909409"/>
      </p:ext>
    </p:extLst>
  </p:cSld>
  <p:clrMapOvr>
    <a:masterClrMapping/>
  </p:clrMapOvr>
</p:sldLayout>
</file>

<file path=ppt/slideLayouts/slideLayout30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0154431"/>
      </p:ext>
    </p:extLst>
  </p:cSld>
  <p:clrMapOvr>
    <a:masterClrMapping/>
  </p:clrMapOvr>
</p:sldLayout>
</file>

<file path=ppt/slideLayouts/slideLayout30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340215"/>
      </p:ext>
    </p:extLst>
  </p:cSld>
  <p:clrMapOvr>
    <a:masterClrMapping/>
  </p:clrMapOvr>
</p:sldLayout>
</file>

<file path=ppt/slideLayouts/slideLayout30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18155828"/>
      </p:ext>
    </p:extLst>
  </p:cSld>
  <p:clrMapOvr>
    <a:masterClrMapping/>
  </p:clrMapOvr>
</p:sldLayout>
</file>

<file path=ppt/slideLayouts/slideLayout30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1777650"/>
      </p:ext>
    </p:extLst>
  </p:cSld>
  <p:clrMapOvr>
    <a:masterClrMapping/>
  </p:clrMapOvr>
</p:sldLayout>
</file>

<file path=ppt/slideLayouts/slideLayout30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6581266"/>
      </p:ext>
    </p:extLst>
  </p:cSld>
  <p:clrMapOvr>
    <a:masterClrMapping/>
  </p:clrMapOvr>
</p:sldLayout>
</file>

<file path=ppt/slideLayouts/slideLayout30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31281809"/>
      </p:ext>
    </p:extLst>
  </p:cSld>
  <p:clrMapOvr>
    <a:masterClrMapping/>
  </p:clrMapOvr>
</p:sldLayout>
</file>

<file path=ppt/slideLayouts/slideLayout30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07386554"/>
      </p:ext>
    </p:extLst>
  </p:cSld>
  <p:clrMapOvr>
    <a:masterClrMapping/>
  </p:clrMapOvr>
</p:sldLayout>
</file>

<file path=ppt/slideLayouts/slideLayout30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89291510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236600"/>
      </p:ext>
    </p:extLst>
  </p:cSld>
  <p:clrMapOvr>
    <a:masterClrMapping/>
  </p:clrMapOvr>
</p:sldLayout>
</file>

<file path=ppt/slideLayouts/slideLayout30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514994"/>
      </p:ext>
    </p:extLst>
  </p:cSld>
  <p:clrMapOvr>
    <a:masterClrMapping/>
  </p:clrMapOvr>
</p:sldLayout>
</file>

<file path=ppt/slideLayouts/slideLayout30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95873086"/>
      </p:ext>
    </p:extLst>
  </p:cSld>
  <p:clrMapOvr>
    <a:masterClrMapping/>
  </p:clrMapOvr>
</p:sldLayout>
</file>

<file path=ppt/slideLayouts/slideLayout30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36480305"/>
      </p:ext>
    </p:extLst>
  </p:cSld>
  <p:clrMapOvr>
    <a:masterClrMapping/>
  </p:clrMapOvr>
</p:sldLayout>
</file>

<file path=ppt/slideLayouts/slideLayout30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77772827"/>
      </p:ext>
    </p:extLst>
  </p:cSld>
  <p:clrMapOvr>
    <a:masterClrMapping/>
  </p:clrMapOvr>
</p:sldLayout>
</file>

<file path=ppt/slideLayouts/slideLayout30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7211613"/>
      </p:ext>
    </p:extLst>
  </p:cSld>
  <p:clrMapOvr>
    <a:masterClrMapping/>
  </p:clrMapOvr>
</p:sldLayout>
</file>

<file path=ppt/slideLayouts/slideLayout30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804651"/>
      </p:ext>
    </p:extLst>
  </p:cSld>
  <p:clrMapOvr>
    <a:masterClrMapping/>
  </p:clrMapOvr>
</p:sldLayout>
</file>

<file path=ppt/slideLayouts/slideLayout30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88918781"/>
      </p:ext>
    </p:extLst>
  </p:cSld>
  <p:clrMapOvr>
    <a:masterClrMapping/>
  </p:clrMapOvr>
</p:sldLayout>
</file>

<file path=ppt/slideLayouts/slideLayout30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02620989"/>
      </p:ext>
    </p:extLst>
  </p:cSld>
  <p:clrMapOvr>
    <a:masterClrMapping/>
  </p:clrMapOvr>
</p:sldLayout>
</file>

<file path=ppt/slideLayouts/slideLayout30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33213116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323895"/>
      </p:ext>
    </p:extLst>
  </p:cSld>
  <p:clrMapOvr>
    <a:masterClrMapping/>
  </p:clrMapOvr>
</p:sldLayout>
</file>

<file path=ppt/slideLayouts/slideLayout30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0470322"/>
      </p:ext>
    </p:extLst>
  </p:cSld>
  <p:clrMapOvr>
    <a:masterClrMapping/>
  </p:clrMapOvr>
</p:sldLayout>
</file>

<file path=ppt/slideLayouts/slideLayout30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789653"/>
      </p:ext>
    </p:extLst>
  </p:cSld>
  <p:clrMapOvr>
    <a:masterClrMapping/>
  </p:clrMapOvr>
</p:sldLayout>
</file>

<file path=ppt/slideLayouts/slideLayout30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93780110"/>
      </p:ext>
    </p:extLst>
  </p:cSld>
  <p:clrMapOvr>
    <a:masterClrMapping/>
  </p:clrMapOvr>
</p:sldLayout>
</file>

<file path=ppt/slideLayouts/slideLayout30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41203403"/>
      </p:ext>
    </p:extLst>
  </p:cSld>
  <p:clrMapOvr>
    <a:masterClrMapping/>
  </p:clrMapOvr>
</p:sldLayout>
</file>

<file path=ppt/slideLayouts/slideLayout30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77776638"/>
      </p:ext>
    </p:extLst>
  </p:cSld>
  <p:clrMapOvr>
    <a:masterClrMapping/>
  </p:clrMapOvr>
</p:sldLayout>
</file>

<file path=ppt/slideLayouts/slideLayout30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3720076"/>
      </p:ext>
    </p:extLst>
  </p:cSld>
  <p:clrMapOvr>
    <a:masterClrMapping/>
  </p:clrMapOvr>
</p:sldLayout>
</file>

<file path=ppt/slideLayouts/slideLayout30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5473644"/>
      </p:ext>
    </p:extLst>
  </p:cSld>
  <p:clrMapOvr>
    <a:masterClrMapping/>
  </p:clrMapOvr>
</p:sldLayout>
</file>

<file path=ppt/slideLayouts/slideLayout30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532997"/>
      </p:ext>
    </p:extLst>
  </p:cSld>
  <p:clrMapOvr>
    <a:masterClrMapping/>
  </p:clrMapOvr>
</p:sldLayout>
</file>

<file path=ppt/slideLayouts/slideLayout30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0417764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5765" y="1452563"/>
            <a:ext cx="12192000" cy="100229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51529" y="2649682"/>
            <a:ext cx="10040471" cy="1194955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117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23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351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468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585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70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82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93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7195923"/>
      </p:ext>
    </p:extLst>
  </p:cSld>
  <p:clrMapOvr>
    <a:masterClrMapping/>
  </p:clrMapOvr>
</p:sldLayout>
</file>

<file path=ppt/slideLayouts/slideLayout30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2843083"/>
      </p:ext>
    </p:extLst>
  </p:cSld>
  <p:clrMapOvr>
    <a:masterClrMapping/>
  </p:clrMapOvr>
</p:sldLayout>
</file>

<file path=ppt/slideLayouts/slideLayout30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19220987"/>
      </p:ext>
    </p:extLst>
  </p:cSld>
  <p:clrMapOvr>
    <a:masterClrMapping/>
  </p:clrMapOvr>
</p:sldLayout>
</file>

<file path=ppt/slideLayouts/slideLayout30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2336351"/>
      </p:ext>
    </p:extLst>
  </p:cSld>
  <p:clrMapOvr>
    <a:masterClrMapping/>
  </p:clrMapOvr>
</p:sldLayout>
</file>

<file path=ppt/slideLayouts/slideLayout30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67179690"/>
      </p:ext>
    </p:extLst>
  </p:cSld>
  <p:clrMapOvr>
    <a:masterClrMapping/>
  </p:clrMapOvr>
</p:sldLayout>
</file>

<file path=ppt/slideLayouts/slideLayout30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02820618"/>
      </p:ext>
    </p:extLst>
  </p:cSld>
  <p:clrMapOvr>
    <a:masterClrMapping/>
  </p:clrMapOvr>
</p:sldLayout>
</file>

<file path=ppt/slideLayouts/slideLayout30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0458236"/>
      </p:ext>
    </p:extLst>
  </p:cSld>
  <p:clrMapOvr>
    <a:masterClrMapping/>
  </p:clrMapOvr>
</p:sldLayout>
</file>

<file path=ppt/slideLayouts/slideLayout30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23047386"/>
      </p:ext>
    </p:extLst>
  </p:cSld>
  <p:clrMapOvr>
    <a:masterClrMapping/>
  </p:clrMapOvr>
</p:sldLayout>
</file>

<file path=ppt/slideLayouts/slideLayout30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48712771"/>
      </p:ext>
    </p:extLst>
  </p:cSld>
  <p:clrMapOvr>
    <a:masterClrMapping/>
  </p:clrMapOvr>
</p:sldLayout>
</file>

<file path=ppt/slideLayouts/slideLayout30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24556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0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7223192"/>
      </p:ext>
    </p:extLst>
  </p:cSld>
  <p:clrMapOvr>
    <a:masterClrMapping/>
  </p:clrMapOvr>
</p:sldLayout>
</file>

<file path=ppt/slideLayouts/slideLayout30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67475632"/>
      </p:ext>
    </p:extLst>
  </p:cSld>
  <p:clrMapOvr>
    <a:masterClrMapping/>
  </p:clrMapOvr>
</p:sldLayout>
</file>

<file path=ppt/slideLayouts/slideLayout30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17207029"/>
      </p:ext>
    </p:extLst>
  </p:cSld>
  <p:clrMapOvr>
    <a:masterClrMapping/>
  </p:clrMapOvr>
</p:sldLayout>
</file>

<file path=ppt/slideLayouts/slideLayout30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21238200"/>
      </p:ext>
    </p:extLst>
  </p:cSld>
  <p:clrMapOvr>
    <a:masterClrMapping/>
  </p:clrMapOvr>
</p:sldLayout>
</file>

<file path=ppt/slideLayouts/slideLayout30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42892392"/>
      </p:ext>
    </p:extLst>
  </p:cSld>
  <p:clrMapOvr>
    <a:masterClrMapping/>
  </p:clrMapOvr>
</p:sldLayout>
</file>

<file path=ppt/slideLayouts/slideLayout30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653621"/>
      </p:ext>
    </p:extLst>
  </p:cSld>
  <p:clrMapOvr>
    <a:masterClrMapping/>
  </p:clrMapOvr>
</p:sldLayout>
</file>

<file path=ppt/slideLayouts/slideLayout30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50423252"/>
      </p:ext>
    </p:extLst>
  </p:cSld>
  <p:clrMapOvr>
    <a:masterClrMapping/>
  </p:clrMapOvr>
</p:sldLayout>
</file>

<file path=ppt/slideLayouts/slideLayout30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11842781"/>
      </p:ext>
    </p:extLst>
  </p:cSld>
  <p:clrMapOvr>
    <a:masterClrMapping/>
  </p:clrMapOvr>
</p:sldLayout>
</file>

<file path=ppt/slideLayouts/slideLayout30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03512298"/>
      </p:ext>
    </p:extLst>
  </p:cSld>
  <p:clrMapOvr>
    <a:masterClrMapping/>
  </p:clrMapOvr>
</p:sldLayout>
</file>

<file path=ppt/slideLayouts/slideLayout30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8722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8" name="Google Shape;178;p1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9" name="Google Shape;179;p1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0" name="Google Shape;180;p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" name="Google Shape;181;p1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2" name="Google Shape;182;p1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3" name="Google Shape;183;p1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" name="Google Shape;184;p1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3040" y="3004705"/>
            <a:ext cx="12192000" cy="928688"/>
          </a:xfrm>
        </p:spPr>
        <p:txBody>
          <a:bodyPr anchor="t"/>
          <a:lstStyle>
            <a:lvl1pPr algn="l">
              <a:defRPr sz="272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3040" y="1981850"/>
            <a:ext cx="12192000" cy="1022855"/>
          </a:xfrm>
        </p:spPr>
        <p:txBody>
          <a:bodyPr anchor="b"/>
          <a:lstStyle>
            <a:lvl1pPr marL="0" indent="0">
              <a:buNone/>
              <a:defRPr sz="1364">
                <a:solidFill>
                  <a:schemeClr val="tx1">
                    <a:tint val="75000"/>
                  </a:schemeClr>
                </a:solidFill>
              </a:defRPr>
            </a:lvl1pPr>
            <a:lvl2pPr marL="311719" indent="0">
              <a:buNone/>
              <a:defRPr sz="1227">
                <a:solidFill>
                  <a:schemeClr val="tx1">
                    <a:tint val="75000"/>
                  </a:schemeClr>
                </a:solidFill>
              </a:defRPr>
            </a:lvl2pPr>
            <a:lvl3pPr marL="623438" indent="0">
              <a:buNone/>
              <a:defRPr sz="1091">
                <a:solidFill>
                  <a:schemeClr val="tx1">
                    <a:tint val="75000"/>
                  </a:schemeClr>
                </a:solidFill>
              </a:defRPr>
            </a:lvl3pPr>
            <a:lvl4pPr marL="935157" indent="0">
              <a:buNone/>
              <a:defRPr sz="955">
                <a:solidFill>
                  <a:schemeClr val="tx1">
                    <a:tint val="75000"/>
                  </a:schemeClr>
                </a:solidFill>
              </a:defRPr>
            </a:lvl4pPr>
            <a:lvl5pPr marL="1246876" indent="0">
              <a:buNone/>
              <a:defRPr sz="955">
                <a:solidFill>
                  <a:schemeClr val="tx1">
                    <a:tint val="75000"/>
                  </a:schemeClr>
                </a:solidFill>
              </a:defRPr>
            </a:lvl5pPr>
            <a:lvl6pPr marL="1558595" indent="0">
              <a:buNone/>
              <a:defRPr sz="955">
                <a:solidFill>
                  <a:schemeClr val="tx1">
                    <a:tint val="75000"/>
                  </a:schemeClr>
                </a:solidFill>
              </a:defRPr>
            </a:lvl6pPr>
            <a:lvl7pPr marL="1870314" indent="0">
              <a:buNone/>
              <a:defRPr sz="955">
                <a:solidFill>
                  <a:schemeClr val="tx1">
                    <a:tint val="75000"/>
                  </a:schemeClr>
                </a:solidFill>
              </a:defRPr>
            </a:lvl7pPr>
            <a:lvl8pPr marL="2182033" indent="0">
              <a:buNone/>
              <a:defRPr sz="955">
                <a:solidFill>
                  <a:schemeClr val="tx1">
                    <a:tint val="75000"/>
                  </a:schemeClr>
                </a:solidFill>
              </a:defRPr>
            </a:lvl8pPr>
            <a:lvl9pPr marL="2493752" indent="0">
              <a:buNone/>
              <a:defRPr sz="955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3398542"/>
      </p:ext>
    </p:extLst>
  </p:cSld>
  <p:clrMapOvr>
    <a:masterClrMapping/>
  </p:clrMapOvr>
</p:sldLayout>
</file>

<file path=ppt/slideLayouts/slideLayout3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3690243"/>
      </p:ext>
    </p:extLst>
  </p:cSld>
  <p:clrMapOvr>
    <a:masterClrMapping/>
  </p:clrMapOvr>
</p:sldLayout>
</file>

<file path=ppt/slideLayouts/slideLayout3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44054065"/>
      </p:ext>
    </p:extLst>
  </p:cSld>
  <p:clrMapOvr>
    <a:masterClrMapping/>
  </p:clrMapOvr>
</p:sldLayout>
</file>

<file path=ppt/slideLayouts/slideLayout3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416532"/>
      </p:ext>
    </p:extLst>
  </p:cSld>
  <p:clrMapOvr>
    <a:masterClrMapping/>
  </p:clrMapOvr>
</p:sldLayout>
</file>

<file path=ppt/slideLayouts/slideLayout3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467113"/>
      </p:ext>
    </p:extLst>
  </p:cSld>
  <p:clrMapOvr>
    <a:masterClrMapping/>
  </p:clrMapOvr>
</p:sldLayout>
</file>

<file path=ppt/slideLayouts/slideLayout3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62670983"/>
      </p:ext>
    </p:extLst>
  </p:cSld>
  <p:clrMapOvr>
    <a:masterClrMapping/>
  </p:clrMapOvr>
</p:sldLayout>
</file>

<file path=ppt/slideLayouts/slideLayout3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34451842"/>
      </p:ext>
    </p:extLst>
  </p:cSld>
  <p:clrMapOvr>
    <a:masterClrMapping/>
  </p:clrMapOvr>
</p:sldLayout>
</file>

<file path=ppt/slideLayouts/slideLayout3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880152"/>
      </p:ext>
    </p:extLst>
  </p:cSld>
  <p:clrMapOvr>
    <a:masterClrMapping/>
  </p:clrMapOvr>
</p:sldLayout>
</file>

<file path=ppt/slideLayouts/slideLayout3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31415259"/>
      </p:ext>
    </p:extLst>
  </p:cSld>
  <p:clrMapOvr>
    <a:masterClrMapping/>
  </p:clrMapOvr>
</p:sldLayout>
</file>

<file path=ppt/slideLayouts/slideLayout3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3985732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7176" y="1091046"/>
            <a:ext cx="6335059" cy="3085884"/>
          </a:xfrm>
        </p:spPr>
        <p:txBody>
          <a:bodyPr/>
          <a:lstStyle>
            <a:lvl1pPr>
              <a:defRPr sz="1909"/>
            </a:lvl1pPr>
            <a:lvl2pPr>
              <a:defRPr sz="1636"/>
            </a:lvl2pPr>
            <a:lvl3pPr>
              <a:defRPr sz="1364"/>
            </a:lvl3pPr>
            <a:lvl4pPr>
              <a:defRPr sz="1227"/>
            </a:lvl4pPr>
            <a:lvl5pPr>
              <a:defRPr sz="1227"/>
            </a:lvl5pPr>
            <a:lvl6pPr>
              <a:defRPr sz="1227"/>
            </a:lvl6pPr>
            <a:lvl7pPr>
              <a:defRPr sz="1227"/>
            </a:lvl7pPr>
            <a:lvl8pPr>
              <a:defRPr sz="1227"/>
            </a:lvl8pPr>
            <a:lvl9pPr>
              <a:defRPr sz="122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291294" y="1091046"/>
            <a:ext cx="6335059" cy="3085884"/>
          </a:xfrm>
        </p:spPr>
        <p:txBody>
          <a:bodyPr/>
          <a:lstStyle>
            <a:lvl1pPr>
              <a:defRPr sz="1909"/>
            </a:lvl1pPr>
            <a:lvl2pPr>
              <a:defRPr sz="1636"/>
            </a:lvl2pPr>
            <a:lvl3pPr>
              <a:defRPr sz="1364"/>
            </a:lvl3pPr>
            <a:lvl4pPr>
              <a:defRPr sz="1227"/>
            </a:lvl4pPr>
            <a:lvl5pPr>
              <a:defRPr sz="1227"/>
            </a:lvl5pPr>
            <a:lvl6pPr>
              <a:defRPr sz="1227"/>
            </a:lvl6pPr>
            <a:lvl7pPr>
              <a:defRPr sz="1227"/>
            </a:lvl7pPr>
            <a:lvl8pPr>
              <a:defRPr sz="1227"/>
            </a:lvl8pPr>
            <a:lvl9pPr>
              <a:defRPr sz="122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25391646"/>
      </p:ext>
    </p:extLst>
  </p:cSld>
  <p:clrMapOvr>
    <a:masterClrMapping/>
  </p:clrMapOvr>
</p:sldLayout>
</file>

<file path=ppt/slideLayouts/slideLayout3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936398"/>
      </p:ext>
    </p:extLst>
  </p:cSld>
  <p:clrMapOvr>
    <a:masterClrMapping/>
  </p:clrMapOvr>
</p:sldLayout>
</file>

<file path=ppt/slideLayouts/slideLayout3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839611"/>
      </p:ext>
    </p:extLst>
  </p:cSld>
  <p:clrMapOvr>
    <a:masterClrMapping/>
  </p:clrMapOvr>
</p:sldLayout>
</file>

<file path=ppt/slideLayouts/slideLayout3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3233515"/>
      </p:ext>
    </p:extLst>
  </p:cSld>
  <p:clrMapOvr>
    <a:masterClrMapping/>
  </p:clrMapOvr>
</p:sldLayout>
</file>

<file path=ppt/slideLayouts/slideLayout3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64066"/>
      </p:ext>
    </p:extLst>
  </p:cSld>
  <p:clrMapOvr>
    <a:masterClrMapping/>
  </p:clrMapOvr>
</p:sldLayout>
</file>

<file path=ppt/slideLayouts/slideLayout31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01246185"/>
      </p:ext>
    </p:extLst>
  </p:cSld>
  <p:clrMapOvr>
    <a:masterClrMapping/>
  </p:clrMapOvr>
</p:sldLayout>
</file>

<file path=ppt/slideLayouts/slideLayout3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90666058"/>
      </p:ext>
    </p:extLst>
  </p:cSld>
  <p:clrMapOvr>
    <a:masterClrMapping/>
  </p:clrMapOvr>
</p:sldLayout>
</file>

<file path=ppt/slideLayouts/slideLayout3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3286606"/>
      </p:ext>
    </p:extLst>
  </p:cSld>
  <p:clrMapOvr>
    <a:masterClrMapping/>
  </p:clrMapOvr>
</p:sldLayout>
</file>

<file path=ppt/slideLayouts/slideLayout3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09729"/>
      </p:ext>
    </p:extLst>
  </p:cSld>
  <p:clrMapOvr>
    <a:masterClrMapping/>
  </p:clrMapOvr>
</p:sldLayout>
</file>

<file path=ppt/slideLayouts/slideLayout3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35621150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7176" y="1046668"/>
            <a:ext cx="6337550" cy="436201"/>
          </a:xfrm>
        </p:spPr>
        <p:txBody>
          <a:bodyPr anchor="b"/>
          <a:lstStyle>
            <a:lvl1pPr marL="0" indent="0">
              <a:buNone/>
              <a:defRPr sz="1636" b="1"/>
            </a:lvl1pPr>
            <a:lvl2pPr marL="311719" indent="0">
              <a:buNone/>
              <a:defRPr sz="1364" b="1"/>
            </a:lvl2pPr>
            <a:lvl3pPr marL="623438" indent="0">
              <a:buNone/>
              <a:defRPr sz="1227" b="1"/>
            </a:lvl3pPr>
            <a:lvl4pPr marL="935157" indent="0">
              <a:buNone/>
              <a:defRPr sz="1091" b="1"/>
            </a:lvl4pPr>
            <a:lvl5pPr marL="1246876" indent="0">
              <a:buNone/>
              <a:defRPr sz="1091" b="1"/>
            </a:lvl5pPr>
            <a:lvl6pPr marL="1558595" indent="0">
              <a:buNone/>
              <a:defRPr sz="1091" b="1"/>
            </a:lvl6pPr>
            <a:lvl7pPr marL="1870314" indent="0">
              <a:buNone/>
              <a:defRPr sz="1091" b="1"/>
            </a:lvl7pPr>
            <a:lvl8pPr marL="2182033" indent="0">
              <a:buNone/>
              <a:defRPr sz="1091" b="1"/>
            </a:lvl8pPr>
            <a:lvl9pPr marL="2493752" indent="0">
              <a:buNone/>
              <a:defRPr sz="109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17176" y="1482869"/>
            <a:ext cx="6337550" cy="2694060"/>
          </a:xfrm>
        </p:spPr>
        <p:txBody>
          <a:bodyPr/>
          <a:lstStyle>
            <a:lvl1pPr>
              <a:defRPr sz="1636"/>
            </a:lvl1pPr>
            <a:lvl2pPr>
              <a:defRPr sz="1364"/>
            </a:lvl2pPr>
            <a:lvl3pPr>
              <a:defRPr sz="1227"/>
            </a:lvl3pPr>
            <a:lvl4pPr>
              <a:defRPr sz="1091"/>
            </a:lvl4pPr>
            <a:lvl5pPr>
              <a:defRPr sz="1091"/>
            </a:lvl5pPr>
            <a:lvl6pPr>
              <a:defRPr sz="1091"/>
            </a:lvl6pPr>
            <a:lvl7pPr>
              <a:defRPr sz="1091"/>
            </a:lvl7pPr>
            <a:lvl8pPr>
              <a:defRPr sz="1091"/>
            </a:lvl8pPr>
            <a:lvl9pPr>
              <a:defRPr sz="10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7286315" y="1046668"/>
            <a:ext cx="6340039" cy="436201"/>
          </a:xfrm>
        </p:spPr>
        <p:txBody>
          <a:bodyPr anchor="b"/>
          <a:lstStyle>
            <a:lvl1pPr marL="0" indent="0">
              <a:buNone/>
              <a:defRPr sz="1636" b="1"/>
            </a:lvl1pPr>
            <a:lvl2pPr marL="311719" indent="0">
              <a:buNone/>
              <a:defRPr sz="1364" b="1"/>
            </a:lvl2pPr>
            <a:lvl3pPr marL="623438" indent="0">
              <a:buNone/>
              <a:defRPr sz="1227" b="1"/>
            </a:lvl3pPr>
            <a:lvl4pPr marL="935157" indent="0">
              <a:buNone/>
              <a:defRPr sz="1091" b="1"/>
            </a:lvl4pPr>
            <a:lvl5pPr marL="1246876" indent="0">
              <a:buNone/>
              <a:defRPr sz="1091" b="1"/>
            </a:lvl5pPr>
            <a:lvl6pPr marL="1558595" indent="0">
              <a:buNone/>
              <a:defRPr sz="1091" b="1"/>
            </a:lvl6pPr>
            <a:lvl7pPr marL="1870314" indent="0">
              <a:buNone/>
              <a:defRPr sz="1091" b="1"/>
            </a:lvl7pPr>
            <a:lvl8pPr marL="2182033" indent="0">
              <a:buNone/>
              <a:defRPr sz="1091" b="1"/>
            </a:lvl8pPr>
            <a:lvl9pPr marL="2493752" indent="0">
              <a:buNone/>
              <a:defRPr sz="109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7286315" y="1482869"/>
            <a:ext cx="6340039" cy="2694060"/>
          </a:xfrm>
        </p:spPr>
        <p:txBody>
          <a:bodyPr/>
          <a:lstStyle>
            <a:lvl1pPr>
              <a:defRPr sz="1636"/>
            </a:lvl1pPr>
            <a:lvl2pPr>
              <a:defRPr sz="1364"/>
            </a:lvl2pPr>
            <a:lvl3pPr>
              <a:defRPr sz="1227"/>
            </a:lvl3pPr>
            <a:lvl4pPr>
              <a:defRPr sz="1091"/>
            </a:lvl4pPr>
            <a:lvl5pPr>
              <a:defRPr sz="1091"/>
            </a:lvl5pPr>
            <a:lvl6pPr>
              <a:defRPr sz="1091"/>
            </a:lvl6pPr>
            <a:lvl7pPr>
              <a:defRPr sz="1091"/>
            </a:lvl7pPr>
            <a:lvl8pPr>
              <a:defRPr sz="1091"/>
            </a:lvl8pPr>
            <a:lvl9pPr>
              <a:defRPr sz="10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2921086"/>
      </p:ext>
    </p:extLst>
  </p:cSld>
  <p:clrMapOvr>
    <a:masterClrMapping/>
  </p:clrMapOvr>
</p:sldLayout>
</file>

<file path=ppt/slideLayouts/slideLayout3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87312758"/>
      </p:ext>
    </p:extLst>
  </p:cSld>
  <p:clrMapOvr>
    <a:masterClrMapping/>
  </p:clrMapOvr>
</p:sldLayout>
</file>

<file path=ppt/slideLayouts/slideLayout31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86586704"/>
      </p:ext>
    </p:extLst>
  </p:cSld>
  <p:clrMapOvr>
    <a:masterClrMapping/>
  </p:clrMapOvr>
</p:sldLayout>
</file>

<file path=ppt/slideLayouts/slideLayout3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533041"/>
      </p:ext>
    </p:extLst>
  </p:cSld>
  <p:clrMapOvr>
    <a:masterClrMapping/>
  </p:clrMapOvr>
</p:sldLayout>
</file>

<file path=ppt/slideLayouts/slideLayout3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96938457"/>
      </p:ext>
    </p:extLst>
  </p:cSld>
  <p:clrMapOvr>
    <a:masterClrMapping/>
  </p:clrMapOvr>
</p:sldLayout>
</file>

<file path=ppt/slideLayouts/slideLayout3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40592101"/>
      </p:ext>
    </p:extLst>
  </p:cSld>
  <p:clrMapOvr>
    <a:masterClrMapping/>
  </p:clrMapOvr>
</p:sldLayout>
</file>

<file path=ppt/slideLayouts/slideLayout3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20251458"/>
      </p:ext>
    </p:extLst>
  </p:cSld>
  <p:clrMapOvr>
    <a:masterClrMapping/>
  </p:clrMapOvr>
</p:sldLayout>
</file>

<file path=ppt/slideLayouts/slideLayout3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133205"/>
      </p:ext>
    </p:extLst>
  </p:cSld>
  <p:clrMapOvr>
    <a:masterClrMapping/>
  </p:clrMapOvr>
</p:sldLayout>
</file>

<file path=ppt/slideLayouts/slideLayout31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393518"/>
      </p:ext>
    </p:extLst>
  </p:cSld>
  <p:clrMapOvr>
    <a:masterClrMapping/>
  </p:clrMapOvr>
</p:sldLayout>
</file>

<file path=ppt/slideLayouts/slideLayout3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5619581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42949140"/>
      </p:ext>
    </p:extLst>
  </p:cSld>
  <p:clrMapOvr>
    <a:masterClrMapping/>
  </p:clrMapOvr>
</p:sldLayout>
</file>

<file path=ppt/slideLayouts/slideLayout3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07344022"/>
      </p:ext>
    </p:extLst>
  </p:cSld>
  <p:clrMapOvr>
    <a:masterClrMapping/>
  </p:clrMapOvr>
</p:sldLayout>
</file>

<file path=ppt/slideLayouts/slideLayout3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99683678"/>
      </p:ext>
    </p:extLst>
  </p:cSld>
  <p:clrMapOvr>
    <a:masterClrMapping/>
  </p:clrMapOvr>
</p:sldLayout>
</file>

<file path=ppt/slideLayouts/slideLayout3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372853"/>
      </p:ext>
    </p:extLst>
  </p:cSld>
  <p:clrMapOvr>
    <a:masterClrMapping/>
  </p:clrMapOvr>
</p:sldLayout>
</file>

<file path=ppt/slideLayouts/slideLayout3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51215681"/>
      </p:ext>
    </p:extLst>
  </p:cSld>
  <p:clrMapOvr>
    <a:masterClrMapping/>
  </p:clrMapOvr>
</p:sldLayout>
</file>

<file path=ppt/slideLayouts/slideLayout3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09786544"/>
      </p:ext>
    </p:extLst>
  </p:cSld>
  <p:clrMapOvr>
    <a:masterClrMapping/>
  </p:clrMapOvr>
</p:sldLayout>
</file>

<file path=ppt/slideLayouts/slideLayout3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60944993"/>
      </p:ext>
    </p:extLst>
  </p:cSld>
  <p:clrMapOvr>
    <a:masterClrMapping/>
  </p:clrMapOvr>
</p:sldLayout>
</file>

<file path=ppt/slideLayouts/slideLayout3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318601"/>
      </p:ext>
    </p:extLst>
  </p:cSld>
  <p:clrMapOvr>
    <a:masterClrMapping/>
  </p:clrMapOvr>
</p:sldLayout>
</file>

<file path=ppt/slideLayouts/slideLayout3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20684"/>
      </p:ext>
    </p:extLst>
  </p:cSld>
  <p:clrMapOvr>
    <a:masterClrMapping/>
  </p:clrMapOvr>
</p:sldLayout>
</file>

<file path=ppt/slideLayouts/slideLayout3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99273522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16445175"/>
      </p:ext>
    </p:extLst>
  </p:cSld>
  <p:clrMapOvr>
    <a:masterClrMapping/>
  </p:clrMapOvr>
</p:sldLayout>
</file>

<file path=ppt/slideLayouts/slideLayout3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68922992"/>
      </p:ext>
    </p:extLst>
  </p:cSld>
  <p:clrMapOvr>
    <a:masterClrMapping/>
  </p:clrMapOvr>
</p:sldLayout>
</file>

<file path=ppt/slideLayouts/slideLayout3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76586715"/>
      </p:ext>
    </p:extLst>
  </p:cSld>
  <p:clrMapOvr>
    <a:masterClrMapping/>
  </p:clrMapOvr>
</p:sldLayout>
</file>

<file path=ppt/slideLayouts/slideLayout3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596287"/>
      </p:ext>
    </p:extLst>
  </p:cSld>
  <p:clrMapOvr>
    <a:masterClrMapping/>
  </p:clrMapOvr>
</p:sldLayout>
</file>

<file path=ppt/slideLayouts/slideLayout3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8072171"/>
      </p:ext>
    </p:extLst>
  </p:cSld>
  <p:clrMapOvr>
    <a:masterClrMapping/>
  </p:clrMapOvr>
</p:sldLayout>
</file>

<file path=ppt/slideLayouts/slideLayout3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027734"/>
      </p:ext>
    </p:extLst>
  </p:cSld>
  <p:clrMapOvr>
    <a:masterClrMapping/>
  </p:clrMapOvr>
</p:sldLayout>
</file>

<file path=ppt/slideLayouts/slideLayout3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302903"/>
      </p:ext>
    </p:extLst>
  </p:cSld>
  <p:clrMapOvr>
    <a:masterClrMapping/>
  </p:clrMapOvr>
</p:sldLayout>
</file>

<file path=ppt/slideLayouts/slideLayout3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3289"/>
      </p:ext>
    </p:extLst>
  </p:cSld>
  <p:clrMapOvr>
    <a:masterClrMapping/>
  </p:clrMapOvr>
</p:sldLayout>
</file>

<file path=ppt/slideLayouts/slideLayout3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26517996"/>
      </p:ext>
    </p:extLst>
  </p:cSld>
  <p:clrMapOvr>
    <a:masterClrMapping/>
  </p:clrMapOvr>
</p:sldLayout>
</file>

<file path=ppt/slideLayouts/slideLayout3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84527508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7177" y="186170"/>
            <a:ext cx="4718922" cy="792307"/>
          </a:xfrm>
        </p:spPr>
        <p:txBody>
          <a:bodyPr anchor="b"/>
          <a:lstStyle>
            <a:lvl1pPr algn="l">
              <a:defRPr sz="136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07922" y="186171"/>
            <a:ext cx="8018431" cy="3990759"/>
          </a:xfrm>
        </p:spPr>
        <p:txBody>
          <a:bodyPr/>
          <a:lstStyle>
            <a:lvl1pPr>
              <a:defRPr sz="2182"/>
            </a:lvl1pPr>
            <a:lvl2pPr>
              <a:defRPr sz="1909"/>
            </a:lvl2pPr>
            <a:lvl3pPr>
              <a:defRPr sz="1636"/>
            </a:lvl3pPr>
            <a:lvl4pPr>
              <a:defRPr sz="1364"/>
            </a:lvl4pPr>
            <a:lvl5pPr>
              <a:defRPr sz="1364"/>
            </a:lvl5pPr>
            <a:lvl6pPr>
              <a:defRPr sz="1364"/>
            </a:lvl6pPr>
            <a:lvl7pPr>
              <a:defRPr sz="1364"/>
            </a:lvl7pPr>
            <a:lvl8pPr>
              <a:defRPr sz="1364"/>
            </a:lvl8pPr>
            <a:lvl9pPr>
              <a:defRPr sz="136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17177" y="978478"/>
            <a:ext cx="4718922" cy="3198452"/>
          </a:xfrm>
        </p:spPr>
        <p:txBody>
          <a:bodyPr/>
          <a:lstStyle>
            <a:lvl1pPr marL="0" indent="0">
              <a:buNone/>
              <a:defRPr sz="955"/>
            </a:lvl1pPr>
            <a:lvl2pPr marL="311719" indent="0">
              <a:buNone/>
              <a:defRPr sz="818"/>
            </a:lvl2pPr>
            <a:lvl3pPr marL="623438" indent="0">
              <a:buNone/>
              <a:defRPr sz="682"/>
            </a:lvl3pPr>
            <a:lvl4pPr marL="935157" indent="0">
              <a:buNone/>
              <a:defRPr sz="614"/>
            </a:lvl4pPr>
            <a:lvl5pPr marL="1246876" indent="0">
              <a:buNone/>
              <a:defRPr sz="614"/>
            </a:lvl5pPr>
            <a:lvl6pPr marL="1558595" indent="0">
              <a:buNone/>
              <a:defRPr sz="614"/>
            </a:lvl6pPr>
            <a:lvl7pPr marL="1870314" indent="0">
              <a:buNone/>
              <a:defRPr sz="614"/>
            </a:lvl7pPr>
            <a:lvl8pPr marL="2182033" indent="0">
              <a:buNone/>
              <a:defRPr sz="614"/>
            </a:lvl8pPr>
            <a:lvl9pPr marL="2493752" indent="0">
              <a:buNone/>
              <a:defRPr sz="6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633958"/>
      </p:ext>
    </p:extLst>
  </p:cSld>
  <p:clrMapOvr>
    <a:masterClrMapping/>
  </p:clrMapOvr>
</p:sldLayout>
</file>

<file path=ppt/slideLayouts/slideLayout3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886330"/>
      </p:ext>
    </p:extLst>
  </p:cSld>
  <p:clrMapOvr>
    <a:masterClrMapping/>
  </p:clrMapOvr>
</p:sldLayout>
</file>

<file path=ppt/slideLayouts/slideLayout3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7161207"/>
      </p:ext>
    </p:extLst>
  </p:cSld>
  <p:clrMapOvr>
    <a:masterClrMapping/>
  </p:clrMapOvr>
</p:sldLayout>
</file>

<file path=ppt/slideLayouts/slideLayout3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86796967"/>
      </p:ext>
    </p:extLst>
  </p:cSld>
  <p:clrMapOvr>
    <a:masterClrMapping/>
  </p:clrMapOvr>
</p:sldLayout>
</file>

<file path=ppt/slideLayouts/slideLayout3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06177993"/>
      </p:ext>
    </p:extLst>
  </p:cSld>
  <p:clrMapOvr>
    <a:masterClrMapping/>
  </p:clrMapOvr>
</p:sldLayout>
</file>

<file path=ppt/slideLayouts/slideLayout3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42239942"/>
      </p:ext>
    </p:extLst>
  </p:cSld>
  <p:clrMapOvr>
    <a:masterClrMapping/>
  </p:clrMapOvr>
</p:sldLayout>
</file>

<file path=ppt/slideLayouts/slideLayout3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241990"/>
      </p:ext>
    </p:extLst>
  </p:cSld>
  <p:clrMapOvr>
    <a:masterClrMapping/>
  </p:clrMapOvr>
</p:sldLayout>
</file>

<file path=ppt/slideLayouts/slideLayout31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96477415"/>
      </p:ext>
    </p:extLst>
  </p:cSld>
  <p:clrMapOvr>
    <a:masterClrMapping/>
  </p:clrMapOvr>
</p:sldLayout>
</file>

<file path=ppt/slideLayouts/slideLayout3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395353"/>
      </p:ext>
    </p:extLst>
  </p:cSld>
  <p:clrMapOvr>
    <a:masterClrMapping/>
  </p:clrMapOvr>
</p:sldLayout>
</file>

<file path=ppt/slideLayouts/slideLayout3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983205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11432" y="3273137"/>
            <a:ext cx="8606118" cy="386412"/>
          </a:xfrm>
        </p:spPr>
        <p:txBody>
          <a:bodyPr anchor="b"/>
          <a:lstStyle>
            <a:lvl1pPr algn="l">
              <a:defRPr sz="1364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811432" y="417801"/>
            <a:ext cx="8606118" cy="2805545"/>
          </a:xfrm>
        </p:spPr>
        <p:txBody>
          <a:bodyPr/>
          <a:lstStyle>
            <a:lvl1pPr marL="0" indent="0">
              <a:buNone/>
              <a:defRPr sz="2182"/>
            </a:lvl1pPr>
            <a:lvl2pPr marL="311719" indent="0">
              <a:buNone/>
              <a:defRPr sz="1909"/>
            </a:lvl2pPr>
            <a:lvl3pPr marL="623438" indent="0">
              <a:buNone/>
              <a:defRPr sz="1636"/>
            </a:lvl3pPr>
            <a:lvl4pPr marL="935157" indent="0">
              <a:buNone/>
              <a:defRPr sz="1364"/>
            </a:lvl4pPr>
            <a:lvl5pPr marL="1246876" indent="0">
              <a:buNone/>
              <a:defRPr sz="1364"/>
            </a:lvl5pPr>
            <a:lvl6pPr marL="1558595" indent="0">
              <a:buNone/>
              <a:defRPr sz="1364"/>
            </a:lvl6pPr>
            <a:lvl7pPr marL="1870314" indent="0">
              <a:buNone/>
              <a:defRPr sz="1364"/>
            </a:lvl7pPr>
            <a:lvl8pPr marL="2182033" indent="0">
              <a:buNone/>
              <a:defRPr sz="1364"/>
            </a:lvl8pPr>
            <a:lvl9pPr marL="2493752" indent="0">
              <a:buNone/>
              <a:defRPr sz="1364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811432" y="3659548"/>
            <a:ext cx="8606118" cy="548770"/>
          </a:xfrm>
        </p:spPr>
        <p:txBody>
          <a:bodyPr/>
          <a:lstStyle>
            <a:lvl1pPr marL="0" indent="0">
              <a:buNone/>
              <a:defRPr sz="955"/>
            </a:lvl1pPr>
            <a:lvl2pPr marL="311719" indent="0">
              <a:buNone/>
              <a:defRPr sz="818"/>
            </a:lvl2pPr>
            <a:lvl3pPr marL="623438" indent="0">
              <a:buNone/>
              <a:defRPr sz="682"/>
            </a:lvl3pPr>
            <a:lvl4pPr marL="935157" indent="0">
              <a:buNone/>
              <a:defRPr sz="614"/>
            </a:lvl4pPr>
            <a:lvl5pPr marL="1246876" indent="0">
              <a:buNone/>
              <a:defRPr sz="614"/>
            </a:lvl5pPr>
            <a:lvl6pPr marL="1558595" indent="0">
              <a:buNone/>
              <a:defRPr sz="614"/>
            </a:lvl6pPr>
            <a:lvl7pPr marL="1870314" indent="0">
              <a:buNone/>
              <a:defRPr sz="614"/>
            </a:lvl7pPr>
            <a:lvl8pPr marL="2182033" indent="0">
              <a:buNone/>
              <a:defRPr sz="614"/>
            </a:lvl8pPr>
            <a:lvl9pPr marL="2493752" indent="0">
              <a:buNone/>
              <a:defRPr sz="614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1749876"/>
      </p:ext>
    </p:extLst>
  </p:cSld>
  <p:clrMapOvr>
    <a:masterClrMapping/>
  </p:clrMapOvr>
</p:sldLayout>
</file>

<file path=ppt/slideLayouts/slideLayout3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867741"/>
      </p:ext>
    </p:extLst>
  </p:cSld>
  <p:clrMapOvr>
    <a:masterClrMapping/>
  </p:clrMapOvr>
</p:sldLayout>
</file>

<file path=ppt/slideLayouts/slideLayout3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92240276"/>
      </p:ext>
    </p:extLst>
  </p:cSld>
  <p:clrMapOvr>
    <a:masterClrMapping/>
  </p:clrMapOvr>
</p:sldLayout>
</file>

<file path=ppt/slideLayouts/slideLayout3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666105"/>
      </p:ext>
    </p:extLst>
  </p:cSld>
  <p:clrMapOvr>
    <a:masterClrMapping/>
  </p:clrMapOvr>
</p:sldLayout>
</file>

<file path=ppt/slideLayouts/slideLayout3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16326593"/>
      </p:ext>
    </p:extLst>
  </p:cSld>
  <p:clrMapOvr>
    <a:masterClrMapping/>
  </p:clrMapOvr>
</p:sldLayout>
</file>

<file path=ppt/slideLayouts/slideLayout3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67018893"/>
      </p:ext>
    </p:extLst>
  </p:cSld>
  <p:clrMapOvr>
    <a:masterClrMapping/>
  </p:clrMapOvr>
</p:sldLayout>
</file>

<file path=ppt/slideLayouts/slideLayout3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5036306"/>
      </p:ext>
    </p:extLst>
  </p:cSld>
  <p:clrMapOvr>
    <a:masterClrMapping/>
  </p:clrMapOvr>
</p:sldLayout>
</file>

<file path=ppt/slideLayouts/slideLayout3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11695616"/>
      </p:ext>
    </p:extLst>
  </p:cSld>
  <p:clrMapOvr>
    <a:masterClrMapping/>
  </p:clrMapOvr>
</p:sldLayout>
</file>

<file path=ppt/slideLayouts/slideLayout3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0182012"/>
      </p:ext>
    </p:extLst>
  </p:cSld>
  <p:clrMapOvr>
    <a:masterClrMapping/>
  </p:clrMapOvr>
</p:sldLayout>
</file>

<file path=ppt/slideLayouts/slideLayout31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1075977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171697"/>
      </p:ext>
    </p:extLst>
  </p:cSld>
  <p:clrMapOvr>
    <a:masterClrMapping/>
  </p:clrMapOvr>
</p:sldLayout>
</file>

<file path=ppt/slideLayouts/slideLayout3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55612778"/>
      </p:ext>
    </p:extLst>
  </p:cSld>
  <p:clrMapOvr>
    <a:masterClrMapping/>
  </p:clrMapOvr>
</p:sldLayout>
</file>

<file path=ppt/slideLayouts/slideLayout3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173058"/>
      </p:ext>
    </p:extLst>
  </p:cSld>
  <p:clrMapOvr>
    <a:masterClrMapping/>
  </p:clrMapOvr>
</p:sldLayout>
</file>

<file path=ppt/slideLayouts/slideLayout3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41232957"/>
      </p:ext>
    </p:extLst>
  </p:cSld>
  <p:clrMapOvr>
    <a:masterClrMapping/>
  </p:clrMapOvr>
</p:sldLayout>
</file>

<file path=ppt/slideLayouts/slideLayout3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5995188"/>
      </p:ext>
    </p:extLst>
  </p:cSld>
  <p:clrMapOvr>
    <a:masterClrMapping/>
  </p:clrMapOvr>
</p:sldLayout>
</file>

<file path=ppt/slideLayouts/slideLayout3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43759835"/>
      </p:ext>
    </p:extLst>
  </p:cSld>
  <p:clrMapOvr>
    <a:masterClrMapping/>
  </p:clrMapOvr>
</p:sldLayout>
</file>

<file path=ppt/slideLayouts/slideLayout3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03238959"/>
      </p:ext>
    </p:extLst>
  </p:cSld>
  <p:clrMapOvr>
    <a:masterClrMapping/>
  </p:clrMapOvr>
</p:sldLayout>
</file>

<file path=ppt/slideLayouts/slideLayout3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3318585"/>
      </p:ext>
    </p:extLst>
  </p:cSld>
  <p:clrMapOvr>
    <a:masterClrMapping/>
  </p:clrMapOvr>
</p:sldLayout>
</file>

<file path=ppt/slideLayouts/slideLayout3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94454268"/>
      </p:ext>
    </p:extLst>
  </p:cSld>
  <p:clrMapOvr>
    <a:masterClrMapping/>
  </p:clrMapOvr>
</p:sldLayout>
</file>

<file path=ppt/slideLayouts/slideLayout3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4694093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399059" y="187254"/>
            <a:ext cx="3227294" cy="3989676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7176" y="187254"/>
            <a:ext cx="9442824" cy="3989676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197236"/>
      </p:ext>
    </p:extLst>
  </p:cSld>
  <p:clrMapOvr>
    <a:masterClrMapping/>
  </p:clrMapOvr>
</p:sldLayout>
</file>

<file path=ppt/slideLayouts/slideLayout3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599156"/>
      </p:ext>
    </p:extLst>
  </p:cSld>
  <p:clrMapOvr>
    <a:masterClrMapping/>
  </p:clrMapOvr>
</p:sldLayout>
</file>

<file path=ppt/slideLayouts/slideLayout3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034751"/>
      </p:ext>
    </p:extLst>
  </p:cSld>
  <p:clrMapOvr>
    <a:masterClrMapping/>
  </p:clrMapOvr>
</p:sldLayout>
</file>

<file path=ppt/slideLayouts/slideLayout31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539499086"/>
      </p:ext>
    </p:extLst>
  </p:cSld>
  <p:clrMapOvr>
    <a:masterClrMapping/>
  </p:clrMapOvr>
</p:sldLayout>
</file>

<file path=ppt/slideLayouts/slideLayout31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9625594"/>
      </p:ext>
    </p:extLst>
  </p:cSld>
  <p:clrMapOvr>
    <a:masterClrMapping/>
  </p:clrMapOvr>
</p:sldLayout>
</file>

<file path=ppt/slideLayouts/slideLayout3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086749"/>
      </p:ext>
    </p:extLst>
  </p:cSld>
  <p:clrMapOvr>
    <a:masterClrMapping/>
  </p:clrMapOvr>
</p:sldLayout>
</file>

<file path=ppt/slideLayouts/slideLayout3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400618"/>
      </p:ext>
    </p:extLst>
  </p:cSld>
  <p:clrMapOvr>
    <a:masterClrMapping/>
  </p:clrMapOvr>
</p:sldLayout>
</file>

<file path=ppt/slideLayouts/slideLayout31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9005237"/>
      </p:ext>
    </p:extLst>
  </p:cSld>
  <p:clrMapOvr>
    <a:masterClrMapping/>
  </p:clrMapOvr>
</p:sldLayout>
</file>

<file path=ppt/slideLayouts/slideLayout31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795121"/>
      </p:ext>
    </p:extLst>
  </p:cSld>
  <p:clrMapOvr>
    <a:masterClrMapping/>
  </p:clrMapOvr>
</p:sldLayout>
</file>

<file path=ppt/slideLayouts/slideLayout3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086996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3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465099"/>
      </p:ext>
    </p:extLst>
  </p:cSld>
  <p:clrMapOvr>
    <a:masterClrMapping/>
  </p:clrMapOvr>
</p:sldLayout>
</file>

<file path=ppt/slideLayouts/slideLayout3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500482"/>
      </p:ext>
    </p:extLst>
  </p:cSld>
  <p:clrMapOvr>
    <a:masterClrMapping/>
  </p:clrMapOvr>
</p:sldLayout>
</file>

<file path=ppt/slideLayouts/slideLayout3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222274"/>
      </p:ext>
    </p:extLst>
  </p:cSld>
  <p:clrMapOvr>
    <a:masterClrMapping/>
  </p:clrMapOvr>
</p:sldLayout>
</file>

<file path=ppt/slideLayouts/slideLayout31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800778670"/>
      </p:ext>
    </p:extLst>
  </p:cSld>
  <p:clrMapOvr>
    <a:masterClrMapping/>
  </p:clrMapOvr>
</p:sldLayout>
</file>

<file path=ppt/slideLayouts/slideLayout31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6158311"/>
      </p:ext>
    </p:extLst>
  </p:cSld>
  <p:clrMapOvr>
    <a:masterClrMapping/>
  </p:clrMapOvr>
</p:sldLayout>
</file>

<file path=ppt/slideLayouts/slideLayout3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089755"/>
      </p:ext>
    </p:extLst>
  </p:cSld>
  <p:clrMapOvr>
    <a:masterClrMapping/>
  </p:clrMapOvr>
</p:sldLayout>
</file>

<file path=ppt/slideLayouts/slideLayout3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886808"/>
      </p:ext>
    </p:extLst>
  </p:cSld>
  <p:clrMapOvr>
    <a:masterClrMapping/>
  </p:clrMapOvr>
</p:sldLayout>
</file>

<file path=ppt/slideLayouts/slideLayout319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036082158"/>
      </p:ext>
    </p:extLst>
  </p:cSld>
  <p:clrMapOvr>
    <a:masterClrMapping/>
  </p:clrMapOvr>
</p:sldLayout>
</file>

<file path=ppt/slideLayouts/slideLayout31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25458"/>
      </p:ext>
    </p:extLst>
  </p:cSld>
  <p:clrMapOvr>
    <a:masterClrMapping/>
  </p:clrMapOvr>
</p:sldLayout>
</file>

<file path=ppt/slideLayouts/slideLayout3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47696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1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Google Shape;186;p1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7" name="Google Shape;187;p1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8" name="Google Shape;188;p1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9" name="Google Shape;189;p1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0" name="Google Shape;190;p1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1" name="Google Shape;191;p1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92" name="Google Shape;192;p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320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590959546"/>
      </p:ext>
    </p:extLst>
  </p:cSld>
  <p:clrMapOvr>
    <a:masterClrMapping/>
  </p:clrMapOvr>
</p:sldLayout>
</file>

<file path=ppt/slideLayouts/slideLayout3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512058"/>
      </p:ext>
    </p:extLst>
  </p:cSld>
  <p:clrMapOvr>
    <a:masterClrMapping/>
  </p:clrMapOvr>
</p:sldLayout>
</file>

<file path=ppt/slideLayouts/slideLayout32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982754"/>
      </p:ext>
    </p:extLst>
  </p:cSld>
  <p:clrMapOvr>
    <a:masterClrMapping/>
  </p:clrMapOvr>
</p:sldLayout>
</file>

<file path=ppt/slideLayouts/slideLayout3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160644"/>
      </p:ext>
    </p:extLst>
  </p:cSld>
  <p:clrMapOvr>
    <a:masterClrMapping/>
  </p:clrMapOvr>
</p:sldLayout>
</file>

<file path=ppt/slideLayouts/slideLayout320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292283105"/>
      </p:ext>
    </p:extLst>
  </p:cSld>
  <p:clrMapOvr>
    <a:masterClrMapping/>
  </p:clrMapOvr>
</p:sldLayout>
</file>

<file path=ppt/slideLayouts/slideLayout32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469650"/>
      </p:ext>
    </p:extLst>
  </p:cSld>
  <p:clrMapOvr>
    <a:masterClrMapping/>
  </p:clrMapOvr>
</p:sldLayout>
</file>

<file path=ppt/slideLayouts/slideLayout3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450892"/>
      </p:ext>
    </p:extLst>
  </p:cSld>
  <p:clrMapOvr>
    <a:masterClrMapping/>
  </p:clrMapOvr>
</p:sldLayout>
</file>

<file path=ppt/slideLayouts/slideLayout32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58923649"/>
      </p:ext>
    </p:extLst>
  </p:cSld>
  <p:clrMapOvr>
    <a:masterClrMapping/>
  </p:clrMapOvr>
</p:sldLayout>
</file>

<file path=ppt/slideLayouts/slideLayout32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655276"/>
      </p:ext>
    </p:extLst>
  </p:cSld>
  <p:clrMapOvr>
    <a:masterClrMapping/>
  </p:clrMapOvr>
</p:sldLayout>
</file>

<file path=ppt/slideLayouts/slideLayout3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200800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32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543364920"/>
      </p:ext>
    </p:extLst>
  </p:cSld>
  <p:clrMapOvr>
    <a:masterClrMapping/>
  </p:clrMapOvr>
</p:sldLayout>
</file>

<file path=ppt/slideLayouts/slideLayout32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805337"/>
      </p:ext>
    </p:extLst>
  </p:cSld>
  <p:clrMapOvr>
    <a:masterClrMapping/>
  </p:clrMapOvr>
</p:sldLayout>
</file>

<file path=ppt/slideLayouts/slideLayout3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09286974"/>
      </p:ext>
    </p:extLst>
  </p:cSld>
  <p:clrMapOvr>
    <a:masterClrMapping/>
  </p:clrMapOvr>
</p:sldLayout>
</file>

<file path=ppt/slideLayouts/slideLayout3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28264285"/>
      </p:ext>
    </p:extLst>
  </p:cSld>
  <p:clrMapOvr>
    <a:masterClrMapping/>
  </p:clrMapOvr>
</p:sldLayout>
</file>

<file path=ppt/slideLayouts/slideLayout3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781156"/>
      </p:ext>
    </p:extLst>
  </p:cSld>
  <p:clrMapOvr>
    <a:masterClrMapping/>
  </p:clrMapOvr>
</p:sldLayout>
</file>

<file path=ppt/slideLayouts/slideLayout3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075054"/>
      </p:ext>
    </p:extLst>
  </p:cSld>
  <p:clrMapOvr>
    <a:masterClrMapping/>
  </p:clrMapOvr>
</p:sldLayout>
</file>

<file path=ppt/slideLayouts/slideLayout32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9304567"/>
      </p:ext>
    </p:extLst>
  </p:cSld>
  <p:clrMapOvr>
    <a:masterClrMapping/>
  </p:clrMapOvr>
</p:sldLayout>
</file>

<file path=ppt/slideLayouts/slideLayout3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60791936"/>
      </p:ext>
    </p:extLst>
  </p:cSld>
  <p:clrMapOvr>
    <a:masterClrMapping/>
  </p:clrMapOvr>
</p:sldLayout>
</file>

<file path=ppt/slideLayouts/slideLayout32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75538724"/>
      </p:ext>
    </p:extLst>
  </p:cSld>
  <p:clrMapOvr>
    <a:masterClrMapping/>
  </p:clrMapOvr>
</p:sldLayout>
</file>

<file path=ppt/slideLayouts/slideLayout32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95269323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3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593679"/>
      </p:ext>
    </p:extLst>
  </p:cSld>
  <p:clrMapOvr>
    <a:masterClrMapping/>
  </p:clrMapOvr>
</p:sldLayout>
</file>

<file path=ppt/slideLayouts/slideLayout32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22995407"/>
      </p:ext>
    </p:extLst>
  </p:cSld>
  <p:clrMapOvr>
    <a:masterClrMapping/>
  </p:clrMapOvr>
</p:sldLayout>
</file>

<file path=ppt/slideLayouts/slideLayout3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160451"/>
      </p:ext>
    </p:extLst>
  </p:cSld>
  <p:clrMapOvr>
    <a:masterClrMapping/>
  </p:clrMapOvr>
</p:sldLayout>
</file>

<file path=ppt/slideLayouts/slideLayout3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41605625"/>
      </p:ext>
    </p:extLst>
  </p:cSld>
  <p:clrMapOvr>
    <a:masterClrMapping/>
  </p:clrMapOvr>
</p:sldLayout>
</file>

<file path=ppt/slideLayouts/slideLayout32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49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9035294"/>
      </p:ext>
    </p:extLst>
  </p:cSld>
  <p:clrMapOvr>
    <a:masterClrMapping/>
  </p:clrMapOvr>
</p:sldLayout>
</file>

<file path=ppt/slideLayouts/slideLayout32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02801597"/>
      </p:ext>
    </p:extLst>
  </p:cSld>
  <p:clrMapOvr>
    <a:masterClrMapping/>
  </p:clrMapOvr>
</p:sldLayout>
</file>

<file path=ppt/slideLayouts/slideLayout3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4115697276"/>
      </p:ext>
    </p:extLst>
  </p:cSld>
  <p:clrMapOvr>
    <a:masterClrMapping/>
  </p:clrMapOvr>
</p:sldLayout>
</file>

<file path=ppt/slideLayouts/slideLayout32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1015009"/>
      </p:ext>
    </p:extLst>
  </p:cSld>
  <p:clrMapOvr>
    <a:masterClrMapping/>
  </p:clrMapOvr>
</p:sldLayout>
</file>

<file path=ppt/slideLayouts/slideLayout32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59872483"/>
      </p:ext>
    </p:extLst>
  </p:cSld>
  <p:clrMapOvr>
    <a:masterClrMapping/>
  </p:clrMapOvr>
</p:sldLayout>
</file>

<file path=ppt/slideLayouts/slideLayout3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8133736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32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289861465"/>
      </p:ext>
    </p:extLst>
  </p:cSld>
  <p:clrMapOvr>
    <a:masterClrMapping/>
  </p:clrMapOvr>
</p:sldLayout>
</file>

<file path=ppt/slideLayouts/slideLayout32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192456358"/>
      </p:ext>
    </p:extLst>
  </p:cSld>
  <p:clrMapOvr>
    <a:masterClrMapping/>
  </p:clrMapOvr>
</p:sldLayout>
</file>

<file path=ppt/slideLayouts/slideLayout32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47920312"/>
      </p:ext>
    </p:extLst>
  </p:cSld>
  <p:clrMapOvr>
    <a:masterClrMapping/>
  </p:clrMapOvr>
</p:sldLayout>
</file>

<file path=ppt/slideLayouts/slideLayout32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24408610"/>
      </p:ext>
    </p:extLst>
  </p:cSld>
  <p:clrMapOvr>
    <a:masterClrMapping/>
  </p:clrMapOvr>
</p:sldLayout>
</file>

<file path=ppt/slideLayouts/slideLayout3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2553176"/>
      </p:ext>
    </p:extLst>
  </p:cSld>
  <p:clrMapOvr>
    <a:masterClrMapping/>
  </p:clrMapOvr>
</p:sldLayout>
</file>

<file path=ppt/slideLayouts/slideLayout32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699920"/>
      </p:ext>
    </p:extLst>
  </p:cSld>
  <p:clrMapOvr>
    <a:masterClrMapping/>
  </p:clrMapOvr>
</p:sldLayout>
</file>

<file path=ppt/slideLayouts/slideLayout32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5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39779151"/>
      </p:ext>
    </p:extLst>
  </p:cSld>
  <p:clrMapOvr>
    <a:masterClrMapping/>
  </p:clrMapOvr>
</p:sldLayout>
</file>

<file path=ppt/slideLayouts/slideLayout32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69818932"/>
      </p:ext>
    </p:extLst>
  </p:cSld>
  <p:clrMapOvr>
    <a:masterClrMapping/>
  </p:clrMapOvr>
</p:sldLayout>
</file>

<file path=ppt/slideLayouts/slideLayout3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145854"/>
      </p:ext>
    </p:extLst>
  </p:cSld>
  <p:clrMapOvr>
    <a:masterClrMapping/>
  </p:clrMapOvr>
</p:sldLayout>
</file>

<file path=ppt/slideLayouts/slideLayout3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4570144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32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090294593"/>
      </p:ext>
    </p:extLst>
  </p:cSld>
  <p:clrMapOvr>
    <a:masterClrMapping/>
  </p:clrMapOvr>
</p:sldLayout>
</file>

<file path=ppt/slideLayouts/slideLayout32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7326169"/>
      </p:ext>
    </p:extLst>
  </p:cSld>
  <p:clrMapOvr>
    <a:masterClrMapping/>
  </p:clrMapOvr>
</p:sldLayout>
</file>

<file path=ppt/slideLayouts/slideLayout3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865222"/>
      </p:ext>
    </p:extLst>
  </p:cSld>
  <p:clrMapOvr>
    <a:masterClrMapping/>
  </p:clrMapOvr>
</p:sldLayout>
</file>

<file path=ppt/slideLayouts/slideLayout32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30169179"/>
      </p:ext>
    </p:extLst>
  </p:cSld>
  <p:clrMapOvr>
    <a:masterClrMapping/>
  </p:clrMapOvr>
</p:sldLayout>
</file>

<file path=ppt/slideLayouts/slideLayout3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5017364"/>
      </p:ext>
    </p:extLst>
  </p:cSld>
  <p:clrMapOvr>
    <a:masterClrMapping/>
  </p:clrMapOvr>
</p:sldLayout>
</file>

<file path=ppt/slideLayouts/slideLayout3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43193926"/>
      </p:ext>
    </p:extLst>
  </p:cSld>
  <p:clrMapOvr>
    <a:masterClrMapping/>
  </p:clrMapOvr>
</p:sldLayout>
</file>

<file path=ppt/slideLayouts/slideLayout32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53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13547261"/>
      </p:ext>
    </p:extLst>
  </p:cSld>
  <p:clrMapOvr>
    <a:masterClrMapping/>
  </p:clrMapOvr>
</p:sldLayout>
</file>

<file path=ppt/slideLayouts/slideLayout32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76712668"/>
      </p:ext>
    </p:extLst>
  </p:cSld>
  <p:clrMapOvr>
    <a:masterClrMapping/>
  </p:clrMapOvr>
</p:sldLayout>
</file>

<file path=ppt/slideLayouts/slideLayout32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0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11843788"/>
      </p:ext>
    </p:extLst>
  </p:cSld>
  <p:clrMapOvr>
    <a:masterClrMapping/>
  </p:clrMapOvr>
</p:sldLayout>
</file>

<file path=ppt/slideLayouts/slideLayout3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14909913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3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2597167"/>
      </p:ext>
    </p:extLst>
  </p:cSld>
  <p:clrMapOvr>
    <a:masterClrMapping/>
  </p:clrMapOvr>
</p:sldLayout>
</file>

<file path=ppt/slideLayouts/slideLayout3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0533059"/>
      </p:ext>
    </p:extLst>
  </p:cSld>
  <p:clrMapOvr>
    <a:masterClrMapping/>
  </p:clrMapOvr>
</p:sldLayout>
</file>

<file path=ppt/slideLayouts/slideLayout3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53079681"/>
      </p:ext>
    </p:extLst>
  </p:cSld>
  <p:clrMapOvr>
    <a:masterClrMapping/>
  </p:clrMapOvr>
</p:sldLayout>
</file>

<file path=ppt/slideLayouts/slideLayout3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00741809"/>
      </p:ext>
    </p:extLst>
  </p:cSld>
  <p:clrMapOvr>
    <a:masterClrMapping/>
  </p:clrMapOvr>
</p:sldLayout>
</file>

<file path=ppt/slideLayouts/slideLayout3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327446"/>
      </p:ext>
    </p:extLst>
  </p:cSld>
  <p:clrMapOvr>
    <a:masterClrMapping/>
  </p:clrMapOvr>
</p:sldLayout>
</file>

<file path=ppt/slideLayouts/slideLayout3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391967"/>
      </p:ext>
    </p:extLst>
  </p:cSld>
  <p:clrMapOvr>
    <a:masterClrMapping/>
  </p:clrMapOvr>
</p:sldLayout>
</file>

<file path=ppt/slideLayouts/slideLayout3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6793549"/>
      </p:ext>
    </p:extLst>
  </p:cSld>
  <p:clrMapOvr>
    <a:masterClrMapping/>
  </p:clrMapOvr>
</p:sldLayout>
</file>

<file path=ppt/slideLayouts/slideLayout32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55997868"/>
      </p:ext>
    </p:extLst>
  </p:cSld>
  <p:clrMapOvr>
    <a:masterClrMapping/>
  </p:clrMapOvr>
</p:sldLayout>
</file>

<file path=ppt/slideLayouts/slideLayout3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00059046"/>
      </p:ext>
    </p:extLst>
  </p:cSld>
  <p:clrMapOvr>
    <a:masterClrMapping/>
  </p:clrMapOvr>
</p:sldLayout>
</file>

<file path=ppt/slideLayouts/slideLayout32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93728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3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599289"/>
      </p:ext>
    </p:extLst>
  </p:cSld>
  <p:clrMapOvr>
    <a:masterClrMapping/>
  </p:clrMapOvr>
</p:sldLayout>
</file>

<file path=ppt/slideLayouts/slideLayout32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9988548"/>
      </p:ext>
    </p:extLst>
  </p:cSld>
  <p:clrMapOvr>
    <a:masterClrMapping/>
  </p:clrMapOvr>
</p:sldLayout>
</file>

<file path=ppt/slideLayouts/slideLayout32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54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15469395"/>
      </p:ext>
    </p:extLst>
  </p:cSld>
  <p:clrMapOvr>
    <a:masterClrMapping/>
  </p:clrMapOvr>
</p:sldLayout>
</file>

<file path=ppt/slideLayouts/slideLayout3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64354212"/>
      </p:ext>
    </p:extLst>
  </p:cSld>
  <p:clrMapOvr>
    <a:masterClrMapping/>
  </p:clrMapOvr>
</p:sldLayout>
</file>

<file path=ppt/slideLayouts/slideLayout3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2277302542"/>
      </p:ext>
    </p:extLst>
  </p:cSld>
  <p:clrMapOvr>
    <a:masterClrMapping/>
  </p:clrMapOvr>
</p:sldLayout>
</file>

<file path=ppt/slideLayouts/slideLayout3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9901332"/>
      </p:ext>
    </p:extLst>
  </p:cSld>
  <p:clrMapOvr>
    <a:masterClrMapping/>
  </p:clrMapOvr>
</p:sldLayout>
</file>

<file path=ppt/slideLayouts/slideLayout3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82602928"/>
      </p:ext>
    </p:extLst>
  </p:cSld>
  <p:clrMapOvr>
    <a:masterClrMapping/>
  </p:clrMapOvr>
</p:sldLayout>
</file>

<file path=ppt/slideLayouts/slideLayout3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75825333"/>
      </p:ext>
    </p:extLst>
  </p:cSld>
  <p:clrMapOvr>
    <a:masterClrMapping/>
  </p:clrMapOvr>
</p:sldLayout>
</file>

<file path=ppt/slideLayouts/slideLayout32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852079"/>
      </p:ext>
    </p:extLst>
  </p:cSld>
  <p:clrMapOvr>
    <a:masterClrMapping/>
  </p:clrMapOvr>
</p:sldLayout>
</file>

<file path=ppt/slideLayouts/slideLayout32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970304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1955522"/>
      </p:ext>
    </p:extLst>
  </p:cSld>
  <p:clrMapOvr>
    <a:masterClrMapping/>
  </p:clrMapOvr>
</p:sldLayout>
</file>

<file path=ppt/slideLayouts/slideLayout3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3516680967"/>
      </p:ext>
    </p:extLst>
  </p:cSld>
  <p:clrMapOvr>
    <a:masterClrMapping/>
  </p:clrMapOvr>
</p:sldLayout>
</file>

<file path=ppt/slideLayouts/slideLayout32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0168350"/>
      </p:ext>
    </p:extLst>
  </p:cSld>
  <p:clrMapOvr>
    <a:masterClrMapping/>
  </p:clrMapOvr>
</p:sldLayout>
</file>

<file path=ppt/slideLayouts/slideLayout32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5649081"/>
      </p:ext>
    </p:extLst>
  </p:cSld>
  <p:clrMapOvr>
    <a:masterClrMapping/>
  </p:clrMapOvr>
</p:sldLayout>
</file>

<file path=ppt/slideLayouts/slideLayout32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55739107"/>
      </p:ext>
    </p:extLst>
  </p:cSld>
  <p:clrMapOvr>
    <a:masterClrMapping/>
  </p:clrMapOvr>
</p:sldLayout>
</file>

<file path=ppt/slideLayouts/slideLayout32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4299409"/>
      </p:ext>
    </p:extLst>
  </p:cSld>
  <p:clrMapOvr>
    <a:masterClrMapping/>
  </p:clrMapOvr>
</p:sldLayout>
</file>

<file path=ppt/slideLayouts/slideLayout3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55525293"/>
      </p:ext>
    </p:extLst>
  </p:cSld>
  <p:clrMapOvr>
    <a:masterClrMapping/>
  </p:clrMapOvr>
</p:sldLayout>
</file>

<file path=ppt/slideLayouts/slideLayout32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92643853"/>
      </p:ext>
    </p:extLst>
  </p:cSld>
  <p:clrMapOvr>
    <a:masterClrMapping/>
  </p:clrMapOvr>
</p:sldLayout>
</file>

<file path=ppt/slideLayouts/slideLayout3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92230460"/>
      </p:ext>
    </p:extLst>
  </p:cSld>
  <p:clrMapOvr>
    <a:masterClrMapping/>
  </p:clrMapOvr>
</p:sldLayout>
</file>

<file path=ppt/slideLayouts/slideLayout3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5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210001910"/>
      </p:ext>
    </p:extLst>
  </p:cSld>
  <p:clrMapOvr>
    <a:masterClrMapping/>
  </p:clrMapOvr>
</p:sldLayout>
</file>

<file path=ppt/slideLayouts/slideLayout3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13724570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53738"/>
      </p:ext>
    </p:extLst>
  </p:cSld>
  <p:clrMapOvr>
    <a:masterClrMapping/>
  </p:clrMapOvr>
</p:sldLayout>
</file>

<file path=ppt/slideLayouts/slideLayout3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3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29886346"/>
      </p:ext>
    </p:extLst>
  </p:cSld>
  <p:clrMapOvr>
    <a:masterClrMapping/>
  </p:clrMapOvr>
</p:sldLayout>
</file>

<file path=ppt/slideLayouts/slideLayout3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26784499"/>
      </p:ext>
    </p:extLst>
  </p:cSld>
  <p:clrMapOvr>
    <a:masterClrMapping/>
  </p:clrMapOvr>
</p:sldLayout>
</file>

<file path=ppt/slideLayouts/slideLayout3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514039542"/>
      </p:ext>
    </p:extLst>
  </p:cSld>
  <p:clrMapOvr>
    <a:masterClrMapping/>
  </p:clrMapOvr>
</p:sldLayout>
</file>

<file path=ppt/slideLayouts/slideLayout3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0310847"/>
      </p:ext>
    </p:extLst>
  </p:cSld>
  <p:clrMapOvr>
    <a:masterClrMapping/>
  </p:clrMapOvr>
</p:sldLayout>
</file>

<file path=ppt/slideLayouts/slideLayout3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11473246"/>
      </p:ext>
    </p:extLst>
  </p:cSld>
  <p:clrMapOvr>
    <a:masterClrMapping/>
  </p:clrMapOvr>
</p:sldLayout>
</file>

<file path=ppt/slideLayouts/slideLayout3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1656182"/>
      </p:ext>
    </p:extLst>
  </p:cSld>
  <p:clrMapOvr>
    <a:masterClrMapping/>
  </p:clrMapOvr>
</p:sldLayout>
</file>

<file path=ppt/slideLayouts/slideLayout3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1871994"/>
      </p:ext>
    </p:extLst>
  </p:cSld>
  <p:clrMapOvr>
    <a:masterClrMapping/>
  </p:clrMapOvr>
</p:sldLayout>
</file>

<file path=ppt/slideLayouts/slideLayout3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7685074"/>
      </p:ext>
    </p:extLst>
  </p:cSld>
  <p:clrMapOvr>
    <a:masterClrMapping/>
  </p:clrMapOvr>
</p:sldLayout>
</file>

<file path=ppt/slideLayouts/slideLayout3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90143888"/>
      </p:ext>
    </p:extLst>
  </p:cSld>
  <p:clrMapOvr>
    <a:masterClrMapping/>
  </p:clrMapOvr>
</p:sldLayout>
</file>

<file path=ppt/slideLayouts/slideLayout32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33875226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74233"/>
      </p:ext>
    </p:extLst>
  </p:cSld>
  <p:clrMapOvr>
    <a:masterClrMapping/>
  </p:clrMapOvr>
</p:sldLayout>
</file>

<file path=ppt/slideLayouts/slideLayout32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08860580"/>
      </p:ext>
    </p:extLst>
  </p:cSld>
  <p:clrMapOvr>
    <a:masterClrMapping/>
  </p:clrMapOvr>
</p:sldLayout>
</file>

<file path=ppt/slideLayouts/slideLayout32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75848340"/>
      </p:ext>
    </p:extLst>
  </p:cSld>
  <p:clrMapOvr>
    <a:masterClrMapping/>
  </p:clrMapOvr>
</p:sldLayout>
</file>

<file path=ppt/slideLayouts/slideLayout3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3239475"/>
      </p:ext>
    </p:extLst>
  </p:cSld>
  <p:clrMapOvr>
    <a:masterClrMapping/>
  </p:clrMapOvr>
</p:sldLayout>
</file>

<file path=ppt/slideLayouts/slideLayout32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634681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Google Shape;194;p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" name="Google Shape;195;p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" name="Google Shape;197;p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" name="Google Shape;198;p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" name="Google Shape;199;p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0" name="Google Shape;200;p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1" name="Google Shape;201;p2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2" name="Google Shape;202;p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3" name="Google Shape;203;p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4" name="Google Shape;204;p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5" name="Google Shape;205;p2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84230286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7" name="Google Shape;207;p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8" name="Google Shape;208;p2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9" name="Google Shape;209;p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0" name="Google Shape;210;p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1" name="Google Shape;211;p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12" name="Google Shape;212;p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" name="Google Shape;213;p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" name="Google Shape;214;p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5" name="Google Shape;215;p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6" name="Google Shape;216;p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Google Shape;218;p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9" name="Google Shape;219;p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220" name="Google Shape;220;p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1" name="Google Shape;221;p2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2" name="Google Shape;222;p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3" name="Google Shape;223;p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4" name="Google Shape;224;p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5" name="Google Shape;225;p2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" name="Google Shape;226;p2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7" name="Google Shape;227;p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8" name="Google Shape;228;p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5481949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48010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2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0" name="Google Shape;230;p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1" name="Google Shape;231;p2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2" name="Google Shape;232;p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3" name="Google Shape;233;p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4" name="Google Shape;234;p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5" name="Google Shape;235;p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6" name="Google Shape;236;p2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7" name="Google Shape;237;p2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" name="Google Shape;238;p2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9" name="Google Shape;239;p2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0" name="Google Shape;240;p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1" name="Google Shape;241;p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2" name="Google Shape;242;p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4" name="Google Shape;244;p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5" name="Google Shape;245;p2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6" name="Google Shape;246;p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7" name="Google Shape;247;p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8" name="Google Shape;248;p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9" name="Google Shape;249;p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0" name="Google Shape;250;p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1" name="Google Shape;251;p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2" name="Google Shape;252;p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4" name="Google Shape;254;p2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5" name="Google Shape;255;p2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6" name="Google Shape;256;p2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7" name="Google Shape;257;p2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8" name="Google Shape;258;p2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" name="Google Shape;259;p2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0" name="Google Shape;260;p2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61" name="Google Shape;261;p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" name="Google Shape;263;p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4" name="Google Shape;264;p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5" name="Google Shape;265;p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6" name="Google Shape;266;p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7" name="Google Shape;267;p2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8" name="Google Shape;268;p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9" name="Google Shape;269;p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0" name="Google Shape;270;p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27;p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" name="Google Shape;29;p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0" name="Google Shape;30;p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1" name="Google Shape;31;p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2;p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3" name="Google Shape;33;p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2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3" name="Google Shape;273;p2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2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6" name="Google Shape;276;p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7" name="Google Shape;277;p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8" name="Google Shape;278;p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9" name="Google Shape;279;p2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0" name="Google Shape;280;p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1" name="Google Shape;281;p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2" name="Google Shape;282;p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83" name="Google Shape;283;p2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2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" name="Google Shape;286;p2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2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88" name="Google Shape;288;p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89" name="Google Shape;289;p2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90" name="Google Shape;290;p2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1" name="Google Shape;291;p2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2" name="Google Shape;292;p2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4" name="Google Shape;294;p2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95" name="Google Shape;295;p2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6" name="Google Shape;296;p2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97" name="Google Shape;297;p2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98" name="Google Shape;298;p2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99" name="Google Shape;299;p2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0" name="Google Shape;300;p2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3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" name="Google Shape;302;p3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03" name="Google Shape;303;p3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04" name="Google Shape;304;p3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05" name="Google Shape;305;p3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306;p3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7" name="Google Shape;307;p3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08" name="Google Shape;308;p30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311;p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" name="Google Shape;313;p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4" name="Google Shape;314;p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5" name="Google Shape;315;p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6" name="Google Shape;316;p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7" name="Google Shape;317;p3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8" name="Google Shape;318;p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9" name="Google Shape;319;p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1" name="Google Shape;321;p3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38968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871782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3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0" name="Google Shape;310;p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1" name="Google Shape;311;p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" name="Google Shape;313;p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4" name="Google Shape;314;p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5" name="Google Shape;315;p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16" name="Google Shape;316;p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7" name="Google Shape;317;p3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8" name="Google Shape;318;p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9" name="Google Shape;319;p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0" name="Google Shape;320;p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21" name="Google Shape;321;p3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5267698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297497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3217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7402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3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Google Shape;323;p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4" name="Google Shape;324;p3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25" name="Google Shape;325;p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6" name="Google Shape;326;p3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7" name="Google Shape;327;p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8" name="Google Shape;328;p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0" name="Google Shape;330;p3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" name="Google Shape;331;p3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2" name="Google Shape;332;p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3" name="Google Shape;333;p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4594192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315279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01317895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0288109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76101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2886451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5" name="Google Shape;335;p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6" name="Google Shape;336;p3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7" name="Google Shape;337;p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8" name="Google Shape;338;p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9" name="Google Shape;339;p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40" name="Google Shape;340;p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1" name="Google Shape;341;p3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2" name="Google Shape;342;p3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3" name="Google Shape;343;p3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44" name="Google Shape;344;p3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5" name="Google Shape;345;p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6" name="Google Shape;346;p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7" name="Google Shape;347;p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45276364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9" name="Google Shape;349;p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0" name="Google Shape;350;p3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1" name="Google Shape;351;p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2" name="Google Shape;352;p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3" name="Google Shape;353;p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4" name="Google Shape;354;p3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5" name="Google Shape;355;p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6" name="Google Shape;356;p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7" name="Google Shape;357;p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3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9" name="Google Shape;359;p3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60" name="Google Shape;360;p3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61" name="Google Shape;361;p3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62" name="Google Shape;362;p3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3" name="Google Shape;363;p3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4" name="Google Shape;364;p3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65" name="Google Shape;365;p3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66" name="Google Shape;366;p3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5276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28475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05404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02167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713067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73097338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oogle Shape;35;p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" name="Google Shape;36;p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" name="Google Shape;37;p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" name="Google Shape;38;p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" name="Google Shape;40;p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" name="Google Shape;43;p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" name="Google Shape;44;p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3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" name="Google Shape;369;p3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p3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" name="Google Shape;371;p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2" name="Google Shape;372;p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3" name="Google Shape;373;p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4" name="Google Shape;374;p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5" name="Google Shape;375;p3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6" name="Google Shape;376;p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7" name="Google Shape;377;p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8" name="Google Shape;378;p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9" name="Google Shape;379;p3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179664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Google Shape;381;p3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" name="Google Shape;382;p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" name="Google Shape;383;p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" name="Google Shape;384;p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5" name="Google Shape;385;p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6" name="Google Shape;386;p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87" name="Google Shape;387;p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8" name="Google Shape;388;p3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" name="Google Shape;389;p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0" name="Google Shape;390;p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2" name="Google Shape;392;p3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3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" name="Google Shape;368;p3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69" name="Google Shape;369;p3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0" name="Google Shape;370;p3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1" name="Google Shape;371;p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2" name="Google Shape;372;p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3" name="Google Shape;373;p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74" name="Google Shape;374;p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5" name="Google Shape;375;p3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6" name="Google Shape;376;p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7" name="Google Shape;377;p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8" name="Google Shape;378;p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79" name="Google Shape;379;p3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3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" name="Google Shape;381;p3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2" name="Google Shape;382;p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3" name="Google Shape;383;p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" name="Google Shape;384;p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5" name="Google Shape;385;p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86" name="Google Shape;386;p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87" name="Google Shape;387;p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88" name="Google Shape;388;p3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89" name="Google Shape;389;p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0" name="Google Shape;390;p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1" name="Google Shape;391;p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2" name="Google Shape;392;p3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4" name="Google Shape;394;p3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5" name="Google Shape;395;p3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6" name="Google Shape;396;p3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97" name="Google Shape;397;p3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98" name="Google Shape;398;p3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99" name="Google Shape;399;p3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0" name="Google Shape;400;p3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1" name="Google Shape;401;p3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3" name="Google Shape;403;p3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04" name="Google Shape;404;p3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5" name="Google Shape;405;p3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6" name="Google Shape;406;p3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07" name="Google Shape;407;p3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08" name="Google Shape;408;p3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9" name="Google Shape;409;p3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8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4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" name="Google Shape;411;p4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12" name="Google Shape;412;p4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13" name="Google Shape;413;p4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14" name="Google Shape;414;p4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5" name="Google Shape;415;p4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16" name="Google Shape;416;p4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17" name="Google Shape;417;p40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0" name="Google Shape;420;p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1" name="Google Shape;421;p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2" name="Google Shape;422;p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3" name="Google Shape;423;p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4" name="Google Shape;424;p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25" name="Google Shape;425;p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6" name="Google Shape;426;p4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7" name="Google Shape;427;p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8" name="Google Shape;428;p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9" name="Google Shape;429;p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30" name="Google Shape;430;p4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4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0" name="Google Shape;420;p4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1" name="Google Shape;421;p4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2" name="Google Shape;422;p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3" name="Google Shape;423;p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4" name="Google Shape;424;p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25" name="Google Shape;425;p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6" name="Google Shape;426;p4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7" name="Google Shape;427;p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8" name="Google Shape;428;p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9" name="Google Shape;429;p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30" name="Google Shape;430;p4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2" name="Google Shape;432;p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33" name="Google Shape;433;p4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34" name="Google Shape;434;p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35" name="Google Shape;435;p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36" name="Google Shape;436;p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37" name="Google Shape;437;p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" name="Google Shape;438;p4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9" name="Google Shape;439;p4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0" name="Google Shape;440;p4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41" name="Google Shape;441;p4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2" name="Google Shape;442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43" name="Google Shape;443;p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4" name="Google Shape;444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8" name="Google Shape;48;p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" name="Google Shape;49;p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" name="Google Shape;50;p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" name="Google Shape;51;p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" name="Google Shape;52;p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" name="Google Shape;53;p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" name="Google Shape;55;p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" name="Google Shape;56;p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6" name="Google Shape;446;p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7" name="Google Shape;447;p4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48" name="Google Shape;448;p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49" name="Google Shape;449;p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0" name="Google Shape;450;p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51" name="Google Shape;451;p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2" name="Google Shape;452;p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3" name="Google Shape;453;p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4" name="Google Shape;454;p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4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4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4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9" name="Google Shape;459;p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60" name="Google Shape;460;p4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61" name="Google Shape;461;p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2" name="Google Shape;462;p4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3" name="Google Shape;463;p4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5" name="Google Shape;465;p4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66" name="Google Shape;466;p4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" name="Google Shape;467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8" name="Google Shape;468;p4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9" name="Google Shape;469;p4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70" name="Google Shape;470;p4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1" name="Google Shape;471;p4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Google Shape;473;p4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4" name="Google Shape;474;p4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5" name="Google Shape;475;p4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6" name="Google Shape;476;p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8" name="Google Shape;478;p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9" name="Google Shape;479;p4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4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" name="Google Shape;481;p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2" name="Google Shape;482;p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3" name="Google Shape;483;p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" name="Google Shape;484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5" name="Google Shape;485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6" name="Google Shape;486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7" name="Google Shape;487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8" name="Google Shape;488;p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9" name="Google Shape;489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0" name="Google Shape;490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1" name="Google Shape;491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2" name="Google Shape;492;p4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4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5" name="Google Shape;495;p4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6" name="Google Shape;496;p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7" name="Google Shape;497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8" name="Google Shape;498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9" name="Google Shape;499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00" name="Google Shape;500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1" name="Google Shape;501;p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2" name="Google Shape;502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3" name="Google Shape;503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5" name="Google Shape;505;p4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09" name="Google Shape;509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0" name="Google Shape;510;p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1" name="Google Shape;511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2" name="Google Shape;512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4" name="Google Shape;514;p4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4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" name="Google Shape;516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" name="Google Shape;517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9" name="Google Shape;519;p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0" name="Google Shape;520;p5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1" name="Google Shape;521;p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2" name="Google Shape;522;p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3" name="Google Shape;523;p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4" name="Google Shape;524;p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" name="Google Shape;525;p5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6" name="Google Shape;526;p5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7" name="Google Shape;527;p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8" name="Google Shape;528;p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9" name="Google Shape;529;p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0" name="Google Shape;530;p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1" name="Google Shape;531;p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3" name="Google Shape;533;p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4" name="Google Shape;534;p5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5" name="Google Shape;535;p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6" name="Google Shape;536;p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7" name="Google Shape;537;p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8" name="Google Shape;538;p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p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0" name="Google Shape;540;p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1" name="Google Shape;541;p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3" name="Google Shape;543;p5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44" name="Google Shape;544;p5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5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6" name="Google Shape;546;p5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7" name="Google Shape;547;p5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8" name="Google Shape;548;p5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49" name="Google Shape;549;p5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50" name="Google Shape;550;p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3" name="Google Shape;553;p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4" name="Google Shape;554;p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5" name="Google Shape;555;p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6" name="Google Shape;556;p5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7" name="Google Shape;557;p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8" name="Google Shape;558;p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1" name="Google Shape;561;p54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2" name="Google Shape;562;p54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63" name="Google Shape;563;p54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64" name="Google Shape;564;p54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5" name="Google Shape;565;p54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66" name="Google Shape;566;p5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1248361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16831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6" name="Google Shape;456;p44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57" name="Google Shape;457;p44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44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59" name="Google Shape;459;p4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60" name="Google Shape;460;p44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61" name="Google Shape;461;p4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2" name="Google Shape;462;p44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3" name="Google Shape;463;p4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270537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4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5" name="Google Shape;465;p4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66" name="Google Shape;466;p4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7" name="Google Shape;467;p4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8" name="Google Shape;468;p4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69" name="Google Shape;469;p4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70" name="Google Shape;470;p4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1" name="Google Shape;471;p4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6479413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4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" name="Google Shape;473;p4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74" name="Google Shape;474;p4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75" name="Google Shape;475;p4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76" name="Google Shape;476;p4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77" name="Google Shape;477;p4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78" name="Google Shape;478;p4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79" name="Google Shape;479;p4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4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" name="Google Shape;481;p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2" name="Google Shape;482;p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3" name="Google Shape;483;p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4" name="Google Shape;484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5" name="Google Shape;485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6" name="Google Shape;486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87" name="Google Shape;487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88" name="Google Shape;488;p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89" name="Google Shape;489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90" name="Google Shape;490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91" name="Google Shape;491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92" name="Google Shape;492;p4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4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4" name="Google Shape;494;p4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95" name="Google Shape;495;p4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6" name="Google Shape;496;p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7" name="Google Shape;497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98" name="Google Shape;498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99" name="Google Shape;499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00" name="Google Shape;500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1" name="Google Shape;501;p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2" name="Google Shape;502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03" name="Google Shape;503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04" name="Google Shape;504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05" name="Google Shape;505;p4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5/28/20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7" name="Google Shape;507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8" name="Google Shape;508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09" name="Google Shape;509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0" name="Google Shape;510;p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11" name="Google Shape;511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2" name="Google Shape;512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3" name="Google Shape;513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14" name="Google Shape;514;p4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4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" name="Google Shape;516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" name="Google Shape;517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9" name="Google Shape;519;p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0" name="Google Shape;520;p5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1" name="Google Shape;521;p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2" name="Google Shape;522;p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3" name="Google Shape;523;p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24" name="Google Shape;524;p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5" name="Google Shape;525;p5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6" name="Google Shape;526;p5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7" name="Google Shape;527;p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28" name="Google Shape;528;p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9" name="Google Shape;529;p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0" name="Google Shape;530;p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1" name="Google Shape;531;p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oogle Shape;15;p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" name="Google Shape;16;p1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" name="Google Shape;17;p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" name="Google Shape;18;p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" name="Google Shape;19;p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" name="Google Shape;20;p1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1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" name="Google Shape;22;p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" name="Google Shape;23;p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" name="Google Shape;24;p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1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7" name="Google Shape;27;p1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1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" name="Google Shape;29;p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0" name="Google Shape;30;p1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1" name="Google Shape;31;p1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" name="Google Shape;32;p1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3" name="Google Shape;33;p1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oogle Shape;35;p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" name="Google Shape;36;p2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" name="Google Shape;37;p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" name="Google Shape;38;p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" name="Google Shape;40;p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2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" name="Google Shape;43;p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" name="Google Shape;44;p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8" name="Google Shape;48;p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9" name="Google Shape;49;p2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" name="Google Shape;50;p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" name="Google Shape;51;p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" name="Google Shape;52;p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" name="Google Shape;53;p2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" name="Google Shape;54;p2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" name="Google Shape;55;p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" name="Google Shape;56;p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Google Shape;58;p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0" name="Google Shape;60;p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" name="Google Shape;61;p2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" name="Google Shape;62;p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" name="Google Shape;63;p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" name="Google Shape;64;p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" name="Google Shape;65;p2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" name="Google Shape;66;p2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" name="Google Shape;67;p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" name="Google Shape;68;p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" name="Google Shape;70;p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1" name="Google Shape;71;p2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" name="Google Shape;72;p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" name="Google Shape;73;p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" name="Google Shape;74;p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5" name="Google Shape;75;p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Google Shape;81;p24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24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3" name="Google Shape;83;p2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4" name="Google Shape;84;p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" name="Google Shape;85;p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" name="Google Shape;87;p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" name="Google Shape;88;p5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" name="Google Shape;89;p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" name="Google Shape;90;p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2" name="Google Shape;92;p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" name="Google Shape;93;p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5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" name="Google Shape;95;p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" name="Google Shape;96;p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5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" name="Google Shape;99;p5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" name="Google Shape;100;p5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1" name="Google Shape;101;p5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2" name="Google Shape;102;p5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3" name="Google Shape;103;p5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4" name="Google Shape;104;p5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5" name="Google Shape;105;p5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1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" name="Google Shape;107;p5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8" name="Google Shape;108;p5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9" name="Google Shape;109;p5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110;p5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" name="Google Shape;111;p5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2" name="Google Shape;112;p5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" name="Google Shape;113;p5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3" name="Google Shape;533;p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4" name="Google Shape;534;p5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5" name="Google Shape;535;p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6" name="Google Shape;536;p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7" name="Google Shape;537;p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8" name="Google Shape;538;p5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p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0" name="Google Shape;540;p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1" name="Google Shape;541;p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Google Shape;115;p5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6" name="Google Shape;116;p5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7" name="Google Shape;117;p5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8" name="Google Shape;118;p5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9" name="Google Shape;119;p5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0" name="Google Shape;120;p5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21" name="Google Shape;121;p5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5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" name="Google Shape;124;p5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" name="Google Shape;125;p5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" name="Google Shape;126;p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7" name="Google Shape;127;p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8" name="Google Shape;128;p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9" name="Google Shape;129;p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0" name="Google Shape;130;p5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1" name="Google Shape;131;p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2" name="Google Shape;132;p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4" name="Google Shape;134;p5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1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Google Shape;136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" name="Google Shape;137;p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38" name="Google Shape;138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9" name="Google Shape;139;p5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0" name="Google Shape;140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1" name="Google Shape;141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2" name="Google Shape;142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3" name="Google Shape;143;p5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" name="Google Shape;144;p5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5" name="Google Shape;145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6" name="Google Shape;146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8" name="Google Shape;148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9" name="Google Shape;149;p5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0" name="Google Shape;150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1" name="Google Shape;151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" name="Google Shape;152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3" name="Google Shape;153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" name="Google Shape;154;p5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" name="Google Shape;155;p5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" name="Google Shape;156;p5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7" name="Google Shape;157;p5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" name="Google Shape;158;p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9" name="Google Shape;159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0" name="Google Shape;160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2" name="Google Shape;162;p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3" name="Google Shape;163;p6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4" name="Google Shape;164;p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5" name="Google Shape;165;p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6" name="Google Shape;166;p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7" name="Google Shape;167;p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" name="Google Shape;168;p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9" name="Google Shape;169;p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" name="Google Shape;170;p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" name="Google Shape;172;p6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73" name="Google Shape;173;p6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" name="Google Shape;174;p6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5" name="Google Shape;175;p6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6" name="Google Shape;176;p6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" name="Google Shape;177;p6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78" name="Google Shape;178;p6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79" name="Google Shape;179;p6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6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2" name="Google Shape;182;p6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" name="Google Shape;183;p6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4" name="Google Shape;184;p6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5" name="Google Shape;185;p6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6" name="Google Shape;186;p6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7" name="Google Shape;187;p6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" name="Google Shape;188;p6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0" name="Google Shape;190;p6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1" name="Google Shape;191;p6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" name="Google Shape;192;p6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93" name="Google Shape;193;p6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94" name="Google Shape;194;p6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95" name="Google Shape;195;p6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6" name="Google Shape;196;p6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97" name="Google Shape;197;p6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1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9" name="Google Shape;199;p6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00" name="Google Shape;200;p6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1" name="Google Shape;201;p6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6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03" name="Google Shape;203;p6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4" name="Google Shape;204;p6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" name="Google Shape;205;p6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6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208" name="Google Shape;208;p6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209" name="Google Shape;209;p6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10" name="Google Shape;210;p6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1" name="Google Shape;211;p6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2" name="Google Shape;212;p6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213" name="Google Shape;213;p6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5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3" name="Google Shape;543;p5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44" name="Google Shape;544;p5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45" name="Google Shape;545;p5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46" name="Google Shape;546;p5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47" name="Google Shape;547;p5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8" name="Google Shape;548;p5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49" name="Google Shape;549;p5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50" name="Google Shape;550;p5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6" name="Google Shape;216;p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7" name="Google Shape;217;p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8" name="Google Shape;218;p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9" name="Google Shape;219;p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0" name="Google Shape;220;p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1" name="Google Shape;221;p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2" name="Google Shape;222;p6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3" name="Google Shape;223;p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4" name="Google Shape;224;p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25" name="Google Shape;225;p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26" name="Google Shape;226;p6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8" name="Google Shape;228;p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9" name="Google Shape;229;p6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30" name="Google Shape;230;p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31" name="Google Shape;231;p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2" name="Google Shape;232;p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3" name="Google Shape;233;p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4" name="Google Shape;234;p6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5" name="Google Shape;235;p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6" name="Google Shape;236;p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7" name="Google Shape;237;p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9" name="Google Shape;239;p6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0" name="Google Shape;240;p6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1" name="Google Shape;241;p6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2" name="Google Shape;242;p6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3" name="Google Shape;243;p6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4" name="Google Shape;244;p6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5" name="Google Shape;245;p6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46" name="Google Shape;246;p6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7" name="Google Shape;247;p6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48" name="Google Shape;248;p6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9" name="Google Shape;249;p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50" name="Google Shape;250;p6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51" name="Google Shape;251;p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3" name="Google Shape;253;p6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4" name="Google Shape;254;p6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5" name="Google Shape;255;p6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6" name="Google Shape;256;p6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7" name="Google Shape;257;p6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58" name="Google Shape;258;p6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9" name="Google Shape;259;p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0" name="Google Shape;260;p6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1" name="Google Shape;261;p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3" name="Google Shape;263;p7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64" name="Google Shape;264;p7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65" name="Google Shape;265;p7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66" name="Google Shape;266;p7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7" name="Google Shape;267;p7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8" name="Google Shape;268;p7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69" name="Google Shape;269;p7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70" name="Google Shape;270;p7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" name="Google Shape;272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73" name="Google Shape;273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4" name="Google Shape;274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75" name="Google Shape;275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76" name="Google Shape;276;p7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77" name="Google Shape;277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8" name="Google Shape;278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9" name="Google Shape;279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2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" name="Google Shape;281;p7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2" name="Google Shape;282;p7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7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4" name="Google Shape;284;p7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5" name="Google Shape;285;p7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86" name="Google Shape;286;p7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87" name="Google Shape;287;p7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88" name="Google Shape;288;p7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89" name="Google Shape;289;p7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0" name="Google Shape;290;p7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1" name="Google Shape;291;p7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2" name="Google Shape;292;p7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2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" name="Google Shape;294;p7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95" name="Google Shape;295;p7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6" name="Google Shape;296;p7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97" name="Google Shape;297;p7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98" name="Google Shape;298;p7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99" name="Google Shape;299;p7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0" name="Google Shape;300;p7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01" name="Google Shape;301;p7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3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3" name="Google Shape;303;p7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04" name="Google Shape;304;p7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5" name="Google Shape;305;p7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306;p7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07" name="Google Shape;307;p7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08" name="Google Shape;308;p7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" name="Google Shape;309;p7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3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Google Shape;311;p7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12" name="Google Shape;312;p7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13" name="Google Shape;313;p7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14" name="Google Shape;314;p7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15" name="Google Shape;315;p7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16" name="Google Shape;316;p7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17" name="Google Shape;317;p7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5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" name="Google Shape;552;p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3" name="Google Shape;553;p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4" name="Google Shape;554;p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55" name="Google Shape;555;p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6" name="Google Shape;556;p5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7" name="Google Shape;557;p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8" name="Google Shape;558;p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9" name="Google Shape;559;p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" name="Google Shape;319;p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0" name="Google Shape;320;p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1" name="Google Shape;321;p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2" name="Google Shape;322;p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3" name="Google Shape;323;p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4" name="Google Shape;324;p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25" name="Google Shape;325;p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6" name="Google Shape;326;p7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7" name="Google Shape;327;p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8" name="Google Shape;328;p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9" name="Google Shape;329;p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30" name="Google Shape;330;p7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3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2" name="Google Shape;332;p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33" name="Google Shape;333;p7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34" name="Google Shape;334;p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35" name="Google Shape;335;p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6" name="Google Shape;336;p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37" name="Google Shape;337;p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8" name="Google Shape;338;p7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9" name="Google Shape;339;p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40" name="Google Shape;340;p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41" name="Google Shape;341;p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3" name="Google Shape;343;p7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4" name="Google Shape;344;p7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45" name="Google Shape;345;p7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6" name="Google Shape;346;p7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47" name="Google Shape;347;p7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48" name="Google Shape;348;p7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49" name="Google Shape;349;p7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50" name="Google Shape;350;p7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1" name="Google Shape;351;p7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2" name="Google Shape;352;p7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3" name="Google Shape;353;p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5" name="Google Shape;355;p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6" name="Google Shape;356;p7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7" name="Google Shape;357;p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8" name="Google Shape;358;p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9" name="Google Shape;359;p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0" name="Google Shape;360;p7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1" name="Google Shape;361;p7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62" name="Google Shape;362;p7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3" name="Google Shape;363;p7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64" name="Google Shape;364;p7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5" name="Google Shape;365;p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6" name="Google Shape;366;p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7" name="Google Shape;367;p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9" name="Google Shape;369;p8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70" name="Google Shape;370;p8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1" name="Google Shape;371;p8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72" name="Google Shape;372;p8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3" name="Google Shape;373;p8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74" name="Google Shape;374;p8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5" name="Google Shape;375;p8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76" name="Google Shape;376;p8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77" name="Google Shape;377;p8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3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9" name="Google Shape;379;p8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80" name="Google Shape;380;p8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1" name="Google Shape;381;p8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82" name="Google Shape;382;p8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3" name="Google Shape;383;p8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" name="Google Shape;384;p8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85" name="Google Shape;385;p8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86" name="Google Shape;386;p8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Google Shape;388;p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89" name="Google Shape;389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0" name="Google Shape;390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91" name="Google Shape;391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2" name="Google Shape;392;p8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3" name="Google Shape;393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4" name="Google Shape;394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5" name="Google Shape;395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3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7" name="Google Shape;397;p8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8" name="Google Shape;398;p8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9" name="Google Shape;399;p8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0" name="Google Shape;400;p8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1" name="Google Shape;401;p8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02" name="Google Shape;402;p8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03" name="Google Shape;403;p8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4" name="Google Shape;404;p8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5" name="Google Shape;405;p8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6" name="Google Shape;406;p8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7" name="Google Shape;407;p8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08" name="Google Shape;408;p8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" name="Google Shape;410;p8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1" name="Google Shape;411;p8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2" name="Google Shape;412;p8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3" name="Google Shape;413;p8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14" name="Google Shape;414;p8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5" name="Google Shape;415;p8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16" name="Google Shape;416;p8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7" name="Google Shape;417;p8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8" name="Google Shape;418;p8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9" name="Google Shape;419;p8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0" name="Google Shape;420;p8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21" name="Google Shape;421;p8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3" name="Google Shape;423;p8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4" name="Google Shape;424;p8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5" name="Google Shape;425;p8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26" name="Google Shape;426;p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27" name="Google Shape;427;p8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28" name="Google Shape;428;p8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9" name="Google Shape;429;p8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30" name="Google Shape;430;p8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5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8" name="Google Shape;568;p5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69" name="Google Shape;569;p5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0" name="Google Shape;570;p5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1" name="Google Shape;571;p5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72" name="Google Shape;572;p5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73" name="Google Shape;573;p5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4" name="Google Shape;574;p5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4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2" name="Google Shape;432;p8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33" name="Google Shape;433;p8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4" name="Google Shape;434;p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5" name="Google Shape;435;p8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36" name="Google Shape;436;p8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37" name="Google Shape;437;p8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8" name="Google Shape;438;p8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" name="Google Shape;440;p8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41" name="Google Shape;441;p8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42" name="Google Shape;442;p8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43" name="Google Shape;443;p8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4" name="Google Shape;444;p8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45" name="Google Shape;445;p8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46" name="Google Shape;446;p8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8" name="Google Shape;448;p8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9" name="Google Shape;449;p8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0" name="Google Shape;450;p8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1" name="Google Shape;451;p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2" name="Google Shape;452;p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3" name="Google Shape;453;p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54" name="Google Shape;454;p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5" name="Google Shape;455;p8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6" name="Google Shape;456;p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7" name="Google Shape;457;p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8" name="Google Shape;458;p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59" name="Google Shape;459;p8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4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1" name="Google Shape;461;p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62" name="Google Shape;462;p8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63" name="Google Shape;463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4" name="Google Shape;464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65" name="Google Shape;465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66" name="Google Shape;466;p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7" name="Google Shape;467;p8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68" name="Google Shape;468;p8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9" name="Google Shape;469;p8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70" name="Google Shape;470;p8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1" name="Google Shape;471;p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72" name="Google Shape;472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3" name="Google Shape;473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4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5" name="Google Shape;475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6" name="Google Shape;476;p9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7" name="Google Shape;477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8" name="Google Shape;478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9" name="Google Shape;479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0" name="Google Shape;480;p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1" name="Google Shape;481;p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2" name="Google Shape;482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3" name="Google Shape;483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4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5" name="Google Shape;485;p9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86" name="Google Shape;486;p9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7" name="Google Shape;487;p9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88" name="Google Shape;488;p9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89" name="Google Shape;489;p9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90" name="Google Shape;490;p9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1" name="Google Shape;491;p9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3" name="Google Shape;493;p9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94" name="Google Shape;494;p9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95" name="Google Shape;495;p9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96" name="Google Shape;496;p9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7" name="Google Shape;497;p9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98" name="Google Shape;498;p9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99" name="Google Shape;499;p9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5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" name="Google Shape;501;p9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2" name="Google Shape;502;p9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3" name="Google Shape;503;p9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4" name="Google Shape;504;p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05" name="Google Shape;505;p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6" name="Google Shape;506;p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07" name="Google Shape;507;p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08" name="Google Shape;508;p9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09" name="Google Shape;509;p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10" name="Google Shape;510;p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11" name="Google Shape;511;p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12" name="Google Shape;512;p9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5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4" name="Google Shape;514;p9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5" name="Google Shape;515;p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6" name="Google Shape;516;p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7" name="Google Shape;517;p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8" name="Google Shape;518;p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9" name="Google Shape;519;p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20" name="Google Shape;520;p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21" name="Google Shape;521;p9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2" name="Google Shape;522;p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3" name="Google Shape;523;p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4" name="Google Shape;524;p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25" name="Google Shape;525;p9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7" name="Google Shape;527;p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8" name="Google Shape;528;p9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29" name="Google Shape;529;p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0" name="Google Shape;530;p9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1" name="Google Shape;531;p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2" name="Google Shape;532;p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3" name="Google Shape;533;p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34" name="Google Shape;534;p9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5" name="Google Shape;535;p9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36" name="Google Shape;536;p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7" name="Google Shape;537;p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5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6" name="Google Shape;576;p56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77" name="Google Shape;577;p56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78" name="Google Shape;578;p56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79" name="Google Shape;579;p56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0" name="Google Shape;580;p56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81" name="Google Shape;581;p56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82" name="Google Shape;582;p5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9" name="Google Shape;539;p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0" name="Google Shape;540;p9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1" name="Google Shape;541;p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2" name="Google Shape;542;p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3" name="Google Shape;543;p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4" name="Google Shape;544;p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5" name="Google Shape;545;p9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6" name="Google Shape;546;p9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7" name="Google Shape;547;p9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48" name="Google Shape;548;p9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9" name="Google Shape;549;p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50" name="Google Shape;550;p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51" name="Google Shape;551;p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5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3" name="Google Shape;553;p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4" name="Google Shape;554;p9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5" name="Google Shape;555;p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6" name="Google Shape;556;p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7" name="Google Shape;557;p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8" name="Google Shape;558;p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9" name="Google Shape;559;p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0" name="Google Shape;560;p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1" name="Google Shape;561;p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5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3" name="Google Shape;563;p9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64" name="Google Shape;564;p9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65" name="Google Shape;565;p9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6" name="Google Shape;566;p9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67" name="Google Shape;567;p9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8" name="Google Shape;568;p9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69" name="Google Shape;569;p9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70" name="Google Shape;570;p9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5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2" name="Google Shape;572;p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3" name="Google Shape;573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4" name="Google Shape;574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75" name="Google Shape;575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76" name="Google Shape;576;p9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77" name="Google Shape;577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78" name="Google Shape;578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9" name="Google Shape;579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5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Google Shape;581;p100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2" name="Google Shape;582;p100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583" name="Google Shape;583;p100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584" name="Google Shape;584;p100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85" name="Google Shape;585;p100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86" name="Google Shape;586;p10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5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8" name="Google Shape;588;p101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589" name="Google Shape;589;p101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0" name="Google Shape;590;p10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1" name="Google Shape;591;p101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2" name="Google Shape;592;p10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93" name="Google Shape;593;p101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4" name="Google Shape;594;p101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5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6" name="Google Shape;596;p102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97" name="Google Shape;597;p102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98" name="Google Shape;598;p102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99" name="Google Shape;599;p102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00" name="Google Shape;600;p102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01" name="Google Shape;601;p102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02" name="Google Shape;602;p10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" name="Google Shape;604;p10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5" name="Google Shape;605;p10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6" name="Google Shape;606;p10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07" name="Google Shape;607;p10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08" name="Google Shape;608;p10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09" name="Google Shape;609;p10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0" name="Google Shape;610;p10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11" name="Google Shape;611;p10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3" name="Google Shape;613;p1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4" name="Google Shape;614;p10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5" name="Google Shape;615;p1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6" name="Google Shape;616;p1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7" name="Google Shape;617;p1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8" name="Google Shape;618;p1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9" name="Google Shape;619;p1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0" name="Google Shape;620;p1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1" name="Google Shape;621;p1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2" name="Google Shape;622;p1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6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" name="Google Shape;624;p1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5" name="Google Shape;625;p10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26" name="Google Shape;626;p1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7" name="Google Shape;627;p10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28" name="Google Shape;628;p1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29" name="Google Shape;629;p1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0" name="Google Shape;630;p1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1" name="Google Shape;631;p10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2" name="Google Shape;632;p10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3" name="Google Shape;633;p1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4" name="Google Shape;634;p1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4" name="Google Shape;584;p5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85" name="Google Shape;585;p5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6" name="Google Shape;586;p5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87" name="Google Shape;587;p5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88" name="Google Shape;588;p5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89" name="Google Shape;589;p5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0" name="Google Shape;590;p5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1" name="Google Shape;591;p5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6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6" name="Google Shape;636;p1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7" name="Google Shape;637;p10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8" name="Google Shape;638;p1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9" name="Google Shape;639;p1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0" name="Google Shape;640;p1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1" name="Google Shape;641;p1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2" name="Google Shape;642;p10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43" name="Google Shape;643;p10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4" name="Google Shape;644;p10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45" name="Google Shape;645;p10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6" name="Google Shape;646;p1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7" name="Google Shape;647;p1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8" name="Google Shape;648;p1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6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0" name="Google Shape;650;p10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51" name="Google Shape;651;p10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2" name="Google Shape;652;p10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3" name="Google Shape;653;p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4" name="Google Shape;654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5" name="Google Shape;655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56" name="Google Shape;656;p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7" name="Google Shape;657;p10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8" name="Google Shape;658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9" name="Google Shape;659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0" name="Google Shape;660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61" name="Google Shape;661;p10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6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3" name="Google Shape;663;p10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64" name="Google Shape;664;p10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5" name="Google Shape;665;p10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66" name="Google Shape;666;p10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7" name="Google Shape;667;p10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8" name="Google Shape;668;p10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69" name="Google Shape;669;p10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70" name="Google Shape;670;p10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72" name="Google Shape;672;p10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3" name="Google Shape;673;p10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4" name="Google Shape;674;p10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5" name="Google Shape;675;p10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6" name="Google Shape;676;p10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77" name="Google Shape;677;p10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8" name="Google Shape;678;p10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9" name="Google Shape;679;p10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0" name="Google Shape;680;p10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6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2" name="Google Shape;682;p11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83" name="Google Shape;683;p11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4" name="Google Shape;684;p11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85" name="Google Shape;685;p11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6" name="Google Shape;686;p11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7" name="Google Shape;687;p11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88" name="Google Shape;688;p110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Google Shape;689;p11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6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1" name="Google Shape;691;p1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2" name="Google Shape;692;p1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3" name="Google Shape;693;p1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94" name="Google Shape;694;p1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5" name="Google Shape;695;p11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6" name="Google Shape;696;p1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7" name="Google Shape;697;p1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8" name="Google Shape;698;p1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0" name="Google Shape;700;p11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01" name="Google Shape;701;p11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2" name="Google Shape;702;p11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3" name="Google Shape;703;p1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4" name="Google Shape;704;p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5" name="Google Shape;705;p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06" name="Google Shape;706;p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07" name="Google Shape;707;p11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8" name="Google Shape;708;p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9" name="Google Shape;709;p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10" name="Google Shape;710;p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11" name="Google Shape;711;p11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Google Shape;713;p11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4" name="Google Shape;714;p11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5" name="Google Shape;715;p11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16" name="Google Shape;716;p11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17" name="Google Shape;717;p11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18" name="Google Shape;718;p11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9" name="Google Shape;719;p11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20" name="Google Shape;720;p11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7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2" name="Google Shape;722;p11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23" name="Google Shape;723;p11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4" name="Google Shape;724;p1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25" name="Google Shape;725;p11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26" name="Google Shape;726;p11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27" name="Google Shape;727;p11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8" name="Google Shape;728;p11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7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0" name="Google Shape;730;p11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31" name="Google Shape;731;p11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32" name="Google Shape;732;p11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33" name="Google Shape;733;p11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4" name="Google Shape;734;p11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35" name="Google Shape;735;p11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36" name="Google Shape;736;p11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3" name="Google Shape;593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4" name="Google Shape;594;p5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95" name="Google Shape;595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96" name="Google Shape;596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7" name="Google Shape;597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98" name="Google Shape;598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9" name="Google Shape;599;p5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0" name="Google Shape;600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1" name="Google Shape;601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2" name="Google Shape;602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7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" name="Google Shape;738;p11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39" name="Google Shape;739;p11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0" name="Google Shape;740;p11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1" name="Google Shape;741;p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2" name="Google Shape;742;p1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3" name="Google Shape;743;p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44" name="Google Shape;744;p1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45" name="Google Shape;745;p11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6" name="Google Shape;746;p1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7" name="Google Shape;747;p1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48" name="Google Shape;748;p1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49" name="Google Shape;749;p11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7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1" name="Google Shape;751;p1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52" name="Google Shape;752;p1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3" name="Google Shape;753;p1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4" name="Google Shape;754;p1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55" name="Google Shape;755;p1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56" name="Google Shape;756;p1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57" name="Google Shape;757;p1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58" name="Google Shape;758;p11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59" name="Google Shape;759;p1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60" name="Google Shape;760;p1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1" name="Google Shape;761;p1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62" name="Google Shape;762;p11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7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4" name="Google Shape;764;p1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5" name="Google Shape;765;p11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66" name="Google Shape;766;p1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67" name="Google Shape;767;p11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68" name="Google Shape;768;p1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69" name="Google Shape;769;p1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0" name="Google Shape;770;p1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1" name="Google Shape;771;p11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2" name="Google Shape;772;p11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3" name="Google Shape;773;p1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4" name="Google Shape;774;p1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7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6" name="Google Shape;776;p1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7" name="Google Shape;777;p11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78" name="Google Shape;778;p1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9" name="Google Shape;779;p1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0" name="Google Shape;780;p1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1" name="Google Shape;781;p1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2" name="Google Shape;782;p11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83" name="Google Shape;783;p11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4" name="Google Shape;784;p11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785" name="Google Shape;785;p11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6" name="Google Shape;786;p1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7" name="Google Shape;787;p1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88" name="Google Shape;788;p1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7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0" name="Google Shape;790;p1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1" name="Google Shape;791;p12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2" name="Google Shape;792;p1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3" name="Google Shape;793;p1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4" name="Google Shape;794;p1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5" name="Google Shape;795;p1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6" name="Google Shape;796;p1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7" name="Google Shape;797;p1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8" name="Google Shape;798;p1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0" name="Google Shape;800;p12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01" name="Google Shape;801;p12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02" name="Google Shape;802;p12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03" name="Google Shape;803;p12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04" name="Google Shape;804;p12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5" name="Google Shape;805;p12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06" name="Google Shape;806;p12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07" name="Google Shape;807;p1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8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9" name="Google Shape;809;p1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0" name="Google Shape;810;p1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1" name="Google Shape;811;p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12" name="Google Shape;812;p1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13" name="Google Shape;813;p12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14" name="Google Shape;814;p1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5" name="Google Shape;815;p1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6" name="Google Shape;816;p1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8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8" name="Google Shape;818;p12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9" name="Google Shape;819;p12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0" name="Google Shape;820;p12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21" name="Google Shape;821;p12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22" name="Google Shape;822;p12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23" name="Google Shape;823;p12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4" name="Google Shape;824;p12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25" name="Google Shape;825;p12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8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27" name="Google Shape;827;p12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28" name="Google Shape;828;p12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29" name="Google Shape;829;p12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0" name="Google Shape;830;p12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31" name="Google Shape;831;p12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32" name="Google Shape;832;p12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3" name="Google Shape;833;p12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8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5" name="Google Shape;835;p1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6" name="Google Shape;836;p1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7" name="Google Shape;837;p1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8" name="Google Shape;838;p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39" name="Google Shape;839;p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40" name="Google Shape;840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41" name="Google Shape;841;p1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42" name="Google Shape;842;p12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43" name="Google Shape;843;p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44" name="Google Shape;844;p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45" name="Google Shape;845;p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46" name="Google Shape;846;p12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6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" name="Google Shape;604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5" name="Google Shape;605;p5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06" name="Google Shape;606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7" name="Google Shape;607;p5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8" name="Google Shape;608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09" name="Google Shape;609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0" name="Google Shape;610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11" name="Google Shape;611;p5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2" name="Google Shape;612;p5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3" name="Google Shape;613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14" name="Google Shape;614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48" name="Google Shape;848;p1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49" name="Google Shape;849;p12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0" name="Google Shape;850;p1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1" name="Google Shape;851;p1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2" name="Google Shape;852;p1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53" name="Google Shape;853;p1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4" name="Google Shape;854;p1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5" name="Google Shape;855;p1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6" name="Google Shape;856;p1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7" name="Google Shape;857;p1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8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9" name="Google Shape;859;p1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0" name="Google Shape;860;p12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61" name="Google Shape;861;p1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2" name="Google Shape;862;p12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63" name="Google Shape;863;p1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64" name="Google Shape;864;p1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65" name="Google Shape;865;p1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6" name="Google Shape;866;p12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67" name="Google Shape;867;p12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68" name="Google Shape;868;p1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9" name="Google Shape;869;p1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8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71" name="Google Shape;871;p1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72" name="Google Shape;872;p12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3" name="Google Shape;873;p1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74" name="Google Shape;874;p1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75" name="Google Shape;875;p1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76" name="Google Shape;876;p1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7" name="Google Shape;877;p12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78" name="Google Shape;878;p12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79" name="Google Shape;879;p12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80" name="Google Shape;880;p12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1" name="Google Shape;881;p1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2" name="Google Shape;882;p1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3" name="Google Shape;883;p1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8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5" name="Google Shape;885;p12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6" name="Google Shape;886;p12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87" name="Google Shape;887;p12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88" name="Google Shape;888;p12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89" name="Google Shape;889;p12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90" name="Google Shape;890;p12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91" name="Google Shape;891;p129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8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93" name="Google Shape;893;p13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94" name="Google Shape;894;p13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95" name="Google Shape;895;p13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96" name="Google Shape;896;p13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7" name="Google Shape;897;p13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8" name="Google Shape;898;p13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99" name="Google Shape;899;p130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00" name="Google Shape;900;p13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2" name="Google Shape;902;p1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03" name="Google Shape;903;p1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4" name="Google Shape;904;p1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05" name="Google Shape;905;p1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06" name="Google Shape;906;p13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07" name="Google Shape;907;p1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8" name="Google Shape;908;p1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9" name="Google Shape;909;p1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11" name="Google Shape;911;p1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12" name="Google Shape;912;p13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13" name="Google Shape;913;p1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14" name="Google Shape;914;p1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5" name="Google Shape;915;p1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16" name="Google Shape;916;p1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7" name="Google Shape;917;p1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8" name="Google Shape;918;p1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9" name="Google Shape;919;p1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2">
    <p:spTree>
      <p:nvGrpSpPr>
        <p:cNvPr id="1" name="Shape 9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" name="Google Shape;921;p133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2" name="Google Shape;922;p133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923" name="Google Shape;923;p133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924" name="Google Shape;924;p133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25" name="Google Shape;925;p133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926" name="Google Shape;926;p13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9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8" name="Google Shape;928;p13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29" name="Google Shape;929;p13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0" name="Google Shape;930;p13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1" name="Google Shape;931;p13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2" name="Google Shape;932;p13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3" name="Google Shape;933;p13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34" name="Google Shape;934;p13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5" name="Google Shape;935;p13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6" name="Google Shape;936;p13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7" name="Google Shape;937;p13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8" name="Google Shape;938;p13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39" name="Google Shape;939;p13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9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1" name="Google Shape;941;p13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42" name="Google Shape;942;p13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3" name="Google Shape;943;p13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4" name="Google Shape;944;p1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45" name="Google Shape;945;p1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46" name="Google Shape;946;p1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47" name="Google Shape;947;p1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8" name="Google Shape;948;p13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9" name="Google Shape;949;p1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0" name="Google Shape;950;p1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1" name="Google Shape;951;p1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52" name="Google Shape;952;p13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6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6" name="Google Shape;616;p6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17" name="Google Shape;617;p6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18" name="Google Shape;618;p6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9" name="Google Shape;619;p6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0" name="Google Shape;620;p6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21" name="Google Shape;621;p6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2" name="Google Shape;622;p6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23" name="Google Shape;623;p6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4" name="Google Shape;624;p6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25" name="Google Shape;625;p6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6" name="Google Shape;626;p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7" name="Google Shape;627;p6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8" name="Google Shape;628;p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4" name="Google Shape;954;p13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55" name="Google Shape;955;p13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56" name="Google Shape;956;p13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7" name="Google Shape;957;p1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8" name="Google Shape;958;p1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9" name="Google Shape;959;p1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60" name="Google Shape;960;p1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1" name="Google Shape;961;p13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62" name="Google Shape;962;p1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3" name="Google Shape;963;p1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4" name="Google Shape;964;p1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65" name="Google Shape;965;p13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9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7" name="Google Shape;967;p137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8" name="Google Shape;968;p13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69" name="Google Shape;969;p13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70" name="Google Shape;970;p137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71" name="Google Shape;971;p137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72" name="Google Shape;972;p137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3" name="Google Shape;973;p137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4" name="Google Shape;974;p137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5" name="Google Shape;975;p1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6" name="Google Shape;976;p13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77" name="Google Shape;977;p1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9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9" name="Google Shape;979;p13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0" name="Google Shape;980;p13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1" name="Google Shape;981;p1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2" name="Google Shape;982;p1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83" name="Google Shape;983;p1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84" name="Google Shape;984;p1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85" name="Google Shape;985;p1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6" name="Google Shape;986;p13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7" name="Google Shape;987;p1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8" name="Google Shape;988;p1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9" name="Google Shape;989;p1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90" name="Google Shape;990;p13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9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2" name="Google Shape;992;p13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93" name="Google Shape;993;p13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4" name="Google Shape;994;p13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995" name="Google Shape;995;p13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996" name="Google Shape;996;p13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997" name="Google Shape;997;p13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98" name="Google Shape;998;p13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999" name="Google Shape;999;p13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10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1" name="Google Shape;1001;p14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02" name="Google Shape;1002;p14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3" name="Google Shape;1003;p14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4" name="Google Shape;1004;p14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05" name="Google Shape;1005;p14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06" name="Google Shape;1006;p14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7" name="Google Shape;1007;p14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10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9" name="Google Shape;1009;p1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10" name="Google Shape;1010;p1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11" name="Google Shape;1011;p1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12" name="Google Shape;1012;p1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3" name="Google Shape;1013;p1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14" name="Google Shape;1014;p1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15" name="Google Shape;1015;p14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7" name="Google Shape;1017;p14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8" name="Google Shape;1018;p14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9" name="Google Shape;1019;p14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0" name="Google Shape;1020;p1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1" name="Google Shape;1021;p1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2" name="Google Shape;1022;p1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23" name="Google Shape;1023;p1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24" name="Google Shape;1024;p14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25" name="Google Shape;1025;p1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26" name="Google Shape;1026;p1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27" name="Google Shape;1027;p1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28" name="Google Shape;1028;p14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10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0" name="Google Shape;1030;p1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1" name="Google Shape;1031;p14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2" name="Google Shape;1032;p1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3" name="Google Shape;1033;p1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4" name="Google Shape;1034;p1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35" name="Google Shape;1035;p1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36" name="Google Shape;1036;p14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7" name="Google Shape;1037;p1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38" name="Google Shape;1038;p1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39" name="Google Shape;1039;p1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1" name="Google Shape;1041;p1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2" name="Google Shape;1042;p1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43" name="Google Shape;1043;p1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44" name="Google Shape;1044;p1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45" name="Google Shape;1045;p1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6" name="Google Shape;1046;p1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7" name="Google Shape;1047;p1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8" name="Google Shape;1048;p14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9" name="Google Shape;1049;p14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0" name="Google Shape;1050;p1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1" name="Google Shape;1051;p1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3" name="Google Shape;1053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4" name="Google Shape;1054;p14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5" name="Google Shape;1055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6" name="Google Shape;1056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7" name="Google Shape;1057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8" name="Google Shape;1058;p1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9" name="Google Shape;1059;p14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60" name="Google Shape;1060;p14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1" name="Google Shape;1061;p14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62" name="Google Shape;1062;p14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3" name="Google Shape;1063;p1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4" name="Google Shape;1064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65" name="Google Shape;1065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6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" name="Google Shape;631;p6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6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3" name="Google Shape;633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4" name="Google Shape;634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5" name="Google Shape;635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36" name="Google Shape;636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7" name="Google Shape;637;p6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8" name="Google Shape;638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9" name="Google Shape;639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0" name="Google Shape;640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1" name="Google Shape;641;p6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7" name="Google Shape;1067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8" name="Google Shape;1068;p14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9" name="Google Shape;1069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0" name="Google Shape;1070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1" name="Google Shape;1071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2" name="Google Shape;1072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73" name="Google Shape;1073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4" name="Google Shape;1074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5" name="Google Shape;1075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7" name="Google Shape;1077;p14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78" name="Google Shape;1078;p14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79" name="Google Shape;1079;p14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80" name="Google Shape;1080;p14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1" name="Google Shape;1081;p14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2" name="Google Shape;1082;p14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83" name="Google Shape;1083;p14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84" name="Google Shape;1084;p14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1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6" name="Google Shape;1086;p1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7" name="Google Shape;1087;p1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8" name="Google Shape;1088;p1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89" name="Google Shape;1089;p1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0" name="Google Shape;1090;p14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1" name="Google Shape;1091;p1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2" name="Google Shape;1092;p1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93" name="Google Shape;1093;p1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10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" name="Google Shape;1095;p14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96" name="Google Shape;1096;p14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97" name="Google Shape;1097;p14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98" name="Google Shape;1098;p14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99" name="Google Shape;1099;p14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0" name="Google Shape;1100;p14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1" name="Google Shape;1101;p14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2" name="Google Shape;1102;p1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1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4" name="Google Shape;1104;p15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05" name="Google Shape;1105;p15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6" name="Google Shape;1106;p15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7" name="Google Shape;1107;p15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8" name="Google Shape;1108;p15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09" name="Google Shape;1109;p15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0" name="Google Shape;1110;p15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1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2" name="Google Shape;1112;p15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13" name="Google Shape;1113;p15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4" name="Google Shape;1114;p15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15" name="Google Shape;1115;p15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6" name="Google Shape;1116;p15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17" name="Google Shape;1117;p15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18" name="Google Shape;1118;p15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0" name="Google Shape;1120;p15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1" name="Google Shape;1121;p15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2" name="Google Shape;1122;p15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3" name="Google Shape;1123;p1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24" name="Google Shape;1124;p1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25" name="Google Shape;1125;p1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26" name="Google Shape;1126;p1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27" name="Google Shape;1127;p15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28" name="Google Shape;1128;p1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9" name="Google Shape;1129;p1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0" name="Google Shape;1130;p1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1" name="Google Shape;1131;p15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1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33" name="Google Shape;1133;p15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4" name="Google Shape;1134;p15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5" name="Google Shape;1135;p15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36" name="Google Shape;1136;p15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7" name="Google Shape;1137;p15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38" name="Google Shape;1138;p1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39" name="Google Shape;1139;p1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0" name="Google Shape;1140;p1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1" name="Google Shape;1141;p15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2" name="Google Shape;1142;p1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1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4" name="Google Shape;1144;p15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5" name="Google Shape;1145;p15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46" name="Google Shape;1146;p1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7" name="Google Shape;1147;p15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8" name="Google Shape;1148;p1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9" name="Google Shape;1149;p1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0" name="Google Shape;1150;p1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1" name="Google Shape;1151;p15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2" name="Google Shape;1152;p15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53" name="Google Shape;1153;p1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54" name="Google Shape;1154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56" name="Google Shape;1156;p1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7" name="Google Shape;1157;p15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8" name="Google Shape;1158;p1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9" name="Google Shape;1159;p1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0" name="Google Shape;1160;p1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1" name="Google Shape;1161;p15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2" name="Google Shape;1162;p15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63" name="Google Shape;1163;p15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4" name="Google Shape;1164;p15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65" name="Google Shape;1165;p15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6" name="Google Shape;1166;p1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7" name="Google Shape;1167;p1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8" name="Google Shape;1168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6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0" name="Google Shape;630;p6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1" name="Google Shape;631;p6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2" name="Google Shape;632;p6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3" name="Google Shape;633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4" name="Google Shape;634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35" name="Google Shape;635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36" name="Google Shape;636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7" name="Google Shape;637;p6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8" name="Google Shape;638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9" name="Google Shape;639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40" name="Google Shape;640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41" name="Google Shape;641;p6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1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0" name="Google Shape;1170;p1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1" name="Google Shape;1171;p15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2" name="Google Shape;1172;p1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73" name="Google Shape;1173;p1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74" name="Google Shape;1174;p1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75" name="Google Shape;1175;p1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6" name="Google Shape;1176;p1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7" name="Google Shape;1177;p1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8" name="Google Shape;1178;p1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1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0" name="Google Shape;1180;p15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81" name="Google Shape;1181;p15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2" name="Google Shape;1182;p15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83" name="Google Shape;1183;p15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84" name="Google Shape;1184;p15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5" name="Google Shape;1185;p15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86" name="Google Shape;1186;p15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87" name="Google Shape;1187;p15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9" name="Google Shape;1189;p1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0" name="Google Shape;1190;p1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1" name="Google Shape;1191;p1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2" name="Google Shape;1192;p1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93" name="Google Shape;1193;p15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94" name="Google Shape;1194;p1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95" name="Google Shape;1195;p1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96" name="Google Shape;1196;p1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" name="Google Shape;1198;p15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9" name="Google Shape;1199;p15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0" name="Google Shape;1200;p15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1" name="Google Shape;1201;p1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2" name="Google Shape;1202;p1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03" name="Google Shape;1203;p1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04" name="Google Shape;1204;p1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05" name="Google Shape;1205;p15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6" name="Google Shape;1206;p1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7" name="Google Shape;1207;p1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8" name="Google Shape;1208;p1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09" name="Google Shape;1209;p15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1" name="Google Shape;1211;p16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2" name="Google Shape;1212;p16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3" name="Google Shape;1213;p16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14" name="Google Shape;1214;p1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5" name="Google Shape;1215;p1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6" name="Google Shape;1216;p16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7" name="Google Shape;1217;p16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18" name="Google Shape;1218;p16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19" name="Google Shape;1219;p160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2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1" name="Google Shape;1221;p16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2" name="Google Shape;1222;p16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3" name="Google Shape;1223;p16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24" name="Google Shape;1224;p1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5" name="Google Shape;1225;p1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26" name="Google Shape;1226;p16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7" name="Google Shape;1227;p16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28" name="Google Shape;1228;p16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29" name="Google Shape;1229;p16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" name="Google Shape;1231;p16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2" name="Google Shape;1232;p16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3" name="Google Shape;1233;p16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4" name="Google Shape;1234;p16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35" name="Google Shape;1235;p16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2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7" name="Google Shape;1237;p16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38" name="Google Shape;1238;p16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39" name="Google Shape;1239;p16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0" name="Google Shape;1240;p16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1" name="Google Shape;1241;p16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2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3" name="Google Shape;1243;p16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4" name="Google Shape;1244;p16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5" name="Google Shape;1245;p16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6" name="Google Shape;1246;p16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7" name="Google Shape;1247;p16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48" name="Google Shape;1248;p16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0" name="Google Shape;1250;p16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51" name="Google Shape;1251;p16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2" name="Google Shape;1252;p16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53" name="Google Shape;1253;p1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4" name="Google Shape;1254;p1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55" name="Google Shape;1255;p16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6" name="Google Shape;1256;p16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7" name="Google Shape;1257;p16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58" name="Google Shape;1258;p165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1" name="Google Shape;81;p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" name="Google Shape;82;p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3" name="Google Shape;83;p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4" name="Google Shape;84;p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" name="Google Shape;85;p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6" name="Google Shape;86;p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" name="Google Shape;88;p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" name="Google Shape;89;p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0" name="Google Shape;90;p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6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3" name="Google Shape;643;p62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44" name="Google Shape;644;p62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45" name="Google Shape;645;p62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46" name="Google Shape;646;p62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47" name="Google Shape;647;p62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8" name="Google Shape;648;p62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49" name="Google Shape;649;p6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50" name="Google Shape;650;p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0" name="Google Shape;1260;p16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1" name="Google Shape;1261;p16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2" name="Google Shape;1262;p16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3" name="Google Shape;1263;p16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64" name="Google Shape;1264;p16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2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6" name="Google Shape;1266;p16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67" name="Google Shape;1267;p16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68" name="Google Shape;1268;p16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9" name="Google Shape;1269;p16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0" name="Google Shape;1270;p16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2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" name="Google Shape;1272;p16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3" name="Google Shape;1273;p16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4" name="Google Shape;1274;p16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5" name="Google Shape;1275;p16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6" name="Google Shape;1276;p16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77" name="Google Shape;1277;p168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9" name="Google Shape;1279;p16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80" name="Google Shape;1280;p16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1" name="Google Shape;1281;p16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82" name="Google Shape;1282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3" name="Google Shape;1283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84" name="Google Shape;1284;p16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5" name="Google Shape;1285;p16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6" name="Google Shape;1286;p16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87" name="Google Shape;1287;p169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9" name="Google Shape;1289;p17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0" name="Google Shape;1290;p17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1" name="Google Shape;1291;p17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2" name="Google Shape;1292;p17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93" name="Google Shape;1293;p170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5" name="Google Shape;1295;p17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96" name="Google Shape;1296;p17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97" name="Google Shape;1297;p17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8" name="Google Shape;1298;p17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9" name="Google Shape;1299;p17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1" name="Google Shape;1301;p17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2" name="Google Shape;1302;p17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3" name="Google Shape;1303;p17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4" name="Google Shape;1304;p17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5" name="Google Shape;1305;p17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06" name="Google Shape;1306;p172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8" name="Google Shape;1308;p173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9" name="Google Shape;1309;p173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0" name="Google Shape;1310;p17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11" name="Google Shape;1311;p1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2" name="Google Shape;1312;p1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13" name="Google Shape;1313;p173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4" name="Google Shape;1314;p173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5" name="Google Shape;1315;p173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6" name="Google Shape;1316;p17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3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8" name="Google Shape;1318;p17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19" name="Google Shape;1319;p17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0" name="Google Shape;1320;p1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21" name="Google Shape;1321;p1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2" name="Google Shape;1322;p1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23" name="Google Shape;1323;p17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4" name="Google Shape;1324;p17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5" name="Google Shape;1325;p17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26" name="Google Shape;1326;p17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17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29" name="Google Shape;1329;p17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0" name="Google Shape;1330;p17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1" name="Google Shape;1331;p17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32" name="Google Shape;1332;p17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6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2" name="Google Shape;652;p6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3" name="Google Shape;653;p63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4" name="Google Shape;654;p6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5" name="Google Shape;655;p6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6" name="Google Shape;656;p6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7" name="Google Shape;657;p6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8" name="Google Shape;658;p6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9" name="Google Shape;659;p6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60" name="Google Shape;660;p6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3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4" name="Google Shape;1334;p17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35" name="Google Shape;1335;p17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36" name="Google Shape;1336;p17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7" name="Google Shape;1337;p17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8" name="Google Shape;1338;p17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3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0" name="Google Shape;1340;p17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1" name="Google Shape;1341;p17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2" name="Google Shape;1342;p17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3" name="Google Shape;1343;p17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4" name="Google Shape;1344;p17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45" name="Google Shape;1345;p17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7" name="Google Shape;1347;p17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48" name="Google Shape;1348;p17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9" name="Google Shape;1349;p17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50" name="Google Shape;1350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1" name="Google Shape;1351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52" name="Google Shape;1352;p17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3" name="Google Shape;1353;p17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4" name="Google Shape;1354;p17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5" name="Google Shape;1355;p17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3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7" name="Google Shape;1357;p17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8" name="Google Shape;1358;p17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9" name="Google Shape;1359;p17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0" name="Google Shape;1360;p17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61" name="Google Shape;1361;p17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3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3" name="Google Shape;1363;p18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64" name="Google Shape;1364;p18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65" name="Google Shape;1365;p18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6" name="Google Shape;1366;p18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7" name="Google Shape;1367;p18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13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9" name="Google Shape;1369;p18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0" name="Google Shape;1370;p18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1" name="Google Shape;1371;p18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2" name="Google Shape;1372;p18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73" name="Google Shape;1373;p18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74" name="Google Shape;1374;p18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13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6" name="Google Shape;1376;p182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7" name="Google Shape;1377;p18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8" name="Google Shape;1378;p18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79" name="Google Shape;1379;p182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80" name="Google Shape;1380;p18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13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" name="Google Shape;1382;p18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83" name="Google Shape;1383;p18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84" name="Google Shape;1384;p18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5" name="Google Shape;1385;p183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6" name="Google Shape;1386;p183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1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8" name="Google Shape;1388;p18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9" name="Google Shape;1389;p18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0" name="Google Shape;1390;p184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1" name="Google Shape;1391;p184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2" name="Google Shape;1392;p184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93" name="Google Shape;1393;p18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5" name="Google Shape;1395;p18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6" name="Google Shape;1396;p18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7" name="Google Shape;1397;p18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398" name="Google Shape;1398;p18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399" name="Google Shape;1399;p18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00" name="Google Shape;1400;p18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1" name="Google Shape;1401;p18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02" name="Google Shape;1402;p18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6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2" name="Google Shape;662;p6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63" name="Google Shape;663;p6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4" name="Google Shape;664;p6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65" name="Google Shape;665;p6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66" name="Google Shape;666;p6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7" name="Google Shape;667;p6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68" name="Google Shape;668;p64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69" name="Google Shape;669;p6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14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04" name="Google Shape;1404;p18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405" name="Google Shape;1405;p18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6" name="Google Shape;1406;p18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7" name="Google Shape;1407;p18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08" name="Google Shape;1408;p18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409" name="Google Shape;1409;p18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0" name="Google Shape;1410;p18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2" name="Google Shape;1412;p18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13" name="Google Shape;1413;p18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14" name="Google Shape;1414;p18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15" name="Google Shape;1415;p18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6" name="Google Shape;1416;p18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17" name="Google Shape;1417;p18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418" name="Google Shape;1418;p18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4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0" name="Google Shape;1420;p18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1" name="Google Shape;1421;p18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2" name="Google Shape;1422;p18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23" name="Google Shape;1423;p18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24" name="Google Shape;1424;p1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25" name="Google Shape;1425;p1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26" name="Google Shape;1426;p1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27" name="Google Shape;1427;p18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28" name="Google Shape;1428;p1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29" name="Google Shape;1429;p1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0" name="Google Shape;1430;p1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31" name="Google Shape;1431;p18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14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" name="Google Shape;1433;p1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34" name="Google Shape;1434;p18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5" name="Google Shape;1435;p1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36" name="Google Shape;1436;p1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37" name="Google Shape;1437;p1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38" name="Google Shape;1438;p1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9" name="Google Shape;1439;p18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0" name="Google Shape;1440;p1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41" name="Google Shape;1441;p1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42" name="Google Shape;1442;p1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44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4" name="Google Shape;1444;p1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5" name="Google Shape;1445;p19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46" name="Google Shape;1446;p1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47" name="Google Shape;1447;p19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48" name="Google Shape;1448;p1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49" name="Google Shape;1449;p1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0" name="Google Shape;1450;p1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51" name="Google Shape;1451;p19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52" name="Google Shape;1452;p19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53" name="Google Shape;1453;p1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54" name="Google Shape;1454;p1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4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56" name="Google Shape;1456;p19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57" name="Google Shape;1457;p19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58" name="Google Shape;1458;p19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59" name="Google Shape;1459;p19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60" name="Google Shape;1460;p19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61" name="Google Shape;1461;p19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2" name="Google Shape;1462;p19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63" name="Google Shape;1463;p19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4" name="Google Shape;1464;p19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465" name="Google Shape;1465;p19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6" name="Google Shape;1466;p19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67" name="Google Shape;1467;p19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68" name="Google Shape;1468;p19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4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70" name="Google Shape;1470;p1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71" name="Google Shape;1471;p19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72" name="Google Shape;1472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73" name="Google Shape;1473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74" name="Google Shape;1474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75" name="Google Shape;1475;p19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6" name="Google Shape;1476;p1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77" name="Google Shape;1477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8" name="Google Shape;1478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4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80" name="Google Shape;1480;p19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481" name="Google Shape;1481;p19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2" name="Google Shape;1482;p19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83" name="Google Shape;1483;p19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4" name="Google Shape;1484;p19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5" name="Google Shape;1485;p19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86" name="Google Shape;1486;p193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487" name="Google Shape;1487;p19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4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9" name="Google Shape;1489;p1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90" name="Google Shape;1490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1" name="Google Shape;1491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492" name="Google Shape;1492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93" name="Google Shape;1493;p19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94" name="Google Shape;1494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95" name="Google Shape;1495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96" name="Google Shape;1496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4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8" name="Google Shape;1498;p19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9" name="Google Shape;1499;p19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0" name="Google Shape;1500;p19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01" name="Google Shape;1501;p19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02" name="Google Shape;1502;p19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03" name="Google Shape;1503;p19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4" name="Google Shape;1504;p19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05" name="Google Shape;1505;p19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6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Google Shape;671;p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72" name="Google Shape;672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3" name="Google Shape;673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74" name="Google Shape;674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5" name="Google Shape;675;p65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6" name="Google Shape;676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7" name="Google Shape;677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78" name="Google Shape;678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07" name="Google Shape;1507;p19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08" name="Google Shape;1508;p19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9" name="Google Shape;1509;p19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0" name="Google Shape;1510;p19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11" name="Google Shape;1511;p19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12" name="Google Shape;1512;p19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3" name="Google Shape;1513;p19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" name="Google Shape;1515;p19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16" name="Google Shape;1516;p19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17" name="Google Shape;1517;p19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18" name="Google Shape;1518;p19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9" name="Google Shape;1519;p19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20" name="Google Shape;1520;p19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21" name="Google Shape;1521;p19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5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3" name="Google Shape;1523;p19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24" name="Google Shape;1524;p19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25" name="Google Shape;1525;p19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26" name="Google Shape;1526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27" name="Google Shape;1527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8" name="Google Shape;1528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29" name="Google Shape;1529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0" name="Google Shape;1530;p19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1" name="Google Shape;1531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2" name="Google Shape;1532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3" name="Google Shape;1533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34" name="Google Shape;1534;p19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15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6" name="Google Shape;1536;p1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37" name="Google Shape;1537;p199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8" name="Google Shape;1538;p1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9" name="Google Shape;1539;p1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0" name="Google Shape;1540;p1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41" name="Google Shape;1541;p1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2" name="Google Shape;1542;p19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3" name="Google Shape;1543;p1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4" name="Google Shape;1544;p1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5" name="Google Shape;1545;p1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5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7" name="Google Shape;1547;p20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8" name="Google Shape;1548;p20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49" name="Google Shape;1549;p20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50" name="Google Shape;1550;p20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51" name="Google Shape;1551;p20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52" name="Google Shape;1552;p20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3" name="Google Shape;1553;p20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54" name="Google Shape;1554;p200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5" name="Google Shape;1555;p200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56" name="Google Shape;1556;p20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57" name="Google Shape;1557;p20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5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9" name="Google Shape;1559;p20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0" name="Google Shape;1560;p201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1" name="Google Shape;1561;p20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2" name="Google Shape;1562;p20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3" name="Google Shape;1563;p20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64" name="Google Shape;1564;p20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5" name="Google Shape;1565;p201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66" name="Google Shape;1566;p201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7" name="Google Shape;1567;p201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68" name="Google Shape;1568;p201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9" name="Google Shape;1569;p20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0" name="Google Shape;1570;p20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71" name="Google Shape;1571;p20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5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3" name="Google Shape;1573;p2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74" name="Google Shape;1574;p20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75" name="Google Shape;1575;p2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76" name="Google Shape;1576;p2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77" name="Google Shape;1577;p2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78" name="Google Shape;1578;p20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9" name="Google Shape;1579;p2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80" name="Google Shape;1580;p2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1" name="Google Shape;1581;p2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3" name="Google Shape;1583;p203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84" name="Google Shape;1584;p203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5" name="Google Shape;1585;p203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86" name="Google Shape;1586;p203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87" name="Google Shape;1587;p203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8" name="Google Shape;1588;p203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89" name="Google Shape;1589;p203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90" name="Google Shape;1590;p20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2" name="Google Shape;1592;p20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93" name="Google Shape;1593;p2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94" name="Google Shape;1594;p2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95" name="Google Shape;1595;p2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96" name="Google Shape;1596;p20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97" name="Google Shape;1597;p2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98" name="Google Shape;1598;p2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9" name="Google Shape;1599;p2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1" name="Google Shape;1601;p205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02" name="Google Shape;1602;p20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03" name="Google Shape;1603;p205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04" name="Google Shape;1604;p205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05" name="Google Shape;1605;p205"/>
            <p:cNvPicPr preferRelativeResize="0"/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06" name="Google Shape;1606;p205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7" name="Google Shape;1607;p205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8" name="Google Shape;1608;p205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9" name="Google Shape;1609;p205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Google Shape;680;p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1" name="Google Shape;681;p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2" name="Google Shape;682;p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3" name="Google Shape;683;p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4" name="Google Shape;684;p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5" name="Google Shape;685;p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86" name="Google Shape;686;p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7" name="Google Shape;687;p6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8" name="Google Shape;688;p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9" name="Google Shape;689;p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0" name="Google Shape;690;p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1" name="Google Shape;691;p6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6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1" name="Google Shape;1611;p206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2" name="Google Shape;1612;p206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13" name="Google Shape;1613;p206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4" name="Google Shape;1614;p206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5" name="Google Shape;1615;p2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16" name="Google Shape;1616;p206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1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8" name="Google Shape;1618;p207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9" name="Google Shape;1619;p207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0" name="Google Shape;1620;p207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21" name="Google Shape;1621;p2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2" name="Google Shape;1622;p2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23" name="Google Shape;1623;p207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4" name="Google Shape;1624;p207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25" name="Google Shape;1625;p207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26" name="Google Shape;1626;p207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">
    <p:spTree>
      <p:nvGrpSpPr>
        <p:cNvPr id="1" name="Shape 1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" name="Google Shape;1628;p208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29" name="Google Shape;1629;p20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30" name="Google Shape;1630;p208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31" name="Google Shape;1631;p208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32" name="Google Shape;1632;p208"/>
            <p:cNvPicPr preferRelativeResize="0"/>
            <p:nvPr/>
          </p:nvPicPr>
          <p:blipFill rotWithShape="1">
            <a:blip r:embed="rId3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8"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633" name="Google Shape;1633;p208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4" name="Google Shape;1634;p208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5" name="Google Shape;1635;p208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6" name="Google Shape;1636;p208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16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" name="Google Shape;1638;p209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39" name="Google Shape;1639;p209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0" name="Google Shape;1640;p209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1" name="Google Shape;1641;p209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2" name="Google Shape;1642;p20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43" name="Google Shape;1643;p209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16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5" name="Google Shape;1645;p21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46" name="Google Shape;1646;p21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7" name="Google Shape;1647;p21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48" name="Google Shape;1648;p21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9" name="Google Shape;1649;p2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50" name="Google Shape;1650;p21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1" name="Google Shape;1651;p21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2" name="Google Shape;1652;p21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53" name="Google Shape;1653;p21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1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5" name="Google Shape;1655;p21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56" name="Google Shape;1656;p21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7" name="Google Shape;1657;p21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58" name="Google Shape;1658;p21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59" name="Google Shape;1659;p21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16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1" name="Google Shape;1661;p21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62" name="Google Shape;1662;p2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663" name="Google Shape;1663;p21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64" name="Google Shape;1664;p21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5" name="Google Shape;1665;p21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16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7" name="Google Shape;1667;p21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68" name="Google Shape;1668;p21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69" name="Google Shape;1669;p21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0" name="Google Shape;1670;p21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1" name="Google Shape;1671;p21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72" name="Google Shape;1672;p21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6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4" name="Google Shape;1674;p214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5" name="Google Shape;1675;p214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676" name="Google Shape;1676;p21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77" name="Google Shape;1677;p2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8" name="Google Shape;1678;p2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0" name="Google Shape;1680;p215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1" name="Google Shape;1681;p215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682" name="Google Shape;1682;p215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683" name="Google Shape;1683;p21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684" name="Google Shape;1684;p2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85" name="Google Shape;1685;p2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Google Shape;680;p6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1" name="Google Shape;681;p6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82" name="Google Shape;682;p6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3" name="Google Shape;683;p6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84" name="Google Shape;684;p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85" name="Google Shape;685;p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86" name="Google Shape;686;p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87" name="Google Shape;687;p6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8" name="Google Shape;688;p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9" name="Google Shape;689;p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0" name="Google Shape;690;p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91" name="Google Shape;691;p6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7" name="Google Shape;1687;p216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8" name="Google Shape;1688;p216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89" name="Google Shape;1689;p216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90" name="Google Shape;1690;p216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691" name="Google Shape;1691;p216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2" name="Google Shape;1692;p216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93" name="Google Shape;1693;p216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94" name="Google Shape;1694;p216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695" name="Google Shape;1695;p216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6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7" name="Google Shape;1697;p2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98" name="Google Shape;1698;p2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99" name="Google Shape;1699;p2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0" name="Google Shape;1700;p2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01" name="Google Shape;1701;p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02" name="Google Shape;1702;p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03" name="Google Shape;1703;p2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04" name="Google Shape;1704;p21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05" name="Google Shape;1705;p2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06" name="Google Shape;1706;p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07" name="Google Shape;1707;p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08" name="Google Shape;1708;p21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1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" name="Google Shape;1710;p218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1" name="Google Shape;1711;p218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12" name="Google Shape;1712;p218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3" name="Google Shape;1713;p218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714" name="Google Shape;1714;p218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5" name="Google Shape;1715;p218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16" name="Google Shape;1716;p218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17" name="Google Shape;1717;p218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18" name="Google Shape;1718;p21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0" name="Google Shape;1720;p21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21" name="Google Shape;1721;p21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22" name="Google Shape;1722;p21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723" name="Google Shape;1723;p21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724" name="Google Shape;1724;p21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725" name="Google Shape;1725;p21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26" name="Google Shape;1726;p21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27" name="Google Shape;1727;p21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9" name="Google Shape;1729;p22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30" name="Google Shape;1730;p22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1" name="Google Shape;1731;p22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32" name="Google Shape;1732;p22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33" name="Google Shape;1733;p22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34" name="Google Shape;1734;p22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5" name="Google Shape;1735;p22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7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7" name="Google Shape;1737;p22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38" name="Google Shape;1738;p22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39" name="Google Shape;1739;p22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40" name="Google Shape;1740;p22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1" name="Google Shape;1741;p22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42" name="Google Shape;1742;p22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43" name="Google Shape;1743;p22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5" name="Google Shape;1745;p2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46" name="Google Shape;1746;p2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47" name="Google Shape;1747;p2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48" name="Google Shape;1748;p2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49" name="Google Shape;1749;p222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50" name="Google Shape;1750;p2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51" name="Google Shape;1751;p2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52" name="Google Shape;1752;p2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7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4" name="Google Shape;1754;p2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55" name="Google Shape;1755;p2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56" name="Google Shape;1756;p2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57" name="Google Shape;1757;p2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58" name="Google Shape;1758;p2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59" name="Google Shape;1759;p2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60" name="Google Shape;1760;p2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1" name="Google Shape;1761;p22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2" name="Google Shape;1762;p2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3" name="Google Shape;1763;p2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4" name="Google Shape;1764;p2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65" name="Google Shape;1765;p22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67" name="Google Shape;1767;p2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8" name="Google Shape;1768;p22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9" name="Google Shape;1769;p2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70" name="Google Shape;1770;p2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1" name="Google Shape;1771;p2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72" name="Google Shape;1772;p2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3" name="Google Shape;1773;p22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74" name="Google Shape;1774;p2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75" name="Google Shape;1775;p2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6" name="Google Shape;1776;p2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7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8" name="Google Shape;1778;p22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9" name="Google Shape;1779;p22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80" name="Google Shape;1780;p2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1" name="Google Shape;1781;p22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2" name="Google Shape;1782;p2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3" name="Google Shape;1783;p2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4" name="Google Shape;1784;p2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85" name="Google Shape;1785;p225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6" name="Google Shape;1786;p225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7" name="Google Shape;1787;p2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8" name="Google Shape;1788;p2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6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3" name="Google Shape;693;p6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4" name="Google Shape;694;p6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95" name="Google Shape;695;p6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696" name="Google Shape;696;p6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697" name="Google Shape;697;p6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698" name="Google Shape;698;p6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99" name="Google Shape;699;p6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0" name="Google Shape;700;p6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7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0" name="Google Shape;1790;p2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91" name="Google Shape;1791;p22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92" name="Google Shape;1792;p2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93" name="Google Shape;1793;p2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4" name="Google Shape;1794;p2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95" name="Google Shape;1795;p2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6" name="Google Shape;1796;p226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97" name="Google Shape;1797;p226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8" name="Google Shape;1798;p226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99" name="Google Shape;1799;p226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0" name="Google Shape;1800;p2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01" name="Google Shape;1801;p2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2" name="Google Shape;1802;p2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04" name="Google Shape;1804;p2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05" name="Google Shape;1805;p22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6" name="Google Shape;1806;p2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07" name="Google Shape;1807;p2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8" name="Google Shape;1808;p2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09" name="Google Shape;1809;p2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0" name="Google Shape;1810;p2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1" name="Google Shape;1811;p2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2" name="Google Shape;1812;p2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14" name="Google Shape;1814;p228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815" name="Google Shape;1815;p228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6" name="Google Shape;1816;p228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17" name="Google Shape;1817;p228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18" name="Google Shape;1818;p228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9" name="Google Shape;1819;p228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820" name="Google Shape;1820;p22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821" name="Google Shape;1821;p22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3" name="Google Shape;1823;p2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24" name="Google Shape;1824;p2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25" name="Google Shape;1825;p2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26" name="Google Shape;1826;p2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27" name="Google Shape;1827;p22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28" name="Google Shape;1828;p2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29" name="Google Shape;1829;p2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0" name="Google Shape;1830;p2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1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" name="Google Shape;1832;p23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33" name="Google Shape;1833;p23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4" name="Google Shape;1834;p23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5" name="Google Shape;1835;p2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36" name="Google Shape;1836;p2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7" name="Google Shape;1837;p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38" name="Google Shape;1838;p2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39" name="Google Shape;1839;p23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40" name="Google Shape;1840;p2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41" name="Google Shape;1841;p2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2" name="Google Shape;1842;p2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43" name="Google Shape;1843;p23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3">
    <p:spTree>
      <p:nvGrpSpPr>
        <p:cNvPr id="1" name="Shape 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5" name="Google Shape;1845;p231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6" name="Google Shape;1846;p231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847" name="Google Shape;1847;p231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848" name="Google Shape;1848;p231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9" name="Google Shape;1849;p231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850" name="Google Shape;1850;p23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p23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3" name="Google Shape;1853;p23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23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55" name="Google Shape;1855;p23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56" name="Google Shape;1856;p23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57" name="Google Shape;1857;p2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8" name="Google Shape;1858;p23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59" name="Google Shape;1859;p23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1" name="Google Shape;1861;p23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62" name="Google Shape;1862;p23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3" name="Google Shape;1863;p23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4" name="Google Shape;1864;p23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65" name="Google Shape;1865;p23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66" name="Google Shape;1866;p23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7" name="Google Shape;1867;p23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9" name="Google Shape;1869;p23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70" name="Google Shape;1870;p23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71" name="Google Shape;1871;p23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72" name="Google Shape;1872;p23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3" name="Google Shape;1873;p23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74" name="Google Shape;1874;p23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75" name="Google Shape;1875;p23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7" name="Google Shape;1877;p23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8" name="Google Shape;1878;p23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9" name="Google Shape;1879;p23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0" name="Google Shape;1880;p2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1" name="Google Shape;1881;p2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2" name="Google Shape;1882;p2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83" name="Google Shape;1883;p2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84" name="Google Shape;1884;p23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5" name="Google Shape;1885;p2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6" name="Google Shape;1886;p2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7" name="Google Shape;1887;p2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88" name="Google Shape;1888;p23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7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2" name="Google Shape;702;p68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03" name="Google Shape;703;p68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4" name="Google Shape;704;p6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05" name="Google Shape;705;p68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06" name="Google Shape;706;p68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07" name="Google Shape;707;p68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8" name="Google Shape;708;p68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1">
    <p:spTree>
      <p:nvGrpSpPr>
        <p:cNvPr id="1" name="Shape 1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0" name="Google Shape;1890;p23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1" name="Google Shape;1891;p23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2" name="Google Shape;1892;p23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3" name="Google Shape;1893;p2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4" name="Google Shape;1894;p2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5" name="Google Shape;1895;p2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96" name="Google Shape;1896;p2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7" name="Google Shape;1897;p23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8" name="Google Shape;1898;p2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9" name="Google Shape;1899;p2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0" name="Google Shape;1900;p2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01" name="Google Shape;1901;p23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3" name="Google Shape;1903;p2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4" name="Google Shape;1904;p23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5" name="Google Shape;1905;p2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6" name="Google Shape;1906;p2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7" name="Google Shape;1907;p2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8" name="Google Shape;1908;p2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9" name="Google Shape;1909;p23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0" name="Google Shape;1910;p2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1" name="Google Shape;1911;p2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2" name="Google Shape;1912;p2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" name="Google Shape;1914;p2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5" name="Google Shape;1915;p2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916" name="Google Shape;1916;p2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7" name="Google Shape;1917;p2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8" name="Google Shape;1918;p2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9" name="Google Shape;1919;p2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0" name="Google Shape;1920;p2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1" name="Google Shape;1921;p23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2" name="Google Shape;1922;p23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3" name="Google Shape;1923;p2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4" name="Google Shape;1924;p2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9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6" name="Google Shape;1926;p2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27" name="Google Shape;1927;p23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28" name="Google Shape;1928;p2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29" name="Google Shape;1929;p2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0" name="Google Shape;1930;p2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31" name="Google Shape;1931;p2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2" name="Google Shape;1932;p23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3" name="Google Shape;1933;p23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4" name="Google Shape;1934;p23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5" name="Google Shape;1935;p23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6" name="Google Shape;1936;p2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7" name="Google Shape;1937;p2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8" name="Google Shape;1938;p2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0" name="Google Shape;1940;p24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41" name="Google Shape;1941;p24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42" name="Google Shape;1942;p24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43" name="Google Shape;1943;p24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4" name="Google Shape;1944;p24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45" name="Google Shape;1945;p24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6" name="Google Shape;1946;p24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47" name="Google Shape;1947;p24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48" name="Google Shape;1948;p24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0" name="Google Shape;1950;p24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51" name="Google Shape;1951;p24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2" name="Google Shape;1952;p24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53" name="Google Shape;1953;p24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4" name="Google Shape;1954;p24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5" name="Google Shape;1955;p24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56" name="Google Shape;1956;p2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57" name="Google Shape;1957;p24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9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9" name="Google Shape;1959;p2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60" name="Google Shape;1960;p2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1" name="Google Shape;1961;p2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2" name="Google Shape;1962;p2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3" name="Google Shape;1963;p24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4" name="Google Shape;1964;p2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65" name="Google Shape;1965;p2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6" name="Google Shape;1966;p2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8" name="Google Shape;1968;p243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9" name="Google Shape;1969;p243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0" name="Google Shape;1970;p243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971" name="Google Shape;1971;p243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2" name="Google Shape;1972;p243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973" name="Google Shape;1973;p243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4" name="Google Shape;1974;p243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5" name="Google Shape;1975;p243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6" name="Google Shape;1976;p2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7" name="Google Shape;1977;p24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78" name="Google Shape;1978;p2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0" name="Google Shape;1980;p24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1" name="Google Shape;1981;p24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2" name="Google Shape;1982;p24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3" name="Google Shape;1983;p2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4" name="Google Shape;1984;p2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85" name="Google Shape;1985;p2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86" name="Google Shape;1986;p2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87" name="Google Shape;1987;p244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88" name="Google Shape;1988;p2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89" name="Google Shape;1989;p2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0" name="Google Shape;1990;p2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91" name="Google Shape;1991;p24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">
    <p:bg>
      <p:bgPr>
        <a:solidFill>
          <a:schemeClr val="lt2"/>
        </a:solidFill>
        <a:effectLst/>
      </p:bgPr>
    </p:bg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oogle Shape;15;p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6" name="Google Shape;16;p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" name="Google Shape;17;p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" name="Google Shape;18;p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9" name="Google Shape;19;p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" name="Google Shape;20;p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" name="Google Shape;21;p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7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0" name="Google Shape;710;p6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11" name="Google Shape;711;p6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12" name="Google Shape;712;p6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13" name="Google Shape;713;p6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4" name="Google Shape;714;p6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5" name="Google Shape;715;p6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16" name="Google Shape;716;p69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oogle Shape;23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" name="Google Shape;24;p7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5" name="Google Shape;25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" name="Google Shape;26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7" name="Google Shape;27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8" name="Google Shape;28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" name="Google Shape;31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2" name="Google Shape;32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Google Shape;34;p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5" name="Google Shape;35;p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7" name="Google Shape;37;p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8" name="Google Shape;38;p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9" name="Google Shape;39;p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0" name="Google Shape;40;p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1" name="Google Shape;41;p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4" name="Google Shape;44;p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5" name="Google Shape;45;p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" name="Google Shape;46;p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7" name="Google Shape;47;p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8" name="Google Shape;48;p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Google Shape;51;p1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2" name="Google Shape;52;p1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3" name="Google Shape;53;p1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4" name="Google Shape;54;p1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5" name="Google Shape;55;p1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6" name="Google Shape;56;p1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7" name="Google Shape;57;p1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1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" name="Google Shape;60;p1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1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" name="Google Shape;62;p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3" name="Google Shape;63;p1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" name="Google Shape;64;p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5" name="Google Shape;65;p1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6" name="Google Shape;66;p1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7" name="Google Shape;67;p1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8" name="Google Shape;68;p1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" name="Google Shape;69;p1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0" name="Google Shape;70;p1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2" name="Google Shape;72;p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" name="Google Shape;73;p1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4" name="Google Shape;74;p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5" name="Google Shape;75;p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" name="Google Shape;77;p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" name="Google Shape;78;p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9" name="Google Shape;79;p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" name="Google Shape;80;p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" name="Google Shape;81;p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5" name="Google Shape;85;p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6" name="Google Shape;86;p1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7" name="Google Shape;87;p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" name="Google Shape;88;p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9" name="Google Shape;89;p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0" name="Google Shape;90;p1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" name="Google Shape;91;p1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2" name="Google Shape;92;p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" name="Google Shape;93;p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" name="Google Shape;95;p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6" name="Google Shape;96;p1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7" name="Google Shape;97;p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" name="Google Shape;98;p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0" name="Google Shape;100;p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" name="Google Shape;101;p1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2" name="Google Shape;102;p1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3" name="Google Shape;103;p1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4" name="Google Shape;104;p1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" name="Google Shape;105;p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6" name="Google Shape;106;p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" name="Google Shape;107;p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9" name="Google Shape;109;p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0" name="Google Shape;110;p1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1" name="Google Shape;111;p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2" name="Google Shape;112;p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" name="Google Shape;113;p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" name="Google Shape;114;p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" name="Google Shape;116;p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" name="Google Shape;117;p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9" name="Google Shape;119;p16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20" name="Google Shape;120;p16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1" name="Google Shape;121;p16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22" name="Google Shape;122;p16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" name="Google Shape;123;p16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" name="Google Shape;124;p16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5" name="Google Shape;125;p1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26" name="Google Shape;126;p1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7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8" name="Google Shape;718;p7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9" name="Google Shape;719;p7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0" name="Google Shape;720;p7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1" name="Google Shape;721;p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22" name="Google Shape;722;p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23" name="Google Shape;723;p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24" name="Google Shape;724;p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5" name="Google Shape;725;p70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6" name="Google Shape;726;p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7" name="Google Shape;727;p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8" name="Google Shape;728;p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729" name="Google Shape;729;p7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9" name="Google Shape;129;p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0" name="Google Shape;130;p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1" name="Google Shape;131;p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2" name="Google Shape;132;p1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3" name="Google Shape;133;p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4" name="Google Shape;134;p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1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" name="Google Shape;138;p1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" name="Google Shape;139;p1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0" name="Google Shape;140;p1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1" name="Google Shape;141;p1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2" name="Google Shape;142;p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Google Shape;143;p1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4" name="Google Shape;144;p1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1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7" name="Google Shape;147;p19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48" name="Google Shape;148;p19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49" name="Google Shape;149;p19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" name="Google Shape;150;p19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1" name="Google Shape;151;p19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2" name="Google Shape;152;p1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1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Google Shape;154;p2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5" name="Google Shape;155;p2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6" name="Google Shape;156;p2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7" name="Google Shape;157;p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8" name="Google Shape;158;p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9" name="Google Shape;159;p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0" name="Google Shape;160;p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1" name="Google Shape;161;p2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" name="Google Shape;162;p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3" name="Google Shape;163;p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" name="Google Shape;164;p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5" name="Google Shape;165;p2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1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7" name="Google Shape;167;p2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8" name="Google Shape;168;p2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" name="Google Shape;169;p2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0" name="Google Shape;170;p2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1" name="Google Shape;171;p2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2" name="Google Shape;172;p2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" name="Google Shape;173;p2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2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5" name="Google Shape;175;p2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6" name="Google Shape;176;p2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1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Google Shape;178;p2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" name="Google Shape;179;p2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80" name="Google Shape;180;p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1" name="Google Shape;181;p2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2" name="Google Shape;182;p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3" name="Google Shape;183;p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" name="Google Shape;184;p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5" name="Google Shape;185;p22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22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7" name="Google Shape;187;p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" name="Google Shape;188;p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1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" name="Google Shape;190;p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" name="Google Shape;191;p2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2" name="Google Shape;192;p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3" name="Google Shape;193;p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" name="Google Shape;194;p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5" name="Google Shape;195;p2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6" name="Google Shape;196;p23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7" name="Google Shape;197;p23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" name="Google Shape;198;p23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9" name="Google Shape;199;p23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0" name="Google Shape;200;p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1" name="Google Shape;201;p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2" name="Google Shape;202;p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4" name="Google Shape;204;p2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5" name="Google Shape;205;p2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6" name="Google Shape;206;p2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7" name="Google Shape;207;p2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8" name="Google Shape;208;p2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09" name="Google Shape;209;p2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0" name="Google Shape;210;p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11" name="Google Shape;211;p2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12" name="Google Shape;212;p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2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4" name="Google Shape;214;p25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15" name="Google Shape;215;p25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6" name="Google Shape;216;p25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17" name="Google Shape;217;p25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8" name="Google Shape;218;p25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9" name="Google Shape;219;p25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20" name="Google Shape;220;p2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21" name="Google Shape;221;p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Google Shape;223;p2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4" name="Google Shape;224;p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5" name="Google Shape;225;p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26" name="Google Shape;226;p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7" name="Google Shape;227;p2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8" name="Google Shape;228;p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9" name="Google Shape;229;p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1" Type="http://schemas.openxmlformats.org/officeDocument/2006/relationships/slideLayout" Target="../slideLayouts/slideLayout21.xml"/><Relationship Id="rId63" Type="http://schemas.openxmlformats.org/officeDocument/2006/relationships/slideLayout" Target="../slideLayouts/slideLayout63.xml"/><Relationship Id="rId159" Type="http://schemas.openxmlformats.org/officeDocument/2006/relationships/slideLayout" Target="../slideLayouts/slideLayout159.xml"/><Relationship Id="rId170" Type="http://schemas.openxmlformats.org/officeDocument/2006/relationships/slideLayout" Target="../slideLayouts/slideLayout170.xml"/><Relationship Id="rId226" Type="http://schemas.openxmlformats.org/officeDocument/2006/relationships/slideLayout" Target="../slideLayouts/slideLayout226.xml"/><Relationship Id="rId268" Type="http://schemas.openxmlformats.org/officeDocument/2006/relationships/slideLayout" Target="../slideLayouts/slideLayout268.xml"/><Relationship Id="rId32" Type="http://schemas.openxmlformats.org/officeDocument/2006/relationships/slideLayout" Target="../slideLayouts/slideLayout32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5.xml"/><Relationship Id="rId181" Type="http://schemas.openxmlformats.org/officeDocument/2006/relationships/slideLayout" Target="../slideLayouts/slideLayout181.xml"/><Relationship Id="rId237" Type="http://schemas.openxmlformats.org/officeDocument/2006/relationships/slideLayout" Target="../slideLayouts/slideLayout237.xml"/><Relationship Id="rId279" Type="http://schemas.openxmlformats.org/officeDocument/2006/relationships/slideLayout" Target="../slideLayouts/slideLayout279.xml"/><Relationship Id="rId43" Type="http://schemas.openxmlformats.org/officeDocument/2006/relationships/slideLayout" Target="../slideLayouts/slideLayout43.xml"/><Relationship Id="rId139" Type="http://schemas.openxmlformats.org/officeDocument/2006/relationships/slideLayout" Target="../slideLayouts/slideLayout139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71" Type="http://schemas.openxmlformats.org/officeDocument/2006/relationships/slideLayout" Target="../slideLayouts/slideLayout171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227" Type="http://schemas.openxmlformats.org/officeDocument/2006/relationships/slideLayout" Target="../slideLayouts/slideLayout227.xml"/><Relationship Id="rId248" Type="http://schemas.openxmlformats.org/officeDocument/2006/relationships/slideLayout" Target="../slideLayouts/slideLayout248.xml"/><Relationship Id="rId269" Type="http://schemas.openxmlformats.org/officeDocument/2006/relationships/slideLayout" Target="../slideLayouts/slideLayout269.xml"/><Relationship Id="rId12" Type="http://schemas.openxmlformats.org/officeDocument/2006/relationships/slideLayout" Target="../slideLayouts/slideLayout12.xml"/><Relationship Id="rId33" Type="http://schemas.openxmlformats.org/officeDocument/2006/relationships/slideLayout" Target="../slideLayouts/slideLayout33.xml"/><Relationship Id="rId108" Type="http://schemas.openxmlformats.org/officeDocument/2006/relationships/slideLayout" Target="../slideLayouts/slideLayout108.xml"/><Relationship Id="rId129" Type="http://schemas.openxmlformats.org/officeDocument/2006/relationships/slideLayout" Target="../slideLayouts/slideLayout129.xml"/><Relationship Id="rId280" Type="http://schemas.openxmlformats.org/officeDocument/2006/relationships/slideLayout" Target="../slideLayouts/slideLayout280.xml"/><Relationship Id="rId54" Type="http://schemas.openxmlformats.org/officeDocument/2006/relationships/slideLayout" Target="../slideLayouts/slideLayout54.xml"/><Relationship Id="rId75" Type="http://schemas.openxmlformats.org/officeDocument/2006/relationships/slideLayout" Target="../slideLayouts/slideLayout75.xml"/><Relationship Id="rId96" Type="http://schemas.openxmlformats.org/officeDocument/2006/relationships/slideLayout" Target="../slideLayouts/slideLayout96.xml"/><Relationship Id="rId140" Type="http://schemas.openxmlformats.org/officeDocument/2006/relationships/slideLayout" Target="../slideLayouts/slideLayout140.xml"/><Relationship Id="rId161" Type="http://schemas.openxmlformats.org/officeDocument/2006/relationships/slideLayout" Target="../slideLayouts/slideLayout161.xml"/><Relationship Id="rId182" Type="http://schemas.openxmlformats.org/officeDocument/2006/relationships/slideLayout" Target="../slideLayouts/slideLayout182.xml"/><Relationship Id="rId217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259" Type="http://schemas.openxmlformats.org/officeDocument/2006/relationships/slideLayout" Target="../slideLayouts/slideLayout259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270" Type="http://schemas.openxmlformats.org/officeDocument/2006/relationships/slideLayout" Target="../slideLayouts/slideLayout270.xml"/><Relationship Id="rId44" Type="http://schemas.openxmlformats.org/officeDocument/2006/relationships/slideLayout" Target="../slideLayouts/slideLayout44.xml"/><Relationship Id="rId65" Type="http://schemas.openxmlformats.org/officeDocument/2006/relationships/slideLayout" Target="../slideLayouts/slideLayout65.xml"/><Relationship Id="rId86" Type="http://schemas.openxmlformats.org/officeDocument/2006/relationships/slideLayout" Target="../slideLayouts/slideLayout86.xml"/><Relationship Id="rId130" Type="http://schemas.openxmlformats.org/officeDocument/2006/relationships/slideLayout" Target="../slideLayouts/slideLayout130.xml"/><Relationship Id="rId151" Type="http://schemas.openxmlformats.org/officeDocument/2006/relationships/slideLayout" Target="../slideLayouts/slideLayout151.xml"/><Relationship Id="rId172" Type="http://schemas.openxmlformats.org/officeDocument/2006/relationships/slideLayout" Target="../slideLayouts/slideLayout172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28" Type="http://schemas.openxmlformats.org/officeDocument/2006/relationships/slideLayout" Target="../slideLayouts/slideLayout228.xml"/><Relationship Id="rId249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281" Type="http://schemas.openxmlformats.org/officeDocument/2006/relationships/slideLayout" Target="../slideLayouts/slideLayout281.xml"/><Relationship Id="rId34" Type="http://schemas.openxmlformats.org/officeDocument/2006/relationships/slideLayout" Target="../slideLayouts/slideLayout34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62" Type="http://schemas.openxmlformats.org/officeDocument/2006/relationships/slideLayout" Target="../slideLayouts/slideLayout162.xml"/><Relationship Id="rId183" Type="http://schemas.openxmlformats.org/officeDocument/2006/relationships/slideLayout" Target="../slideLayouts/slideLayout183.xml"/><Relationship Id="rId218" Type="http://schemas.openxmlformats.org/officeDocument/2006/relationships/slideLayout" Target="../slideLayouts/slideLayout218.xml"/><Relationship Id="rId239" Type="http://schemas.openxmlformats.org/officeDocument/2006/relationships/slideLayout" Target="../slideLayouts/slideLayout239.xml"/><Relationship Id="rId250" Type="http://schemas.openxmlformats.org/officeDocument/2006/relationships/slideLayout" Target="../slideLayouts/slideLayout250.xml"/><Relationship Id="rId27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4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31" Type="http://schemas.openxmlformats.org/officeDocument/2006/relationships/slideLayout" Target="../slideLayouts/slideLayout131.xml"/><Relationship Id="rId152" Type="http://schemas.openxmlformats.org/officeDocument/2006/relationships/slideLayout" Target="../slideLayouts/slideLayout152.xml"/><Relationship Id="rId173" Type="http://schemas.openxmlformats.org/officeDocument/2006/relationships/slideLayout" Target="../slideLayouts/slideLayout173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229" Type="http://schemas.openxmlformats.org/officeDocument/2006/relationships/slideLayout" Target="../slideLayouts/slideLayout229.xml"/><Relationship Id="rId240" Type="http://schemas.openxmlformats.org/officeDocument/2006/relationships/slideLayout" Target="../slideLayouts/slideLayout240.xml"/><Relationship Id="rId261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14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282" Type="http://schemas.openxmlformats.org/officeDocument/2006/relationships/slideLayout" Target="../slideLayouts/slideLayout282.xml"/><Relationship Id="rId8" Type="http://schemas.openxmlformats.org/officeDocument/2006/relationships/slideLayout" Target="../slideLayouts/slideLayout8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219" Type="http://schemas.openxmlformats.org/officeDocument/2006/relationships/slideLayout" Target="../slideLayouts/slideLayout219.xml"/><Relationship Id="rId230" Type="http://schemas.openxmlformats.org/officeDocument/2006/relationships/slideLayout" Target="../slideLayouts/slideLayout230.xml"/><Relationship Id="rId251" Type="http://schemas.openxmlformats.org/officeDocument/2006/relationships/slideLayout" Target="../slideLayouts/slideLayout251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272" Type="http://schemas.openxmlformats.org/officeDocument/2006/relationships/slideLayout" Target="../slideLayouts/slideLayout272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220" Type="http://schemas.openxmlformats.org/officeDocument/2006/relationships/slideLayout" Target="../slideLayouts/slideLayout220.xml"/><Relationship Id="rId241" Type="http://schemas.openxmlformats.org/officeDocument/2006/relationships/slideLayout" Target="../slideLayouts/slideLayout24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262" Type="http://schemas.openxmlformats.org/officeDocument/2006/relationships/slideLayout" Target="../slideLayouts/slideLayout262.xml"/><Relationship Id="rId283" Type="http://schemas.openxmlformats.org/officeDocument/2006/relationships/slideLayout" Target="../slideLayouts/slideLayout283.xml"/><Relationship Id="rId78" Type="http://schemas.openxmlformats.org/officeDocument/2006/relationships/slideLayout" Target="../slideLayouts/slideLayout78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64" Type="http://schemas.openxmlformats.org/officeDocument/2006/relationships/slideLayout" Target="../slideLayouts/slideLayout164.xml"/><Relationship Id="rId185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9.xml"/><Relationship Id="rId210" Type="http://schemas.openxmlformats.org/officeDocument/2006/relationships/slideLayout" Target="../slideLayouts/slideLayout210.xml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52" Type="http://schemas.openxmlformats.org/officeDocument/2006/relationships/slideLayout" Target="../slideLayouts/slideLayout252.xml"/><Relationship Id="rId273" Type="http://schemas.openxmlformats.org/officeDocument/2006/relationships/slideLayout" Target="../slideLayouts/slideLayout273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242" Type="http://schemas.openxmlformats.org/officeDocument/2006/relationships/slideLayout" Target="../slideLayouts/slideLayout242.xml"/><Relationship Id="rId263" Type="http://schemas.openxmlformats.org/officeDocument/2006/relationships/slideLayout" Target="../slideLayouts/slideLayout263.xml"/><Relationship Id="rId284" Type="http://schemas.openxmlformats.org/officeDocument/2006/relationships/slideLayout" Target="../slideLayouts/slideLayout284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11" Type="http://schemas.openxmlformats.org/officeDocument/2006/relationships/slideLayout" Target="../slideLayouts/slideLayout211.xml"/><Relationship Id="rId232" Type="http://schemas.openxmlformats.org/officeDocument/2006/relationships/slideLayout" Target="../slideLayouts/slideLayout232.xml"/><Relationship Id="rId253" Type="http://schemas.openxmlformats.org/officeDocument/2006/relationships/slideLayout" Target="../slideLayouts/slideLayout253.xml"/><Relationship Id="rId274" Type="http://schemas.openxmlformats.org/officeDocument/2006/relationships/slideLayout" Target="../slideLayouts/slideLayout274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201" Type="http://schemas.openxmlformats.org/officeDocument/2006/relationships/slideLayout" Target="../slideLayouts/slideLayout201.xml"/><Relationship Id="rId222" Type="http://schemas.openxmlformats.org/officeDocument/2006/relationships/slideLayout" Target="../slideLayouts/slideLayout222.xml"/><Relationship Id="rId243" Type="http://schemas.openxmlformats.org/officeDocument/2006/relationships/slideLayout" Target="../slideLayouts/slideLayout243.xml"/><Relationship Id="rId264" Type="http://schemas.openxmlformats.org/officeDocument/2006/relationships/slideLayout" Target="../slideLayouts/slideLayout264.xml"/><Relationship Id="rId285" Type="http://schemas.openxmlformats.org/officeDocument/2006/relationships/slideLayout" Target="../slideLayouts/slideLayout285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33" Type="http://schemas.openxmlformats.org/officeDocument/2006/relationships/slideLayout" Target="../slideLayouts/slideLayout233.xml"/><Relationship Id="rId254" Type="http://schemas.openxmlformats.org/officeDocument/2006/relationships/slideLayout" Target="../slideLayouts/slideLayout254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275" Type="http://schemas.openxmlformats.org/officeDocument/2006/relationships/slideLayout" Target="../slideLayouts/slideLayout275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202" Type="http://schemas.openxmlformats.org/officeDocument/2006/relationships/slideLayout" Target="../slideLayouts/slideLayout202.xml"/><Relationship Id="rId223" Type="http://schemas.openxmlformats.org/officeDocument/2006/relationships/slideLayout" Target="../slideLayouts/slideLayout223.xml"/><Relationship Id="rId244" Type="http://schemas.openxmlformats.org/officeDocument/2006/relationships/slideLayout" Target="../slideLayouts/slideLayout244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265" Type="http://schemas.openxmlformats.org/officeDocument/2006/relationships/slideLayout" Target="../slideLayouts/slideLayout265.xml"/><Relationship Id="rId286" Type="http://schemas.openxmlformats.org/officeDocument/2006/relationships/slideLayout" Target="../slideLayouts/slideLayout286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34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55" Type="http://schemas.openxmlformats.org/officeDocument/2006/relationships/slideLayout" Target="../slideLayouts/slideLayout255.xml"/><Relationship Id="rId276" Type="http://schemas.openxmlformats.org/officeDocument/2006/relationships/slideLayout" Target="../slideLayouts/slideLayout276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45" Type="http://schemas.openxmlformats.org/officeDocument/2006/relationships/slideLayout" Target="../slideLayouts/slideLayout245.xml"/><Relationship Id="rId266" Type="http://schemas.openxmlformats.org/officeDocument/2006/relationships/slideLayout" Target="../slideLayouts/slideLayout266.xml"/><Relationship Id="rId287" Type="http://schemas.openxmlformats.org/officeDocument/2006/relationships/slideLayout" Target="../slideLayouts/slideLayout287.xml"/><Relationship Id="rId30" Type="http://schemas.openxmlformats.org/officeDocument/2006/relationships/slideLayout" Target="../slideLayouts/slideLayout3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35" Type="http://schemas.openxmlformats.org/officeDocument/2006/relationships/slideLayout" Target="../slideLayouts/slideLayout235.xml"/><Relationship Id="rId256" Type="http://schemas.openxmlformats.org/officeDocument/2006/relationships/slideLayout" Target="../slideLayouts/slideLayout256.xml"/><Relationship Id="rId277" Type="http://schemas.openxmlformats.org/officeDocument/2006/relationships/slideLayout" Target="../slideLayouts/slideLayout277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179" Type="http://schemas.openxmlformats.org/officeDocument/2006/relationships/slideLayout" Target="../slideLayouts/slideLayout17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25" Type="http://schemas.openxmlformats.org/officeDocument/2006/relationships/slideLayout" Target="../slideLayouts/slideLayout225.xml"/><Relationship Id="rId246" Type="http://schemas.openxmlformats.org/officeDocument/2006/relationships/slideLayout" Target="../slideLayouts/slideLayout246.xml"/><Relationship Id="rId267" Type="http://schemas.openxmlformats.org/officeDocument/2006/relationships/slideLayout" Target="../slideLayouts/slideLayout267.xml"/><Relationship Id="rId288" Type="http://schemas.openxmlformats.org/officeDocument/2006/relationships/theme" Target="../theme/theme1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94" Type="http://schemas.openxmlformats.org/officeDocument/2006/relationships/slideLayout" Target="../slideLayouts/slideLayout94.xml"/><Relationship Id="rId148" Type="http://schemas.openxmlformats.org/officeDocument/2006/relationships/slideLayout" Target="../slideLayouts/slideLayout148.xml"/><Relationship Id="rId169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4.xml"/><Relationship Id="rId180" Type="http://schemas.openxmlformats.org/officeDocument/2006/relationships/slideLayout" Target="../slideLayouts/slideLayout180.xml"/><Relationship Id="rId215" Type="http://schemas.openxmlformats.org/officeDocument/2006/relationships/slideLayout" Target="../slideLayouts/slideLayout215.xml"/><Relationship Id="rId236" Type="http://schemas.openxmlformats.org/officeDocument/2006/relationships/slideLayout" Target="../slideLayouts/slideLayout236.xml"/><Relationship Id="rId257" Type="http://schemas.openxmlformats.org/officeDocument/2006/relationships/slideLayout" Target="../slideLayouts/slideLayout257.xml"/><Relationship Id="rId278" Type="http://schemas.openxmlformats.org/officeDocument/2006/relationships/slideLayout" Target="../slideLayouts/slideLayout278.xml"/><Relationship Id="rId42" Type="http://schemas.openxmlformats.org/officeDocument/2006/relationships/slideLayout" Target="../slideLayouts/slideLayout42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47" Type="http://schemas.openxmlformats.org/officeDocument/2006/relationships/slideLayout" Target="../slideLayouts/slideLayout247.xml"/><Relationship Id="rId107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.xml"/><Relationship Id="rId53" Type="http://schemas.openxmlformats.org/officeDocument/2006/relationships/slideLayout" Target="../slideLayouts/slideLayout53.xml"/><Relationship Id="rId149" Type="http://schemas.openxmlformats.org/officeDocument/2006/relationships/slideLayout" Target="../slideLayouts/slideLayout149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216" Type="http://schemas.openxmlformats.org/officeDocument/2006/relationships/slideLayout" Target="../slideLayouts/slideLayout216.xml"/><Relationship Id="rId258" Type="http://schemas.openxmlformats.org/officeDocument/2006/relationships/slideLayout" Target="../slideLayouts/slideLayout258.xml"/><Relationship Id="rId22" Type="http://schemas.openxmlformats.org/officeDocument/2006/relationships/slideLayout" Target="../slideLayouts/slideLayout22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4.xml"/><Relationship Id="rId13" Type="http://schemas.openxmlformats.org/officeDocument/2006/relationships/slideLayout" Target="../slideLayouts/slideLayout1319.xml"/><Relationship Id="rId3" Type="http://schemas.openxmlformats.org/officeDocument/2006/relationships/slideLayout" Target="../slideLayouts/slideLayout1309.xml"/><Relationship Id="rId7" Type="http://schemas.openxmlformats.org/officeDocument/2006/relationships/slideLayout" Target="../slideLayouts/slideLayout1313.xml"/><Relationship Id="rId12" Type="http://schemas.openxmlformats.org/officeDocument/2006/relationships/slideLayout" Target="../slideLayouts/slideLayout1318.xml"/><Relationship Id="rId2" Type="http://schemas.openxmlformats.org/officeDocument/2006/relationships/slideLayout" Target="../slideLayouts/slideLayout1308.xml"/><Relationship Id="rId16" Type="http://schemas.openxmlformats.org/officeDocument/2006/relationships/theme" Target="../theme/theme10.xml"/><Relationship Id="rId1" Type="http://schemas.openxmlformats.org/officeDocument/2006/relationships/slideLayout" Target="../slideLayouts/slideLayout1307.xml"/><Relationship Id="rId6" Type="http://schemas.openxmlformats.org/officeDocument/2006/relationships/slideLayout" Target="../slideLayouts/slideLayout1312.xml"/><Relationship Id="rId11" Type="http://schemas.openxmlformats.org/officeDocument/2006/relationships/slideLayout" Target="../slideLayouts/slideLayout1317.xml"/><Relationship Id="rId5" Type="http://schemas.openxmlformats.org/officeDocument/2006/relationships/slideLayout" Target="../slideLayouts/slideLayout1311.xml"/><Relationship Id="rId15" Type="http://schemas.openxmlformats.org/officeDocument/2006/relationships/slideLayout" Target="../slideLayouts/slideLayout1321.xml"/><Relationship Id="rId10" Type="http://schemas.openxmlformats.org/officeDocument/2006/relationships/slideLayout" Target="../slideLayouts/slideLayout1316.xml"/><Relationship Id="rId4" Type="http://schemas.openxmlformats.org/officeDocument/2006/relationships/slideLayout" Target="../slideLayouts/slideLayout1310.xml"/><Relationship Id="rId9" Type="http://schemas.openxmlformats.org/officeDocument/2006/relationships/slideLayout" Target="../slideLayouts/slideLayout1315.xml"/><Relationship Id="rId14" Type="http://schemas.openxmlformats.org/officeDocument/2006/relationships/slideLayout" Target="../slideLayouts/slideLayout132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29.xml"/><Relationship Id="rId3" Type="http://schemas.openxmlformats.org/officeDocument/2006/relationships/slideLayout" Target="../slideLayouts/slideLayout1324.xml"/><Relationship Id="rId7" Type="http://schemas.openxmlformats.org/officeDocument/2006/relationships/slideLayout" Target="../slideLayouts/slideLayout1328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323.xml"/><Relationship Id="rId1" Type="http://schemas.openxmlformats.org/officeDocument/2006/relationships/slideLayout" Target="../slideLayouts/slideLayout1322.xml"/><Relationship Id="rId6" Type="http://schemas.openxmlformats.org/officeDocument/2006/relationships/slideLayout" Target="../slideLayouts/slideLayout1327.xml"/><Relationship Id="rId11" Type="http://schemas.openxmlformats.org/officeDocument/2006/relationships/slideLayout" Target="../slideLayouts/slideLayout1332.xml"/><Relationship Id="rId5" Type="http://schemas.openxmlformats.org/officeDocument/2006/relationships/slideLayout" Target="../slideLayouts/slideLayout1326.xml"/><Relationship Id="rId10" Type="http://schemas.openxmlformats.org/officeDocument/2006/relationships/slideLayout" Target="../slideLayouts/slideLayout1331.xml"/><Relationship Id="rId4" Type="http://schemas.openxmlformats.org/officeDocument/2006/relationships/slideLayout" Target="../slideLayouts/slideLayout1325.xml"/><Relationship Id="rId9" Type="http://schemas.openxmlformats.org/officeDocument/2006/relationships/slideLayout" Target="../slideLayouts/slideLayout133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40.xml"/><Relationship Id="rId3" Type="http://schemas.openxmlformats.org/officeDocument/2006/relationships/slideLayout" Target="../slideLayouts/slideLayout1335.xml"/><Relationship Id="rId7" Type="http://schemas.openxmlformats.org/officeDocument/2006/relationships/slideLayout" Target="../slideLayouts/slideLayout1339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334.xml"/><Relationship Id="rId1" Type="http://schemas.openxmlformats.org/officeDocument/2006/relationships/slideLayout" Target="../slideLayouts/slideLayout1333.xml"/><Relationship Id="rId6" Type="http://schemas.openxmlformats.org/officeDocument/2006/relationships/slideLayout" Target="../slideLayouts/slideLayout1338.xml"/><Relationship Id="rId11" Type="http://schemas.openxmlformats.org/officeDocument/2006/relationships/slideLayout" Target="../slideLayouts/slideLayout1343.xml"/><Relationship Id="rId5" Type="http://schemas.openxmlformats.org/officeDocument/2006/relationships/slideLayout" Target="../slideLayouts/slideLayout1337.xml"/><Relationship Id="rId10" Type="http://schemas.openxmlformats.org/officeDocument/2006/relationships/slideLayout" Target="../slideLayouts/slideLayout1342.xml"/><Relationship Id="rId4" Type="http://schemas.openxmlformats.org/officeDocument/2006/relationships/slideLayout" Target="../slideLayouts/slideLayout1336.xml"/><Relationship Id="rId9" Type="http://schemas.openxmlformats.org/officeDocument/2006/relationships/slideLayout" Target="../slideLayouts/slideLayout1341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51.xml"/><Relationship Id="rId3" Type="http://schemas.openxmlformats.org/officeDocument/2006/relationships/slideLayout" Target="../slideLayouts/slideLayout1346.xml"/><Relationship Id="rId7" Type="http://schemas.openxmlformats.org/officeDocument/2006/relationships/slideLayout" Target="../slideLayouts/slideLayout1350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45.xml"/><Relationship Id="rId1" Type="http://schemas.openxmlformats.org/officeDocument/2006/relationships/slideLayout" Target="../slideLayouts/slideLayout1344.xml"/><Relationship Id="rId6" Type="http://schemas.openxmlformats.org/officeDocument/2006/relationships/slideLayout" Target="../slideLayouts/slideLayout1349.xml"/><Relationship Id="rId11" Type="http://schemas.openxmlformats.org/officeDocument/2006/relationships/slideLayout" Target="../slideLayouts/slideLayout1354.xml"/><Relationship Id="rId5" Type="http://schemas.openxmlformats.org/officeDocument/2006/relationships/slideLayout" Target="../slideLayouts/slideLayout1348.xml"/><Relationship Id="rId10" Type="http://schemas.openxmlformats.org/officeDocument/2006/relationships/slideLayout" Target="../slideLayouts/slideLayout1353.xml"/><Relationship Id="rId4" Type="http://schemas.openxmlformats.org/officeDocument/2006/relationships/slideLayout" Target="../slideLayouts/slideLayout1347.xml"/><Relationship Id="rId9" Type="http://schemas.openxmlformats.org/officeDocument/2006/relationships/slideLayout" Target="../slideLayouts/slideLayout1352.xml"/></Relationships>
</file>

<file path=ppt/slideMasters/_rels/slideMaster14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471.xml"/><Relationship Id="rId299" Type="http://schemas.openxmlformats.org/officeDocument/2006/relationships/slideLayout" Target="../slideLayouts/slideLayout1653.xml"/><Relationship Id="rId21" Type="http://schemas.openxmlformats.org/officeDocument/2006/relationships/slideLayout" Target="../slideLayouts/slideLayout1375.xml"/><Relationship Id="rId63" Type="http://schemas.openxmlformats.org/officeDocument/2006/relationships/slideLayout" Target="../slideLayouts/slideLayout1417.xml"/><Relationship Id="rId159" Type="http://schemas.openxmlformats.org/officeDocument/2006/relationships/slideLayout" Target="../slideLayouts/slideLayout1513.xml"/><Relationship Id="rId324" Type="http://schemas.openxmlformats.org/officeDocument/2006/relationships/slideLayout" Target="../slideLayouts/slideLayout1678.xml"/><Relationship Id="rId366" Type="http://schemas.openxmlformats.org/officeDocument/2006/relationships/slideLayout" Target="../slideLayouts/slideLayout1720.xml"/><Relationship Id="rId170" Type="http://schemas.openxmlformats.org/officeDocument/2006/relationships/slideLayout" Target="../slideLayouts/slideLayout1524.xml"/><Relationship Id="rId226" Type="http://schemas.openxmlformats.org/officeDocument/2006/relationships/slideLayout" Target="../slideLayouts/slideLayout1580.xml"/><Relationship Id="rId433" Type="http://schemas.openxmlformats.org/officeDocument/2006/relationships/slideLayout" Target="../slideLayouts/slideLayout1787.xml"/><Relationship Id="rId268" Type="http://schemas.openxmlformats.org/officeDocument/2006/relationships/slideLayout" Target="../slideLayouts/slideLayout1622.xml"/><Relationship Id="rId32" Type="http://schemas.openxmlformats.org/officeDocument/2006/relationships/slideLayout" Target="../slideLayouts/slideLayout1386.xml"/><Relationship Id="rId74" Type="http://schemas.openxmlformats.org/officeDocument/2006/relationships/slideLayout" Target="../slideLayouts/slideLayout1428.xml"/><Relationship Id="rId128" Type="http://schemas.openxmlformats.org/officeDocument/2006/relationships/slideLayout" Target="../slideLayouts/slideLayout1482.xml"/><Relationship Id="rId335" Type="http://schemas.openxmlformats.org/officeDocument/2006/relationships/slideLayout" Target="../slideLayouts/slideLayout1689.xml"/><Relationship Id="rId377" Type="http://schemas.openxmlformats.org/officeDocument/2006/relationships/slideLayout" Target="../slideLayouts/slideLayout1731.xml"/><Relationship Id="rId5" Type="http://schemas.openxmlformats.org/officeDocument/2006/relationships/slideLayout" Target="../slideLayouts/slideLayout1359.xml"/><Relationship Id="rId181" Type="http://schemas.openxmlformats.org/officeDocument/2006/relationships/slideLayout" Target="../slideLayouts/slideLayout1535.xml"/><Relationship Id="rId237" Type="http://schemas.openxmlformats.org/officeDocument/2006/relationships/slideLayout" Target="../slideLayouts/slideLayout1591.xml"/><Relationship Id="rId402" Type="http://schemas.openxmlformats.org/officeDocument/2006/relationships/slideLayout" Target="../slideLayouts/slideLayout1756.xml"/><Relationship Id="rId279" Type="http://schemas.openxmlformats.org/officeDocument/2006/relationships/slideLayout" Target="../slideLayouts/slideLayout1633.xml"/><Relationship Id="rId444" Type="http://schemas.openxmlformats.org/officeDocument/2006/relationships/slideLayout" Target="../slideLayouts/slideLayout1798.xml"/><Relationship Id="rId43" Type="http://schemas.openxmlformats.org/officeDocument/2006/relationships/slideLayout" Target="../slideLayouts/slideLayout1397.xml"/><Relationship Id="rId139" Type="http://schemas.openxmlformats.org/officeDocument/2006/relationships/slideLayout" Target="../slideLayouts/slideLayout1493.xml"/><Relationship Id="rId290" Type="http://schemas.openxmlformats.org/officeDocument/2006/relationships/slideLayout" Target="../slideLayouts/slideLayout1644.xml"/><Relationship Id="rId304" Type="http://schemas.openxmlformats.org/officeDocument/2006/relationships/slideLayout" Target="../slideLayouts/slideLayout1658.xml"/><Relationship Id="rId346" Type="http://schemas.openxmlformats.org/officeDocument/2006/relationships/slideLayout" Target="../slideLayouts/slideLayout1700.xml"/><Relationship Id="rId388" Type="http://schemas.openxmlformats.org/officeDocument/2006/relationships/slideLayout" Target="../slideLayouts/slideLayout1742.xml"/><Relationship Id="rId85" Type="http://schemas.openxmlformats.org/officeDocument/2006/relationships/slideLayout" Target="../slideLayouts/slideLayout1439.xml"/><Relationship Id="rId150" Type="http://schemas.openxmlformats.org/officeDocument/2006/relationships/slideLayout" Target="../slideLayouts/slideLayout1504.xml"/><Relationship Id="rId192" Type="http://schemas.openxmlformats.org/officeDocument/2006/relationships/slideLayout" Target="../slideLayouts/slideLayout1546.xml"/><Relationship Id="rId206" Type="http://schemas.openxmlformats.org/officeDocument/2006/relationships/slideLayout" Target="../slideLayouts/slideLayout1560.xml"/><Relationship Id="rId413" Type="http://schemas.openxmlformats.org/officeDocument/2006/relationships/slideLayout" Target="../slideLayouts/slideLayout1767.xml"/><Relationship Id="rId248" Type="http://schemas.openxmlformats.org/officeDocument/2006/relationships/slideLayout" Target="../slideLayouts/slideLayout1602.xml"/><Relationship Id="rId455" Type="http://schemas.openxmlformats.org/officeDocument/2006/relationships/slideLayout" Target="../slideLayouts/slideLayout1809.xml"/><Relationship Id="rId12" Type="http://schemas.openxmlformats.org/officeDocument/2006/relationships/slideLayout" Target="../slideLayouts/slideLayout1366.xml"/><Relationship Id="rId108" Type="http://schemas.openxmlformats.org/officeDocument/2006/relationships/slideLayout" Target="../slideLayouts/slideLayout1462.xml"/><Relationship Id="rId315" Type="http://schemas.openxmlformats.org/officeDocument/2006/relationships/slideLayout" Target="../slideLayouts/slideLayout1669.xml"/><Relationship Id="rId357" Type="http://schemas.openxmlformats.org/officeDocument/2006/relationships/slideLayout" Target="../slideLayouts/slideLayout1711.xml"/><Relationship Id="rId54" Type="http://schemas.openxmlformats.org/officeDocument/2006/relationships/slideLayout" Target="../slideLayouts/slideLayout1408.xml"/><Relationship Id="rId96" Type="http://schemas.openxmlformats.org/officeDocument/2006/relationships/slideLayout" Target="../slideLayouts/slideLayout1450.xml"/><Relationship Id="rId161" Type="http://schemas.openxmlformats.org/officeDocument/2006/relationships/slideLayout" Target="../slideLayouts/slideLayout1515.xml"/><Relationship Id="rId217" Type="http://schemas.openxmlformats.org/officeDocument/2006/relationships/slideLayout" Target="../slideLayouts/slideLayout1571.xml"/><Relationship Id="rId399" Type="http://schemas.openxmlformats.org/officeDocument/2006/relationships/slideLayout" Target="../slideLayouts/slideLayout1753.xml"/><Relationship Id="rId259" Type="http://schemas.openxmlformats.org/officeDocument/2006/relationships/slideLayout" Target="../slideLayouts/slideLayout1613.xml"/><Relationship Id="rId424" Type="http://schemas.openxmlformats.org/officeDocument/2006/relationships/slideLayout" Target="../slideLayouts/slideLayout1778.xml"/><Relationship Id="rId23" Type="http://schemas.openxmlformats.org/officeDocument/2006/relationships/slideLayout" Target="../slideLayouts/slideLayout1377.xml"/><Relationship Id="rId119" Type="http://schemas.openxmlformats.org/officeDocument/2006/relationships/slideLayout" Target="../slideLayouts/slideLayout1473.xml"/><Relationship Id="rId270" Type="http://schemas.openxmlformats.org/officeDocument/2006/relationships/slideLayout" Target="../slideLayouts/slideLayout1624.xml"/><Relationship Id="rId326" Type="http://schemas.openxmlformats.org/officeDocument/2006/relationships/slideLayout" Target="../slideLayouts/slideLayout1680.xml"/><Relationship Id="rId65" Type="http://schemas.openxmlformats.org/officeDocument/2006/relationships/slideLayout" Target="../slideLayouts/slideLayout1419.xml"/><Relationship Id="rId130" Type="http://schemas.openxmlformats.org/officeDocument/2006/relationships/slideLayout" Target="../slideLayouts/slideLayout1484.xml"/><Relationship Id="rId368" Type="http://schemas.openxmlformats.org/officeDocument/2006/relationships/slideLayout" Target="../slideLayouts/slideLayout1722.xml"/><Relationship Id="rId172" Type="http://schemas.openxmlformats.org/officeDocument/2006/relationships/slideLayout" Target="../slideLayouts/slideLayout1526.xml"/><Relationship Id="rId228" Type="http://schemas.openxmlformats.org/officeDocument/2006/relationships/slideLayout" Target="../slideLayouts/slideLayout1582.xml"/><Relationship Id="rId435" Type="http://schemas.openxmlformats.org/officeDocument/2006/relationships/slideLayout" Target="../slideLayouts/slideLayout1789.xml"/><Relationship Id="rId281" Type="http://schemas.openxmlformats.org/officeDocument/2006/relationships/slideLayout" Target="../slideLayouts/slideLayout1635.xml"/><Relationship Id="rId337" Type="http://schemas.openxmlformats.org/officeDocument/2006/relationships/slideLayout" Target="../slideLayouts/slideLayout1691.xml"/><Relationship Id="rId34" Type="http://schemas.openxmlformats.org/officeDocument/2006/relationships/slideLayout" Target="../slideLayouts/slideLayout1388.xml"/><Relationship Id="rId76" Type="http://schemas.openxmlformats.org/officeDocument/2006/relationships/slideLayout" Target="../slideLayouts/slideLayout1430.xml"/><Relationship Id="rId141" Type="http://schemas.openxmlformats.org/officeDocument/2006/relationships/slideLayout" Target="../slideLayouts/slideLayout1495.xml"/><Relationship Id="rId379" Type="http://schemas.openxmlformats.org/officeDocument/2006/relationships/slideLayout" Target="../slideLayouts/slideLayout1733.xml"/><Relationship Id="rId7" Type="http://schemas.openxmlformats.org/officeDocument/2006/relationships/slideLayout" Target="../slideLayouts/slideLayout1361.xml"/><Relationship Id="rId183" Type="http://schemas.openxmlformats.org/officeDocument/2006/relationships/slideLayout" Target="../slideLayouts/slideLayout1537.xml"/><Relationship Id="rId239" Type="http://schemas.openxmlformats.org/officeDocument/2006/relationships/slideLayout" Target="../slideLayouts/slideLayout1593.xml"/><Relationship Id="rId390" Type="http://schemas.openxmlformats.org/officeDocument/2006/relationships/slideLayout" Target="../slideLayouts/slideLayout1744.xml"/><Relationship Id="rId404" Type="http://schemas.openxmlformats.org/officeDocument/2006/relationships/slideLayout" Target="../slideLayouts/slideLayout1758.xml"/><Relationship Id="rId446" Type="http://schemas.openxmlformats.org/officeDocument/2006/relationships/slideLayout" Target="../slideLayouts/slideLayout1800.xml"/><Relationship Id="rId250" Type="http://schemas.openxmlformats.org/officeDocument/2006/relationships/slideLayout" Target="../slideLayouts/slideLayout1604.xml"/><Relationship Id="rId292" Type="http://schemas.openxmlformats.org/officeDocument/2006/relationships/slideLayout" Target="../slideLayouts/slideLayout1646.xml"/><Relationship Id="rId306" Type="http://schemas.openxmlformats.org/officeDocument/2006/relationships/slideLayout" Target="../slideLayouts/slideLayout1660.xml"/><Relationship Id="rId45" Type="http://schemas.openxmlformats.org/officeDocument/2006/relationships/slideLayout" Target="../slideLayouts/slideLayout1399.xml"/><Relationship Id="rId87" Type="http://schemas.openxmlformats.org/officeDocument/2006/relationships/slideLayout" Target="../slideLayouts/slideLayout1441.xml"/><Relationship Id="rId110" Type="http://schemas.openxmlformats.org/officeDocument/2006/relationships/slideLayout" Target="../slideLayouts/slideLayout1464.xml"/><Relationship Id="rId348" Type="http://schemas.openxmlformats.org/officeDocument/2006/relationships/slideLayout" Target="../slideLayouts/slideLayout1702.xml"/><Relationship Id="rId152" Type="http://schemas.openxmlformats.org/officeDocument/2006/relationships/slideLayout" Target="../slideLayouts/slideLayout1506.xml"/><Relationship Id="rId194" Type="http://schemas.openxmlformats.org/officeDocument/2006/relationships/slideLayout" Target="../slideLayouts/slideLayout1548.xml"/><Relationship Id="rId208" Type="http://schemas.openxmlformats.org/officeDocument/2006/relationships/slideLayout" Target="../slideLayouts/slideLayout1562.xml"/><Relationship Id="rId415" Type="http://schemas.openxmlformats.org/officeDocument/2006/relationships/slideLayout" Target="../slideLayouts/slideLayout1769.xml"/><Relationship Id="rId457" Type="http://schemas.openxmlformats.org/officeDocument/2006/relationships/slideLayout" Target="../slideLayouts/slideLayout1811.xml"/><Relationship Id="rId261" Type="http://schemas.openxmlformats.org/officeDocument/2006/relationships/slideLayout" Target="../slideLayouts/slideLayout1615.xml"/><Relationship Id="rId14" Type="http://schemas.openxmlformats.org/officeDocument/2006/relationships/slideLayout" Target="../slideLayouts/slideLayout1368.xml"/><Relationship Id="rId56" Type="http://schemas.openxmlformats.org/officeDocument/2006/relationships/slideLayout" Target="../slideLayouts/slideLayout1410.xml"/><Relationship Id="rId317" Type="http://schemas.openxmlformats.org/officeDocument/2006/relationships/slideLayout" Target="../slideLayouts/slideLayout1671.xml"/><Relationship Id="rId359" Type="http://schemas.openxmlformats.org/officeDocument/2006/relationships/slideLayout" Target="../slideLayouts/slideLayout1713.xml"/><Relationship Id="rId98" Type="http://schemas.openxmlformats.org/officeDocument/2006/relationships/slideLayout" Target="../slideLayouts/slideLayout1452.xml"/><Relationship Id="rId121" Type="http://schemas.openxmlformats.org/officeDocument/2006/relationships/slideLayout" Target="../slideLayouts/slideLayout1475.xml"/><Relationship Id="rId163" Type="http://schemas.openxmlformats.org/officeDocument/2006/relationships/slideLayout" Target="../slideLayouts/slideLayout1517.xml"/><Relationship Id="rId219" Type="http://schemas.openxmlformats.org/officeDocument/2006/relationships/slideLayout" Target="../slideLayouts/slideLayout1573.xml"/><Relationship Id="rId370" Type="http://schemas.openxmlformats.org/officeDocument/2006/relationships/slideLayout" Target="../slideLayouts/slideLayout1724.xml"/><Relationship Id="rId426" Type="http://schemas.openxmlformats.org/officeDocument/2006/relationships/slideLayout" Target="../slideLayouts/slideLayout1780.xml"/><Relationship Id="rId230" Type="http://schemas.openxmlformats.org/officeDocument/2006/relationships/slideLayout" Target="../slideLayouts/slideLayout1584.xml"/><Relationship Id="rId25" Type="http://schemas.openxmlformats.org/officeDocument/2006/relationships/slideLayout" Target="../slideLayouts/slideLayout1379.xml"/><Relationship Id="rId67" Type="http://schemas.openxmlformats.org/officeDocument/2006/relationships/slideLayout" Target="../slideLayouts/slideLayout1421.xml"/><Relationship Id="rId272" Type="http://schemas.openxmlformats.org/officeDocument/2006/relationships/slideLayout" Target="../slideLayouts/slideLayout1626.xml"/><Relationship Id="rId328" Type="http://schemas.openxmlformats.org/officeDocument/2006/relationships/slideLayout" Target="../slideLayouts/slideLayout1682.xml"/><Relationship Id="rId132" Type="http://schemas.openxmlformats.org/officeDocument/2006/relationships/slideLayout" Target="../slideLayouts/slideLayout1486.xml"/><Relationship Id="rId174" Type="http://schemas.openxmlformats.org/officeDocument/2006/relationships/slideLayout" Target="../slideLayouts/slideLayout1528.xml"/><Relationship Id="rId381" Type="http://schemas.openxmlformats.org/officeDocument/2006/relationships/slideLayout" Target="../slideLayouts/slideLayout1735.xml"/><Relationship Id="rId241" Type="http://schemas.openxmlformats.org/officeDocument/2006/relationships/slideLayout" Target="../slideLayouts/slideLayout1595.xml"/><Relationship Id="rId437" Type="http://schemas.openxmlformats.org/officeDocument/2006/relationships/slideLayout" Target="../slideLayouts/slideLayout1791.xml"/><Relationship Id="rId36" Type="http://schemas.openxmlformats.org/officeDocument/2006/relationships/slideLayout" Target="../slideLayouts/slideLayout1390.xml"/><Relationship Id="rId283" Type="http://schemas.openxmlformats.org/officeDocument/2006/relationships/slideLayout" Target="../slideLayouts/slideLayout1637.xml"/><Relationship Id="rId339" Type="http://schemas.openxmlformats.org/officeDocument/2006/relationships/slideLayout" Target="../slideLayouts/slideLayout1693.xml"/><Relationship Id="rId78" Type="http://schemas.openxmlformats.org/officeDocument/2006/relationships/slideLayout" Target="../slideLayouts/slideLayout1432.xml"/><Relationship Id="rId101" Type="http://schemas.openxmlformats.org/officeDocument/2006/relationships/slideLayout" Target="../slideLayouts/slideLayout1455.xml"/><Relationship Id="rId143" Type="http://schemas.openxmlformats.org/officeDocument/2006/relationships/slideLayout" Target="../slideLayouts/slideLayout1497.xml"/><Relationship Id="rId185" Type="http://schemas.openxmlformats.org/officeDocument/2006/relationships/slideLayout" Target="../slideLayouts/slideLayout1539.xml"/><Relationship Id="rId350" Type="http://schemas.openxmlformats.org/officeDocument/2006/relationships/slideLayout" Target="../slideLayouts/slideLayout1704.xml"/><Relationship Id="rId406" Type="http://schemas.openxmlformats.org/officeDocument/2006/relationships/slideLayout" Target="../slideLayouts/slideLayout1760.xml"/><Relationship Id="rId9" Type="http://schemas.openxmlformats.org/officeDocument/2006/relationships/slideLayout" Target="../slideLayouts/slideLayout1363.xml"/><Relationship Id="rId210" Type="http://schemas.openxmlformats.org/officeDocument/2006/relationships/slideLayout" Target="../slideLayouts/slideLayout1564.xml"/><Relationship Id="rId392" Type="http://schemas.openxmlformats.org/officeDocument/2006/relationships/slideLayout" Target="../slideLayouts/slideLayout1746.xml"/><Relationship Id="rId448" Type="http://schemas.openxmlformats.org/officeDocument/2006/relationships/slideLayout" Target="../slideLayouts/slideLayout1802.xml"/><Relationship Id="rId252" Type="http://schemas.openxmlformats.org/officeDocument/2006/relationships/slideLayout" Target="../slideLayouts/slideLayout1606.xml"/><Relationship Id="rId294" Type="http://schemas.openxmlformats.org/officeDocument/2006/relationships/slideLayout" Target="../slideLayouts/slideLayout1648.xml"/><Relationship Id="rId308" Type="http://schemas.openxmlformats.org/officeDocument/2006/relationships/slideLayout" Target="../slideLayouts/slideLayout1662.xml"/><Relationship Id="rId47" Type="http://schemas.openxmlformats.org/officeDocument/2006/relationships/slideLayout" Target="../slideLayouts/slideLayout1401.xml"/><Relationship Id="rId89" Type="http://schemas.openxmlformats.org/officeDocument/2006/relationships/slideLayout" Target="../slideLayouts/slideLayout1443.xml"/><Relationship Id="rId112" Type="http://schemas.openxmlformats.org/officeDocument/2006/relationships/slideLayout" Target="../slideLayouts/slideLayout1466.xml"/><Relationship Id="rId154" Type="http://schemas.openxmlformats.org/officeDocument/2006/relationships/slideLayout" Target="../slideLayouts/slideLayout1508.xml"/><Relationship Id="rId361" Type="http://schemas.openxmlformats.org/officeDocument/2006/relationships/slideLayout" Target="../slideLayouts/slideLayout1715.xml"/><Relationship Id="rId196" Type="http://schemas.openxmlformats.org/officeDocument/2006/relationships/slideLayout" Target="../slideLayouts/slideLayout1550.xml"/><Relationship Id="rId417" Type="http://schemas.openxmlformats.org/officeDocument/2006/relationships/slideLayout" Target="../slideLayouts/slideLayout1771.xml"/><Relationship Id="rId459" Type="http://schemas.openxmlformats.org/officeDocument/2006/relationships/slideLayout" Target="../slideLayouts/slideLayout1813.xml"/><Relationship Id="rId16" Type="http://schemas.openxmlformats.org/officeDocument/2006/relationships/slideLayout" Target="../slideLayouts/slideLayout1370.xml"/><Relationship Id="rId221" Type="http://schemas.openxmlformats.org/officeDocument/2006/relationships/slideLayout" Target="../slideLayouts/slideLayout1575.xml"/><Relationship Id="rId263" Type="http://schemas.openxmlformats.org/officeDocument/2006/relationships/slideLayout" Target="../slideLayouts/slideLayout1617.xml"/><Relationship Id="rId319" Type="http://schemas.openxmlformats.org/officeDocument/2006/relationships/slideLayout" Target="../slideLayouts/slideLayout1673.xml"/><Relationship Id="rId58" Type="http://schemas.openxmlformats.org/officeDocument/2006/relationships/slideLayout" Target="../slideLayouts/slideLayout1412.xml"/><Relationship Id="rId123" Type="http://schemas.openxmlformats.org/officeDocument/2006/relationships/slideLayout" Target="../slideLayouts/slideLayout1477.xml"/><Relationship Id="rId330" Type="http://schemas.openxmlformats.org/officeDocument/2006/relationships/slideLayout" Target="../slideLayouts/slideLayout1684.xml"/><Relationship Id="rId165" Type="http://schemas.openxmlformats.org/officeDocument/2006/relationships/slideLayout" Target="../slideLayouts/slideLayout1519.xml"/><Relationship Id="rId372" Type="http://schemas.openxmlformats.org/officeDocument/2006/relationships/slideLayout" Target="../slideLayouts/slideLayout1726.xml"/><Relationship Id="rId428" Type="http://schemas.openxmlformats.org/officeDocument/2006/relationships/slideLayout" Target="../slideLayouts/slideLayout1782.xml"/><Relationship Id="rId232" Type="http://schemas.openxmlformats.org/officeDocument/2006/relationships/slideLayout" Target="../slideLayouts/slideLayout1586.xml"/><Relationship Id="rId274" Type="http://schemas.openxmlformats.org/officeDocument/2006/relationships/slideLayout" Target="../slideLayouts/slideLayout1628.xml"/><Relationship Id="rId27" Type="http://schemas.openxmlformats.org/officeDocument/2006/relationships/slideLayout" Target="../slideLayouts/slideLayout1381.xml"/><Relationship Id="rId69" Type="http://schemas.openxmlformats.org/officeDocument/2006/relationships/slideLayout" Target="../slideLayouts/slideLayout1423.xml"/><Relationship Id="rId134" Type="http://schemas.openxmlformats.org/officeDocument/2006/relationships/slideLayout" Target="../slideLayouts/slideLayout1488.xml"/><Relationship Id="rId80" Type="http://schemas.openxmlformats.org/officeDocument/2006/relationships/slideLayout" Target="../slideLayouts/slideLayout1434.xml"/><Relationship Id="rId176" Type="http://schemas.openxmlformats.org/officeDocument/2006/relationships/slideLayout" Target="../slideLayouts/slideLayout1530.xml"/><Relationship Id="rId341" Type="http://schemas.openxmlformats.org/officeDocument/2006/relationships/slideLayout" Target="../slideLayouts/slideLayout1695.xml"/><Relationship Id="rId383" Type="http://schemas.openxmlformats.org/officeDocument/2006/relationships/slideLayout" Target="../slideLayouts/slideLayout1737.xml"/><Relationship Id="rId439" Type="http://schemas.openxmlformats.org/officeDocument/2006/relationships/slideLayout" Target="../slideLayouts/slideLayout1793.xml"/><Relationship Id="rId201" Type="http://schemas.openxmlformats.org/officeDocument/2006/relationships/slideLayout" Target="../slideLayouts/slideLayout1555.xml"/><Relationship Id="rId243" Type="http://schemas.openxmlformats.org/officeDocument/2006/relationships/slideLayout" Target="../slideLayouts/slideLayout1597.xml"/><Relationship Id="rId285" Type="http://schemas.openxmlformats.org/officeDocument/2006/relationships/slideLayout" Target="../slideLayouts/slideLayout1639.xml"/><Relationship Id="rId450" Type="http://schemas.openxmlformats.org/officeDocument/2006/relationships/slideLayout" Target="../slideLayouts/slideLayout1804.xml"/><Relationship Id="rId38" Type="http://schemas.openxmlformats.org/officeDocument/2006/relationships/slideLayout" Target="../slideLayouts/slideLayout1392.xml"/><Relationship Id="rId103" Type="http://schemas.openxmlformats.org/officeDocument/2006/relationships/slideLayout" Target="../slideLayouts/slideLayout1457.xml"/><Relationship Id="rId310" Type="http://schemas.openxmlformats.org/officeDocument/2006/relationships/slideLayout" Target="../slideLayouts/slideLayout1664.xml"/><Relationship Id="rId91" Type="http://schemas.openxmlformats.org/officeDocument/2006/relationships/slideLayout" Target="../slideLayouts/slideLayout1445.xml"/><Relationship Id="rId145" Type="http://schemas.openxmlformats.org/officeDocument/2006/relationships/slideLayout" Target="../slideLayouts/slideLayout1499.xml"/><Relationship Id="rId187" Type="http://schemas.openxmlformats.org/officeDocument/2006/relationships/slideLayout" Target="../slideLayouts/slideLayout1541.xml"/><Relationship Id="rId352" Type="http://schemas.openxmlformats.org/officeDocument/2006/relationships/slideLayout" Target="../slideLayouts/slideLayout1706.xml"/><Relationship Id="rId394" Type="http://schemas.openxmlformats.org/officeDocument/2006/relationships/slideLayout" Target="../slideLayouts/slideLayout1748.xml"/><Relationship Id="rId408" Type="http://schemas.openxmlformats.org/officeDocument/2006/relationships/slideLayout" Target="../slideLayouts/slideLayout1762.xml"/><Relationship Id="rId212" Type="http://schemas.openxmlformats.org/officeDocument/2006/relationships/slideLayout" Target="../slideLayouts/slideLayout1566.xml"/><Relationship Id="rId254" Type="http://schemas.openxmlformats.org/officeDocument/2006/relationships/slideLayout" Target="../slideLayouts/slideLayout1608.xml"/><Relationship Id="rId49" Type="http://schemas.openxmlformats.org/officeDocument/2006/relationships/slideLayout" Target="../slideLayouts/slideLayout1403.xml"/><Relationship Id="rId114" Type="http://schemas.openxmlformats.org/officeDocument/2006/relationships/slideLayout" Target="../slideLayouts/slideLayout1468.xml"/><Relationship Id="rId296" Type="http://schemas.openxmlformats.org/officeDocument/2006/relationships/slideLayout" Target="../slideLayouts/slideLayout1650.xml"/><Relationship Id="rId461" Type="http://schemas.openxmlformats.org/officeDocument/2006/relationships/slideLayout" Target="../slideLayouts/slideLayout1815.xml"/><Relationship Id="rId60" Type="http://schemas.openxmlformats.org/officeDocument/2006/relationships/slideLayout" Target="../slideLayouts/slideLayout1414.xml"/><Relationship Id="rId156" Type="http://schemas.openxmlformats.org/officeDocument/2006/relationships/slideLayout" Target="../slideLayouts/slideLayout1510.xml"/><Relationship Id="rId198" Type="http://schemas.openxmlformats.org/officeDocument/2006/relationships/slideLayout" Target="../slideLayouts/slideLayout1552.xml"/><Relationship Id="rId321" Type="http://schemas.openxmlformats.org/officeDocument/2006/relationships/slideLayout" Target="../slideLayouts/slideLayout1675.xml"/><Relationship Id="rId363" Type="http://schemas.openxmlformats.org/officeDocument/2006/relationships/slideLayout" Target="../slideLayouts/slideLayout1717.xml"/><Relationship Id="rId419" Type="http://schemas.openxmlformats.org/officeDocument/2006/relationships/slideLayout" Target="../slideLayouts/slideLayout1773.xml"/><Relationship Id="rId223" Type="http://schemas.openxmlformats.org/officeDocument/2006/relationships/slideLayout" Target="../slideLayouts/slideLayout1577.xml"/><Relationship Id="rId430" Type="http://schemas.openxmlformats.org/officeDocument/2006/relationships/slideLayout" Target="../slideLayouts/slideLayout1784.xml"/><Relationship Id="rId18" Type="http://schemas.openxmlformats.org/officeDocument/2006/relationships/slideLayout" Target="../slideLayouts/slideLayout1372.xml"/><Relationship Id="rId265" Type="http://schemas.openxmlformats.org/officeDocument/2006/relationships/slideLayout" Target="../slideLayouts/slideLayout1619.xml"/><Relationship Id="rId125" Type="http://schemas.openxmlformats.org/officeDocument/2006/relationships/slideLayout" Target="../slideLayouts/slideLayout1479.xml"/><Relationship Id="rId167" Type="http://schemas.openxmlformats.org/officeDocument/2006/relationships/slideLayout" Target="../slideLayouts/slideLayout1521.xml"/><Relationship Id="rId332" Type="http://schemas.openxmlformats.org/officeDocument/2006/relationships/slideLayout" Target="../slideLayouts/slideLayout1686.xml"/><Relationship Id="rId374" Type="http://schemas.openxmlformats.org/officeDocument/2006/relationships/slideLayout" Target="../slideLayouts/slideLayout1728.xml"/><Relationship Id="rId71" Type="http://schemas.openxmlformats.org/officeDocument/2006/relationships/slideLayout" Target="../slideLayouts/slideLayout1425.xml"/><Relationship Id="rId234" Type="http://schemas.openxmlformats.org/officeDocument/2006/relationships/slideLayout" Target="../slideLayouts/slideLayout1588.xml"/><Relationship Id="rId2" Type="http://schemas.openxmlformats.org/officeDocument/2006/relationships/slideLayout" Target="../slideLayouts/slideLayout1356.xml"/><Relationship Id="rId29" Type="http://schemas.openxmlformats.org/officeDocument/2006/relationships/slideLayout" Target="../slideLayouts/slideLayout1383.xml"/><Relationship Id="rId276" Type="http://schemas.openxmlformats.org/officeDocument/2006/relationships/slideLayout" Target="../slideLayouts/slideLayout1630.xml"/><Relationship Id="rId441" Type="http://schemas.openxmlformats.org/officeDocument/2006/relationships/slideLayout" Target="../slideLayouts/slideLayout1795.xml"/><Relationship Id="rId40" Type="http://schemas.openxmlformats.org/officeDocument/2006/relationships/slideLayout" Target="../slideLayouts/slideLayout1394.xml"/><Relationship Id="rId115" Type="http://schemas.openxmlformats.org/officeDocument/2006/relationships/slideLayout" Target="../slideLayouts/slideLayout1469.xml"/><Relationship Id="rId136" Type="http://schemas.openxmlformats.org/officeDocument/2006/relationships/slideLayout" Target="../slideLayouts/slideLayout1490.xml"/><Relationship Id="rId157" Type="http://schemas.openxmlformats.org/officeDocument/2006/relationships/slideLayout" Target="../slideLayouts/slideLayout1511.xml"/><Relationship Id="rId178" Type="http://schemas.openxmlformats.org/officeDocument/2006/relationships/slideLayout" Target="../slideLayouts/slideLayout1532.xml"/><Relationship Id="rId301" Type="http://schemas.openxmlformats.org/officeDocument/2006/relationships/slideLayout" Target="../slideLayouts/slideLayout1655.xml"/><Relationship Id="rId322" Type="http://schemas.openxmlformats.org/officeDocument/2006/relationships/slideLayout" Target="../slideLayouts/slideLayout1676.xml"/><Relationship Id="rId343" Type="http://schemas.openxmlformats.org/officeDocument/2006/relationships/slideLayout" Target="../slideLayouts/slideLayout1697.xml"/><Relationship Id="rId364" Type="http://schemas.openxmlformats.org/officeDocument/2006/relationships/slideLayout" Target="../slideLayouts/slideLayout1718.xml"/><Relationship Id="rId61" Type="http://schemas.openxmlformats.org/officeDocument/2006/relationships/slideLayout" Target="../slideLayouts/slideLayout1415.xml"/><Relationship Id="rId82" Type="http://schemas.openxmlformats.org/officeDocument/2006/relationships/slideLayout" Target="../slideLayouts/slideLayout1436.xml"/><Relationship Id="rId199" Type="http://schemas.openxmlformats.org/officeDocument/2006/relationships/slideLayout" Target="../slideLayouts/slideLayout1553.xml"/><Relationship Id="rId203" Type="http://schemas.openxmlformats.org/officeDocument/2006/relationships/slideLayout" Target="../slideLayouts/slideLayout1557.xml"/><Relationship Id="rId385" Type="http://schemas.openxmlformats.org/officeDocument/2006/relationships/slideLayout" Target="../slideLayouts/slideLayout1739.xml"/><Relationship Id="rId19" Type="http://schemas.openxmlformats.org/officeDocument/2006/relationships/slideLayout" Target="../slideLayouts/slideLayout1373.xml"/><Relationship Id="rId224" Type="http://schemas.openxmlformats.org/officeDocument/2006/relationships/slideLayout" Target="../slideLayouts/slideLayout1578.xml"/><Relationship Id="rId245" Type="http://schemas.openxmlformats.org/officeDocument/2006/relationships/slideLayout" Target="../slideLayouts/slideLayout1599.xml"/><Relationship Id="rId266" Type="http://schemas.openxmlformats.org/officeDocument/2006/relationships/slideLayout" Target="../slideLayouts/slideLayout1620.xml"/><Relationship Id="rId287" Type="http://schemas.openxmlformats.org/officeDocument/2006/relationships/slideLayout" Target="../slideLayouts/slideLayout1641.xml"/><Relationship Id="rId410" Type="http://schemas.openxmlformats.org/officeDocument/2006/relationships/slideLayout" Target="../slideLayouts/slideLayout1764.xml"/><Relationship Id="rId431" Type="http://schemas.openxmlformats.org/officeDocument/2006/relationships/slideLayout" Target="../slideLayouts/slideLayout1785.xml"/><Relationship Id="rId452" Type="http://schemas.openxmlformats.org/officeDocument/2006/relationships/slideLayout" Target="../slideLayouts/slideLayout1806.xml"/><Relationship Id="rId30" Type="http://schemas.openxmlformats.org/officeDocument/2006/relationships/slideLayout" Target="../slideLayouts/slideLayout1384.xml"/><Relationship Id="rId105" Type="http://schemas.openxmlformats.org/officeDocument/2006/relationships/slideLayout" Target="../slideLayouts/slideLayout1459.xml"/><Relationship Id="rId126" Type="http://schemas.openxmlformats.org/officeDocument/2006/relationships/slideLayout" Target="../slideLayouts/slideLayout1480.xml"/><Relationship Id="rId147" Type="http://schemas.openxmlformats.org/officeDocument/2006/relationships/slideLayout" Target="../slideLayouts/slideLayout1501.xml"/><Relationship Id="rId168" Type="http://schemas.openxmlformats.org/officeDocument/2006/relationships/slideLayout" Target="../slideLayouts/slideLayout1522.xml"/><Relationship Id="rId312" Type="http://schemas.openxmlformats.org/officeDocument/2006/relationships/slideLayout" Target="../slideLayouts/slideLayout1666.xml"/><Relationship Id="rId333" Type="http://schemas.openxmlformats.org/officeDocument/2006/relationships/slideLayout" Target="../slideLayouts/slideLayout1687.xml"/><Relationship Id="rId354" Type="http://schemas.openxmlformats.org/officeDocument/2006/relationships/slideLayout" Target="../slideLayouts/slideLayout1708.xml"/><Relationship Id="rId51" Type="http://schemas.openxmlformats.org/officeDocument/2006/relationships/slideLayout" Target="../slideLayouts/slideLayout1405.xml"/><Relationship Id="rId72" Type="http://schemas.openxmlformats.org/officeDocument/2006/relationships/slideLayout" Target="../slideLayouts/slideLayout1426.xml"/><Relationship Id="rId93" Type="http://schemas.openxmlformats.org/officeDocument/2006/relationships/slideLayout" Target="../slideLayouts/slideLayout1447.xml"/><Relationship Id="rId189" Type="http://schemas.openxmlformats.org/officeDocument/2006/relationships/slideLayout" Target="../slideLayouts/slideLayout1543.xml"/><Relationship Id="rId375" Type="http://schemas.openxmlformats.org/officeDocument/2006/relationships/slideLayout" Target="../slideLayouts/slideLayout1729.xml"/><Relationship Id="rId396" Type="http://schemas.openxmlformats.org/officeDocument/2006/relationships/slideLayout" Target="../slideLayouts/slideLayout1750.xml"/><Relationship Id="rId3" Type="http://schemas.openxmlformats.org/officeDocument/2006/relationships/slideLayout" Target="../slideLayouts/slideLayout1357.xml"/><Relationship Id="rId214" Type="http://schemas.openxmlformats.org/officeDocument/2006/relationships/slideLayout" Target="../slideLayouts/slideLayout1568.xml"/><Relationship Id="rId235" Type="http://schemas.openxmlformats.org/officeDocument/2006/relationships/slideLayout" Target="../slideLayouts/slideLayout1589.xml"/><Relationship Id="rId256" Type="http://schemas.openxmlformats.org/officeDocument/2006/relationships/slideLayout" Target="../slideLayouts/slideLayout1610.xml"/><Relationship Id="rId277" Type="http://schemas.openxmlformats.org/officeDocument/2006/relationships/slideLayout" Target="../slideLayouts/slideLayout1631.xml"/><Relationship Id="rId298" Type="http://schemas.openxmlformats.org/officeDocument/2006/relationships/slideLayout" Target="../slideLayouts/slideLayout1652.xml"/><Relationship Id="rId400" Type="http://schemas.openxmlformats.org/officeDocument/2006/relationships/slideLayout" Target="../slideLayouts/slideLayout1754.xml"/><Relationship Id="rId421" Type="http://schemas.openxmlformats.org/officeDocument/2006/relationships/slideLayout" Target="../slideLayouts/slideLayout1775.xml"/><Relationship Id="rId442" Type="http://schemas.openxmlformats.org/officeDocument/2006/relationships/slideLayout" Target="../slideLayouts/slideLayout1796.xml"/><Relationship Id="rId116" Type="http://schemas.openxmlformats.org/officeDocument/2006/relationships/slideLayout" Target="../slideLayouts/slideLayout1470.xml"/><Relationship Id="rId137" Type="http://schemas.openxmlformats.org/officeDocument/2006/relationships/slideLayout" Target="../slideLayouts/slideLayout1491.xml"/><Relationship Id="rId158" Type="http://schemas.openxmlformats.org/officeDocument/2006/relationships/slideLayout" Target="../slideLayouts/slideLayout1512.xml"/><Relationship Id="rId302" Type="http://schemas.openxmlformats.org/officeDocument/2006/relationships/slideLayout" Target="../slideLayouts/slideLayout1656.xml"/><Relationship Id="rId323" Type="http://schemas.openxmlformats.org/officeDocument/2006/relationships/slideLayout" Target="../slideLayouts/slideLayout1677.xml"/><Relationship Id="rId344" Type="http://schemas.openxmlformats.org/officeDocument/2006/relationships/slideLayout" Target="../slideLayouts/slideLayout1698.xml"/><Relationship Id="rId20" Type="http://schemas.openxmlformats.org/officeDocument/2006/relationships/slideLayout" Target="../slideLayouts/slideLayout1374.xml"/><Relationship Id="rId41" Type="http://schemas.openxmlformats.org/officeDocument/2006/relationships/slideLayout" Target="../slideLayouts/slideLayout1395.xml"/><Relationship Id="rId62" Type="http://schemas.openxmlformats.org/officeDocument/2006/relationships/slideLayout" Target="../slideLayouts/slideLayout1416.xml"/><Relationship Id="rId83" Type="http://schemas.openxmlformats.org/officeDocument/2006/relationships/slideLayout" Target="../slideLayouts/slideLayout1437.xml"/><Relationship Id="rId179" Type="http://schemas.openxmlformats.org/officeDocument/2006/relationships/slideLayout" Target="../slideLayouts/slideLayout1533.xml"/><Relationship Id="rId365" Type="http://schemas.openxmlformats.org/officeDocument/2006/relationships/slideLayout" Target="../slideLayouts/slideLayout1719.xml"/><Relationship Id="rId386" Type="http://schemas.openxmlformats.org/officeDocument/2006/relationships/slideLayout" Target="../slideLayouts/slideLayout1740.xml"/><Relationship Id="rId190" Type="http://schemas.openxmlformats.org/officeDocument/2006/relationships/slideLayout" Target="../slideLayouts/slideLayout1544.xml"/><Relationship Id="rId204" Type="http://schemas.openxmlformats.org/officeDocument/2006/relationships/slideLayout" Target="../slideLayouts/slideLayout1558.xml"/><Relationship Id="rId225" Type="http://schemas.openxmlformats.org/officeDocument/2006/relationships/slideLayout" Target="../slideLayouts/slideLayout1579.xml"/><Relationship Id="rId246" Type="http://schemas.openxmlformats.org/officeDocument/2006/relationships/slideLayout" Target="../slideLayouts/slideLayout1600.xml"/><Relationship Id="rId267" Type="http://schemas.openxmlformats.org/officeDocument/2006/relationships/slideLayout" Target="../slideLayouts/slideLayout1621.xml"/><Relationship Id="rId288" Type="http://schemas.openxmlformats.org/officeDocument/2006/relationships/slideLayout" Target="../slideLayouts/slideLayout1642.xml"/><Relationship Id="rId411" Type="http://schemas.openxmlformats.org/officeDocument/2006/relationships/slideLayout" Target="../slideLayouts/slideLayout1765.xml"/><Relationship Id="rId432" Type="http://schemas.openxmlformats.org/officeDocument/2006/relationships/slideLayout" Target="../slideLayouts/slideLayout1786.xml"/><Relationship Id="rId453" Type="http://schemas.openxmlformats.org/officeDocument/2006/relationships/slideLayout" Target="../slideLayouts/slideLayout1807.xml"/><Relationship Id="rId106" Type="http://schemas.openxmlformats.org/officeDocument/2006/relationships/slideLayout" Target="../slideLayouts/slideLayout1460.xml"/><Relationship Id="rId127" Type="http://schemas.openxmlformats.org/officeDocument/2006/relationships/slideLayout" Target="../slideLayouts/slideLayout1481.xml"/><Relationship Id="rId313" Type="http://schemas.openxmlformats.org/officeDocument/2006/relationships/slideLayout" Target="../slideLayouts/slideLayout1667.xml"/><Relationship Id="rId10" Type="http://schemas.openxmlformats.org/officeDocument/2006/relationships/slideLayout" Target="../slideLayouts/slideLayout1364.xml"/><Relationship Id="rId31" Type="http://schemas.openxmlformats.org/officeDocument/2006/relationships/slideLayout" Target="../slideLayouts/slideLayout1385.xml"/><Relationship Id="rId52" Type="http://schemas.openxmlformats.org/officeDocument/2006/relationships/slideLayout" Target="../slideLayouts/slideLayout1406.xml"/><Relationship Id="rId73" Type="http://schemas.openxmlformats.org/officeDocument/2006/relationships/slideLayout" Target="../slideLayouts/slideLayout1427.xml"/><Relationship Id="rId94" Type="http://schemas.openxmlformats.org/officeDocument/2006/relationships/slideLayout" Target="../slideLayouts/slideLayout1448.xml"/><Relationship Id="rId148" Type="http://schemas.openxmlformats.org/officeDocument/2006/relationships/slideLayout" Target="../slideLayouts/slideLayout1502.xml"/><Relationship Id="rId169" Type="http://schemas.openxmlformats.org/officeDocument/2006/relationships/slideLayout" Target="../slideLayouts/slideLayout1523.xml"/><Relationship Id="rId334" Type="http://schemas.openxmlformats.org/officeDocument/2006/relationships/slideLayout" Target="../slideLayouts/slideLayout1688.xml"/><Relationship Id="rId355" Type="http://schemas.openxmlformats.org/officeDocument/2006/relationships/slideLayout" Target="../slideLayouts/slideLayout1709.xml"/><Relationship Id="rId376" Type="http://schemas.openxmlformats.org/officeDocument/2006/relationships/slideLayout" Target="../slideLayouts/slideLayout1730.xml"/><Relationship Id="rId397" Type="http://schemas.openxmlformats.org/officeDocument/2006/relationships/slideLayout" Target="../slideLayouts/slideLayout1751.xml"/><Relationship Id="rId4" Type="http://schemas.openxmlformats.org/officeDocument/2006/relationships/slideLayout" Target="../slideLayouts/slideLayout1358.xml"/><Relationship Id="rId180" Type="http://schemas.openxmlformats.org/officeDocument/2006/relationships/slideLayout" Target="../slideLayouts/slideLayout1534.xml"/><Relationship Id="rId215" Type="http://schemas.openxmlformats.org/officeDocument/2006/relationships/slideLayout" Target="../slideLayouts/slideLayout1569.xml"/><Relationship Id="rId236" Type="http://schemas.openxmlformats.org/officeDocument/2006/relationships/slideLayout" Target="../slideLayouts/slideLayout1590.xml"/><Relationship Id="rId257" Type="http://schemas.openxmlformats.org/officeDocument/2006/relationships/slideLayout" Target="../slideLayouts/slideLayout1611.xml"/><Relationship Id="rId278" Type="http://schemas.openxmlformats.org/officeDocument/2006/relationships/slideLayout" Target="../slideLayouts/slideLayout1632.xml"/><Relationship Id="rId401" Type="http://schemas.openxmlformats.org/officeDocument/2006/relationships/slideLayout" Target="../slideLayouts/slideLayout1755.xml"/><Relationship Id="rId422" Type="http://schemas.openxmlformats.org/officeDocument/2006/relationships/slideLayout" Target="../slideLayouts/slideLayout1776.xml"/><Relationship Id="rId443" Type="http://schemas.openxmlformats.org/officeDocument/2006/relationships/slideLayout" Target="../slideLayouts/slideLayout1797.xml"/><Relationship Id="rId303" Type="http://schemas.openxmlformats.org/officeDocument/2006/relationships/slideLayout" Target="../slideLayouts/slideLayout1657.xml"/><Relationship Id="rId42" Type="http://schemas.openxmlformats.org/officeDocument/2006/relationships/slideLayout" Target="../slideLayouts/slideLayout1396.xml"/><Relationship Id="rId84" Type="http://schemas.openxmlformats.org/officeDocument/2006/relationships/slideLayout" Target="../slideLayouts/slideLayout1438.xml"/><Relationship Id="rId138" Type="http://schemas.openxmlformats.org/officeDocument/2006/relationships/slideLayout" Target="../slideLayouts/slideLayout1492.xml"/><Relationship Id="rId345" Type="http://schemas.openxmlformats.org/officeDocument/2006/relationships/slideLayout" Target="../slideLayouts/slideLayout1699.xml"/><Relationship Id="rId387" Type="http://schemas.openxmlformats.org/officeDocument/2006/relationships/slideLayout" Target="../slideLayouts/slideLayout1741.xml"/><Relationship Id="rId191" Type="http://schemas.openxmlformats.org/officeDocument/2006/relationships/slideLayout" Target="../slideLayouts/slideLayout1545.xml"/><Relationship Id="rId205" Type="http://schemas.openxmlformats.org/officeDocument/2006/relationships/slideLayout" Target="../slideLayouts/slideLayout1559.xml"/><Relationship Id="rId247" Type="http://schemas.openxmlformats.org/officeDocument/2006/relationships/slideLayout" Target="../slideLayouts/slideLayout1601.xml"/><Relationship Id="rId412" Type="http://schemas.openxmlformats.org/officeDocument/2006/relationships/slideLayout" Target="../slideLayouts/slideLayout1766.xml"/><Relationship Id="rId107" Type="http://schemas.openxmlformats.org/officeDocument/2006/relationships/slideLayout" Target="../slideLayouts/slideLayout1461.xml"/><Relationship Id="rId289" Type="http://schemas.openxmlformats.org/officeDocument/2006/relationships/slideLayout" Target="../slideLayouts/slideLayout1643.xml"/><Relationship Id="rId454" Type="http://schemas.openxmlformats.org/officeDocument/2006/relationships/slideLayout" Target="../slideLayouts/slideLayout1808.xml"/><Relationship Id="rId11" Type="http://schemas.openxmlformats.org/officeDocument/2006/relationships/slideLayout" Target="../slideLayouts/slideLayout1365.xml"/><Relationship Id="rId53" Type="http://schemas.openxmlformats.org/officeDocument/2006/relationships/slideLayout" Target="../slideLayouts/slideLayout1407.xml"/><Relationship Id="rId149" Type="http://schemas.openxmlformats.org/officeDocument/2006/relationships/slideLayout" Target="../slideLayouts/slideLayout1503.xml"/><Relationship Id="rId314" Type="http://schemas.openxmlformats.org/officeDocument/2006/relationships/slideLayout" Target="../slideLayouts/slideLayout1668.xml"/><Relationship Id="rId356" Type="http://schemas.openxmlformats.org/officeDocument/2006/relationships/slideLayout" Target="../slideLayouts/slideLayout1710.xml"/><Relationship Id="rId398" Type="http://schemas.openxmlformats.org/officeDocument/2006/relationships/slideLayout" Target="../slideLayouts/slideLayout1752.xml"/><Relationship Id="rId95" Type="http://schemas.openxmlformats.org/officeDocument/2006/relationships/slideLayout" Target="../slideLayouts/slideLayout1449.xml"/><Relationship Id="rId160" Type="http://schemas.openxmlformats.org/officeDocument/2006/relationships/slideLayout" Target="../slideLayouts/slideLayout1514.xml"/><Relationship Id="rId216" Type="http://schemas.openxmlformats.org/officeDocument/2006/relationships/slideLayout" Target="../slideLayouts/slideLayout1570.xml"/><Relationship Id="rId423" Type="http://schemas.openxmlformats.org/officeDocument/2006/relationships/slideLayout" Target="../slideLayouts/slideLayout1777.xml"/><Relationship Id="rId258" Type="http://schemas.openxmlformats.org/officeDocument/2006/relationships/slideLayout" Target="../slideLayouts/slideLayout1612.xml"/><Relationship Id="rId22" Type="http://schemas.openxmlformats.org/officeDocument/2006/relationships/slideLayout" Target="../slideLayouts/slideLayout1376.xml"/><Relationship Id="rId64" Type="http://schemas.openxmlformats.org/officeDocument/2006/relationships/slideLayout" Target="../slideLayouts/slideLayout1418.xml"/><Relationship Id="rId118" Type="http://schemas.openxmlformats.org/officeDocument/2006/relationships/slideLayout" Target="../slideLayouts/slideLayout1472.xml"/><Relationship Id="rId325" Type="http://schemas.openxmlformats.org/officeDocument/2006/relationships/slideLayout" Target="../slideLayouts/slideLayout1679.xml"/><Relationship Id="rId367" Type="http://schemas.openxmlformats.org/officeDocument/2006/relationships/slideLayout" Target="../slideLayouts/slideLayout1721.xml"/><Relationship Id="rId171" Type="http://schemas.openxmlformats.org/officeDocument/2006/relationships/slideLayout" Target="../slideLayouts/slideLayout1525.xml"/><Relationship Id="rId227" Type="http://schemas.openxmlformats.org/officeDocument/2006/relationships/slideLayout" Target="../slideLayouts/slideLayout1581.xml"/><Relationship Id="rId269" Type="http://schemas.openxmlformats.org/officeDocument/2006/relationships/slideLayout" Target="../slideLayouts/slideLayout1623.xml"/><Relationship Id="rId434" Type="http://schemas.openxmlformats.org/officeDocument/2006/relationships/slideLayout" Target="../slideLayouts/slideLayout1788.xml"/><Relationship Id="rId33" Type="http://schemas.openxmlformats.org/officeDocument/2006/relationships/slideLayout" Target="../slideLayouts/slideLayout1387.xml"/><Relationship Id="rId129" Type="http://schemas.openxmlformats.org/officeDocument/2006/relationships/slideLayout" Target="../slideLayouts/slideLayout1483.xml"/><Relationship Id="rId280" Type="http://schemas.openxmlformats.org/officeDocument/2006/relationships/slideLayout" Target="../slideLayouts/slideLayout1634.xml"/><Relationship Id="rId336" Type="http://schemas.openxmlformats.org/officeDocument/2006/relationships/slideLayout" Target="../slideLayouts/slideLayout1690.xml"/><Relationship Id="rId75" Type="http://schemas.openxmlformats.org/officeDocument/2006/relationships/slideLayout" Target="../slideLayouts/slideLayout1429.xml"/><Relationship Id="rId140" Type="http://schemas.openxmlformats.org/officeDocument/2006/relationships/slideLayout" Target="../slideLayouts/slideLayout1494.xml"/><Relationship Id="rId182" Type="http://schemas.openxmlformats.org/officeDocument/2006/relationships/slideLayout" Target="../slideLayouts/slideLayout1536.xml"/><Relationship Id="rId378" Type="http://schemas.openxmlformats.org/officeDocument/2006/relationships/slideLayout" Target="../slideLayouts/slideLayout1732.xml"/><Relationship Id="rId403" Type="http://schemas.openxmlformats.org/officeDocument/2006/relationships/slideLayout" Target="../slideLayouts/slideLayout1757.xml"/><Relationship Id="rId6" Type="http://schemas.openxmlformats.org/officeDocument/2006/relationships/slideLayout" Target="../slideLayouts/slideLayout1360.xml"/><Relationship Id="rId238" Type="http://schemas.openxmlformats.org/officeDocument/2006/relationships/slideLayout" Target="../slideLayouts/slideLayout1592.xml"/><Relationship Id="rId445" Type="http://schemas.openxmlformats.org/officeDocument/2006/relationships/slideLayout" Target="../slideLayouts/slideLayout1799.xml"/><Relationship Id="rId291" Type="http://schemas.openxmlformats.org/officeDocument/2006/relationships/slideLayout" Target="../slideLayouts/slideLayout1645.xml"/><Relationship Id="rId305" Type="http://schemas.openxmlformats.org/officeDocument/2006/relationships/slideLayout" Target="../slideLayouts/slideLayout1659.xml"/><Relationship Id="rId347" Type="http://schemas.openxmlformats.org/officeDocument/2006/relationships/slideLayout" Target="../slideLayouts/slideLayout1701.xml"/><Relationship Id="rId44" Type="http://schemas.openxmlformats.org/officeDocument/2006/relationships/slideLayout" Target="../slideLayouts/slideLayout1398.xml"/><Relationship Id="rId86" Type="http://schemas.openxmlformats.org/officeDocument/2006/relationships/slideLayout" Target="../slideLayouts/slideLayout1440.xml"/><Relationship Id="rId151" Type="http://schemas.openxmlformats.org/officeDocument/2006/relationships/slideLayout" Target="../slideLayouts/slideLayout1505.xml"/><Relationship Id="rId389" Type="http://schemas.openxmlformats.org/officeDocument/2006/relationships/slideLayout" Target="../slideLayouts/slideLayout1743.xml"/><Relationship Id="rId193" Type="http://schemas.openxmlformats.org/officeDocument/2006/relationships/slideLayout" Target="../slideLayouts/slideLayout1547.xml"/><Relationship Id="rId207" Type="http://schemas.openxmlformats.org/officeDocument/2006/relationships/slideLayout" Target="../slideLayouts/slideLayout1561.xml"/><Relationship Id="rId249" Type="http://schemas.openxmlformats.org/officeDocument/2006/relationships/slideLayout" Target="../slideLayouts/slideLayout1603.xml"/><Relationship Id="rId414" Type="http://schemas.openxmlformats.org/officeDocument/2006/relationships/slideLayout" Target="../slideLayouts/slideLayout1768.xml"/><Relationship Id="rId456" Type="http://schemas.openxmlformats.org/officeDocument/2006/relationships/slideLayout" Target="../slideLayouts/slideLayout1810.xml"/><Relationship Id="rId13" Type="http://schemas.openxmlformats.org/officeDocument/2006/relationships/slideLayout" Target="../slideLayouts/slideLayout1367.xml"/><Relationship Id="rId109" Type="http://schemas.openxmlformats.org/officeDocument/2006/relationships/slideLayout" Target="../slideLayouts/slideLayout1463.xml"/><Relationship Id="rId260" Type="http://schemas.openxmlformats.org/officeDocument/2006/relationships/slideLayout" Target="../slideLayouts/slideLayout1614.xml"/><Relationship Id="rId316" Type="http://schemas.openxmlformats.org/officeDocument/2006/relationships/slideLayout" Target="../slideLayouts/slideLayout1670.xml"/><Relationship Id="rId55" Type="http://schemas.openxmlformats.org/officeDocument/2006/relationships/slideLayout" Target="../slideLayouts/slideLayout1409.xml"/><Relationship Id="rId97" Type="http://schemas.openxmlformats.org/officeDocument/2006/relationships/slideLayout" Target="../slideLayouts/slideLayout1451.xml"/><Relationship Id="rId120" Type="http://schemas.openxmlformats.org/officeDocument/2006/relationships/slideLayout" Target="../slideLayouts/slideLayout1474.xml"/><Relationship Id="rId358" Type="http://schemas.openxmlformats.org/officeDocument/2006/relationships/slideLayout" Target="../slideLayouts/slideLayout1712.xml"/><Relationship Id="rId162" Type="http://schemas.openxmlformats.org/officeDocument/2006/relationships/slideLayout" Target="../slideLayouts/slideLayout1516.xml"/><Relationship Id="rId218" Type="http://schemas.openxmlformats.org/officeDocument/2006/relationships/slideLayout" Target="../slideLayouts/slideLayout1572.xml"/><Relationship Id="rId425" Type="http://schemas.openxmlformats.org/officeDocument/2006/relationships/slideLayout" Target="../slideLayouts/slideLayout1779.xml"/><Relationship Id="rId271" Type="http://schemas.openxmlformats.org/officeDocument/2006/relationships/slideLayout" Target="../slideLayouts/slideLayout1625.xml"/><Relationship Id="rId24" Type="http://schemas.openxmlformats.org/officeDocument/2006/relationships/slideLayout" Target="../slideLayouts/slideLayout1378.xml"/><Relationship Id="rId66" Type="http://schemas.openxmlformats.org/officeDocument/2006/relationships/slideLayout" Target="../slideLayouts/slideLayout1420.xml"/><Relationship Id="rId131" Type="http://schemas.openxmlformats.org/officeDocument/2006/relationships/slideLayout" Target="../slideLayouts/slideLayout1485.xml"/><Relationship Id="rId327" Type="http://schemas.openxmlformats.org/officeDocument/2006/relationships/slideLayout" Target="../slideLayouts/slideLayout1681.xml"/><Relationship Id="rId369" Type="http://schemas.openxmlformats.org/officeDocument/2006/relationships/slideLayout" Target="../slideLayouts/slideLayout1723.xml"/><Relationship Id="rId173" Type="http://schemas.openxmlformats.org/officeDocument/2006/relationships/slideLayout" Target="../slideLayouts/slideLayout1527.xml"/><Relationship Id="rId229" Type="http://schemas.openxmlformats.org/officeDocument/2006/relationships/slideLayout" Target="../slideLayouts/slideLayout1583.xml"/><Relationship Id="rId380" Type="http://schemas.openxmlformats.org/officeDocument/2006/relationships/slideLayout" Target="../slideLayouts/slideLayout1734.xml"/><Relationship Id="rId436" Type="http://schemas.openxmlformats.org/officeDocument/2006/relationships/slideLayout" Target="../slideLayouts/slideLayout1790.xml"/><Relationship Id="rId240" Type="http://schemas.openxmlformats.org/officeDocument/2006/relationships/slideLayout" Target="../slideLayouts/slideLayout1594.xml"/><Relationship Id="rId35" Type="http://schemas.openxmlformats.org/officeDocument/2006/relationships/slideLayout" Target="../slideLayouts/slideLayout1389.xml"/><Relationship Id="rId77" Type="http://schemas.openxmlformats.org/officeDocument/2006/relationships/slideLayout" Target="../slideLayouts/slideLayout1431.xml"/><Relationship Id="rId100" Type="http://schemas.openxmlformats.org/officeDocument/2006/relationships/slideLayout" Target="../slideLayouts/slideLayout1454.xml"/><Relationship Id="rId282" Type="http://schemas.openxmlformats.org/officeDocument/2006/relationships/slideLayout" Target="../slideLayouts/slideLayout1636.xml"/><Relationship Id="rId338" Type="http://schemas.openxmlformats.org/officeDocument/2006/relationships/slideLayout" Target="../slideLayouts/slideLayout1692.xml"/><Relationship Id="rId8" Type="http://schemas.openxmlformats.org/officeDocument/2006/relationships/slideLayout" Target="../slideLayouts/slideLayout1362.xml"/><Relationship Id="rId142" Type="http://schemas.openxmlformats.org/officeDocument/2006/relationships/slideLayout" Target="../slideLayouts/slideLayout1496.xml"/><Relationship Id="rId184" Type="http://schemas.openxmlformats.org/officeDocument/2006/relationships/slideLayout" Target="../slideLayouts/slideLayout1538.xml"/><Relationship Id="rId391" Type="http://schemas.openxmlformats.org/officeDocument/2006/relationships/slideLayout" Target="../slideLayouts/slideLayout1745.xml"/><Relationship Id="rId405" Type="http://schemas.openxmlformats.org/officeDocument/2006/relationships/slideLayout" Target="../slideLayouts/slideLayout1759.xml"/><Relationship Id="rId447" Type="http://schemas.openxmlformats.org/officeDocument/2006/relationships/slideLayout" Target="../slideLayouts/slideLayout1801.xml"/><Relationship Id="rId251" Type="http://schemas.openxmlformats.org/officeDocument/2006/relationships/slideLayout" Target="../slideLayouts/slideLayout1605.xml"/><Relationship Id="rId46" Type="http://schemas.openxmlformats.org/officeDocument/2006/relationships/slideLayout" Target="../slideLayouts/slideLayout1400.xml"/><Relationship Id="rId293" Type="http://schemas.openxmlformats.org/officeDocument/2006/relationships/slideLayout" Target="../slideLayouts/slideLayout1647.xml"/><Relationship Id="rId307" Type="http://schemas.openxmlformats.org/officeDocument/2006/relationships/slideLayout" Target="../slideLayouts/slideLayout1661.xml"/><Relationship Id="rId349" Type="http://schemas.openxmlformats.org/officeDocument/2006/relationships/slideLayout" Target="../slideLayouts/slideLayout1703.xml"/><Relationship Id="rId88" Type="http://schemas.openxmlformats.org/officeDocument/2006/relationships/slideLayout" Target="../slideLayouts/slideLayout1442.xml"/><Relationship Id="rId111" Type="http://schemas.openxmlformats.org/officeDocument/2006/relationships/slideLayout" Target="../slideLayouts/slideLayout1465.xml"/><Relationship Id="rId153" Type="http://schemas.openxmlformats.org/officeDocument/2006/relationships/slideLayout" Target="../slideLayouts/slideLayout1507.xml"/><Relationship Id="rId195" Type="http://schemas.openxmlformats.org/officeDocument/2006/relationships/slideLayout" Target="../slideLayouts/slideLayout1549.xml"/><Relationship Id="rId209" Type="http://schemas.openxmlformats.org/officeDocument/2006/relationships/slideLayout" Target="../slideLayouts/slideLayout1563.xml"/><Relationship Id="rId360" Type="http://schemas.openxmlformats.org/officeDocument/2006/relationships/slideLayout" Target="../slideLayouts/slideLayout1714.xml"/><Relationship Id="rId416" Type="http://schemas.openxmlformats.org/officeDocument/2006/relationships/slideLayout" Target="../slideLayouts/slideLayout1770.xml"/><Relationship Id="rId220" Type="http://schemas.openxmlformats.org/officeDocument/2006/relationships/slideLayout" Target="../slideLayouts/slideLayout1574.xml"/><Relationship Id="rId458" Type="http://schemas.openxmlformats.org/officeDocument/2006/relationships/slideLayout" Target="../slideLayouts/slideLayout1812.xml"/><Relationship Id="rId15" Type="http://schemas.openxmlformats.org/officeDocument/2006/relationships/slideLayout" Target="../slideLayouts/slideLayout1369.xml"/><Relationship Id="rId57" Type="http://schemas.openxmlformats.org/officeDocument/2006/relationships/slideLayout" Target="../slideLayouts/slideLayout1411.xml"/><Relationship Id="rId262" Type="http://schemas.openxmlformats.org/officeDocument/2006/relationships/slideLayout" Target="../slideLayouts/slideLayout1616.xml"/><Relationship Id="rId318" Type="http://schemas.openxmlformats.org/officeDocument/2006/relationships/slideLayout" Target="../slideLayouts/slideLayout1672.xml"/><Relationship Id="rId99" Type="http://schemas.openxmlformats.org/officeDocument/2006/relationships/slideLayout" Target="../slideLayouts/slideLayout1453.xml"/><Relationship Id="rId122" Type="http://schemas.openxmlformats.org/officeDocument/2006/relationships/slideLayout" Target="../slideLayouts/slideLayout1476.xml"/><Relationship Id="rId164" Type="http://schemas.openxmlformats.org/officeDocument/2006/relationships/slideLayout" Target="../slideLayouts/slideLayout1518.xml"/><Relationship Id="rId371" Type="http://schemas.openxmlformats.org/officeDocument/2006/relationships/slideLayout" Target="../slideLayouts/slideLayout1725.xml"/><Relationship Id="rId427" Type="http://schemas.openxmlformats.org/officeDocument/2006/relationships/slideLayout" Target="../slideLayouts/slideLayout1781.xml"/><Relationship Id="rId26" Type="http://schemas.openxmlformats.org/officeDocument/2006/relationships/slideLayout" Target="../slideLayouts/slideLayout1380.xml"/><Relationship Id="rId231" Type="http://schemas.openxmlformats.org/officeDocument/2006/relationships/slideLayout" Target="../slideLayouts/slideLayout1585.xml"/><Relationship Id="rId273" Type="http://schemas.openxmlformats.org/officeDocument/2006/relationships/slideLayout" Target="../slideLayouts/slideLayout1627.xml"/><Relationship Id="rId329" Type="http://schemas.openxmlformats.org/officeDocument/2006/relationships/slideLayout" Target="../slideLayouts/slideLayout1683.xml"/><Relationship Id="rId68" Type="http://schemas.openxmlformats.org/officeDocument/2006/relationships/slideLayout" Target="../slideLayouts/slideLayout1422.xml"/><Relationship Id="rId133" Type="http://schemas.openxmlformats.org/officeDocument/2006/relationships/slideLayout" Target="../slideLayouts/slideLayout1487.xml"/><Relationship Id="rId175" Type="http://schemas.openxmlformats.org/officeDocument/2006/relationships/slideLayout" Target="../slideLayouts/slideLayout1529.xml"/><Relationship Id="rId340" Type="http://schemas.openxmlformats.org/officeDocument/2006/relationships/slideLayout" Target="../slideLayouts/slideLayout1694.xml"/><Relationship Id="rId200" Type="http://schemas.openxmlformats.org/officeDocument/2006/relationships/slideLayout" Target="../slideLayouts/slideLayout1554.xml"/><Relationship Id="rId382" Type="http://schemas.openxmlformats.org/officeDocument/2006/relationships/slideLayout" Target="../slideLayouts/slideLayout1736.xml"/><Relationship Id="rId438" Type="http://schemas.openxmlformats.org/officeDocument/2006/relationships/slideLayout" Target="../slideLayouts/slideLayout1792.xml"/><Relationship Id="rId242" Type="http://schemas.openxmlformats.org/officeDocument/2006/relationships/slideLayout" Target="../slideLayouts/slideLayout1596.xml"/><Relationship Id="rId284" Type="http://schemas.openxmlformats.org/officeDocument/2006/relationships/slideLayout" Target="../slideLayouts/slideLayout1638.xml"/><Relationship Id="rId37" Type="http://schemas.openxmlformats.org/officeDocument/2006/relationships/slideLayout" Target="../slideLayouts/slideLayout1391.xml"/><Relationship Id="rId79" Type="http://schemas.openxmlformats.org/officeDocument/2006/relationships/slideLayout" Target="../slideLayouts/slideLayout1433.xml"/><Relationship Id="rId102" Type="http://schemas.openxmlformats.org/officeDocument/2006/relationships/slideLayout" Target="../slideLayouts/slideLayout1456.xml"/><Relationship Id="rId144" Type="http://schemas.openxmlformats.org/officeDocument/2006/relationships/slideLayout" Target="../slideLayouts/slideLayout1498.xml"/><Relationship Id="rId90" Type="http://schemas.openxmlformats.org/officeDocument/2006/relationships/slideLayout" Target="../slideLayouts/slideLayout1444.xml"/><Relationship Id="rId186" Type="http://schemas.openxmlformats.org/officeDocument/2006/relationships/slideLayout" Target="../slideLayouts/slideLayout1540.xml"/><Relationship Id="rId351" Type="http://schemas.openxmlformats.org/officeDocument/2006/relationships/slideLayout" Target="../slideLayouts/slideLayout1705.xml"/><Relationship Id="rId393" Type="http://schemas.openxmlformats.org/officeDocument/2006/relationships/slideLayout" Target="../slideLayouts/slideLayout1747.xml"/><Relationship Id="rId407" Type="http://schemas.openxmlformats.org/officeDocument/2006/relationships/slideLayout" Target="../slideLayouts/slideLayout1761.xml"/><Relationship Id="rId449" Type="http://schemas.openxmlformats.org/officeDocument/2006/relationships/slideLayout" Target="../slideLayouts/slideLayout1803.xml"/><Relationship Id="rId211" Type="http://schemas.openxmlformats.org/officeDocument/2006/relationships/slideLayout" Target="../slideLayouts/slideLayout1565.xml"/><Relationship Id="rId253" Type="http://schemas.openxmlformats.org/officeDocument/2006/relationships/slideLayout" Target="../slideLayouts/slideLayout1607.xml"/><Relationship Id="rId295" Type="http://schemas.openxmlformats.org/officeDocument/2006/relationships/slideLayout" Target="../slideLayouts/slideLayout1649.xml"/><Relationship Id="rId309" Type="http://schemas.openxmlformats.org/officeDocument/2006/relationships/slideLayout" Target="../slideLayouts/slideLayout1663.xml"/><Relationship Id="rId460" Type="http://schemas.openxmlformats.org/officeDocument/2006/relationships/slideLayout" Target="../slideLayouts/slideLayout1814.xml"/><Relationship Id="rId48" Type="http://schemas.openxmlformats.org/officeDocument/2006/relationships/slideLayout" Target="../slideLayouts/slideLayout1402.xml"/><Relationship Id="rId113" Type="http://schemas.openxmlformats.org/officeDocument/2006/relationships/slideLayout" Target="../slideLayouts/slideLayout1467.xml"/><Relationship Id="rId320" Type="http://schemas.openxmlformats.org/officeDocument/2006/relationships/slideLayout" Target="../slideLayouts/slideLayout1674.xml"/><Relationship Id="rId155" Type="http://schemas.openxmlformats.org/officeDocument/2006/relationships/slideLayout" Target="../slideLayouts/slideLayout1509.xml"/><Relationship Id="rId197" Type="http://schemas.openxmlformats.org/officeDocument/2006/relationships/slideLayout" Target="../slideLayouts/slideLayout1551.xml"/><Relationship Id="rId362" Type="http://schemas.openxmlformats.org/officeDocument/2006/relationships/slideLayout" Target="../slideLayouts/slideLayout1716.xml"/><Relationship Id="rId418" Type="http://schemas.openxmlformats.org/officeDocument/2006/relationships/slideLayout" Target="../slideLayouts/slideLayout1772.xml"/><Relationship Id="rId222" Type="http://schemas.openxmlformats.org/officeDocument/2006/relationships/slideLayout" Target="../slideLayouts/slideLayout1576.xml"/><Relationship Id="rId264" Type="http://schemas.openxmlformats.org/officeDocument/2006/relationships/slideLayout" Target="../slideLayouts/slideLayout1618.xml"/><Relationship Id="rId17" Type="http://schemas.openxmlformats.org/officeDocument/2006/relationships/slideLayout" Target="../slideLayouts/slideLayout1371.xml"/><Relationship Id="rId59" Type="http://schemas.openxmlformats.org/officeDocument/2006/relationships/slideLayout" Target="../slideLayouts/slideLayout1413.xml"/><Relationship Id="rId124" Type="http://schemas.openxmlformats.org/officeDocument/2006/relationships/slideLayout" Target="../slideLayouts/slideLayout1478.xml"/><Relationship Id="rId70" Type="http://schemas.openxmlformats.org/officeDocument/2006/relationships/slideLayout" Target="../slideLayouts/slideLayout1424.xml"/><Relationship Id="rId166" Type="http://schemas.openxmlformats.org/officeDocument/2006/relationships/slideLayout" Target="../slideLayouts/slideLayout1520.xml"/><Relationship Id="rId331" Type="http://schemas.openxmlformats.org/officeDocument/2006/relationships/slideLayout" Target="../slideLayouts/slideLayout1685.xml"/><Relationship Id="rId373" Type="http://schemas.openxmlformats.org/officeDocument/2006/relationships/slideLayout" Target="../slideLayouts/slideLayout1727.xml"/><Relationship Id="rId429" Type="http://schemas.openxmlformats.org/officeDocument/2006/relationships/slideLayout" Target="../slideLayouts/slideLayout1783.xml"/><Relationship Id="rId1" Type="http://schemas.openxmlformats.org/officeDocument/2006/relationships/slideLayout" Target="../slideLayouts/slideLayout1355.xml"/><Relationship Id="rId233" Type="http://schemas.openxmlformats.org/officeDocument/2006/relationships/slideLayout" Target="../slideLayouts/slideLayout1587.xml"/><Relationship Id="rId440" Type="http://schemas.openxmlformats.org/officeDocument/2006/relationships/slideLayout" Target="../slideLayouts/slideLayout1794.xml"/><Relationship Id="rId28" Type="http://schemas.openxmlformats.org/officeDocument/2006/relationships/slideLayout" Target="../slideLayouts/slideLayout1382.xml"/><Relationship Id="rId275" Type="http://schemas.openxmlformats.org/officeDocument/2006/relationships/slideLayout" Target="../slideLayouts/slideLayout1629.xml"/><Relationship Id="rId300" Type="http://schemas.openxmlformats.org/officeDocument/2006/relationships/slideLayout" Target="../slideLayouts/slideLayout1654.xml"/><Relationship Id="rId81" Type="http://schemas.openxmlformats.org/officeDocument/2006/relationships/slideLayout" Target="../slideLayouts/slideLayout1435.xml"/><Relationship Id="rId135" Type="http://schemas.openxmlformats.org/officeDocument/2006/relationships/slideLayout" Target="../slideLayouts/slideLayout1489.xml"/><Relationship Id="rId177" Type="http://schemas.openxmlformats.org/officeDocument/2006/relationships/slideLayout" Target="../slideLayouts/slideLayout1531.xml"/><Relationship Id="rId342" Type="http://schemas.openxmlformats.org/officeDocument/2006/relationships/slideLayout" Target="../slideLayouts/slideLayout1696.xml"/><Relationship Id="rId384" Type="http://schemas.openxmlformats.org/officeDocument/2006/relationships/slideLayout" Target="../slideLayouts/slideLayout1738.xml"/><Relationship Id="rId202" Type="http://schemas.openxmlformats.org/officeDocument/2006/relationships/slideLayout" Target="../slideLayouts/slideLayout1556.xml"/><Relationship Id="rId244" Type="http://schemas.openxmlformats.org/officeDocument/2006/relationships/slideLayout" Target="../slideLayouts/slideLayout1598.xml"/><Relationship Id="rId39" Type="http://schemas.openxmlformats.org/officeDocument/2006/relationships/slideLayout" Target="../slideLayouts/slideLayout1393.xml"/><Relationship Id="rId286" Type="http://schemas.openxmlformats.org/officeDocument/2006/relationships/slideLayout" Target="../slideLayouts/slideLayout1640.xml"/><Relationship Id="rId451" Type="http://schemas.openxmlformats.org/officeDocument/2006/relationships/slideLayout" Target="../slideLayouts/slideLayout1805.xml"/><Relationship Id="rId50" Type="http://schemas.openxmlformats.org/officeDocument/2006/relationships/slideLayout" Target="../slideLayouts/slideLayout1404.xml"/><Relationship Id="rId104" Type="http://schemas.openxmlformats.org/officeDocument/2006/relationships/slideLayout" Target="../slideLayouts/slideLayout1458.xml"/><Relationship Id="rId146" Type="http://schemas.openxmlformats.org/officeDocument/2006/relationships/slideLayout" Target="../slideLayouts/slideLayout1500.xml"/><Relationship Id="rId188" Type="http://schemas.openxmlformats.org/officeDocument/2006/relationships/slideLayout" Target="../slideLayouts/slideLayout1542.xml"/><Relationship Id="rId311" Type="http://schemas.openxmlformats.org/officeDocument/2006/relationships/slideLayout" Target="../slideLayouts/slideLayout1665.xml"/><Relationship Id="rId353" Type="http://schemas.openxmlformats.org/officeDocument/2006/relationships/slideLayout" Target="../slideLayouts/slideLayout1707.xml"/><Relationship Id="rId395" Type="http://schemas.openxmlformats.org/officeDocument/2006/relationships/slideLayout" Target="../slideLayouts/slideLayout1749.xml"/><Relationship Id="rId409" Type="http://schemas.openxmlformats.org/officeDocument/2006/relationships/slideLayout" Target="../slideLayouts/slideLayout1763.xml"/><Relationship Id="rId92" Type="http://schemas.openxmlformats.org/officeDocument/2006/relationships/slideLayout" Target="../slideLayouts/slideLayout1446.xml"/><Relationship Id="rId213" Type="http://schemas.openxmlformats.org/officeDocument/2006/relationships/slideLayout" Target="../slideLayouts/slideLayout1567.xml"/><Relationship Id="rId420" Type="http://schemas.openxmlformats.org/officeDocument/2006/relationships/slideLayout" Target="../slideLayouts/slideLayout1774.xml"/><Relationship Id="rId255" Type="http://schemas.openxmlformats.org/officeDocument/2006/relationships/slideLayout" Target="../slideLayouts/slideLayout1609.xml"/><Relationship Id="rId297" Type="http://schemas.openxmlformats.org/officeDocument/2006/relationships/slideLayout" Target="../slideLayouts/slideLayout1651.xml"/><Relationship Id="rId462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932.xml"/><Relationship Id="rId21" Type="http://schemas.openxmlformats.org/officeDocument/2006/relationships/slideLayout" Target="../slideLayouts/slideLayout1836.xml"/><Relationship Id="rId63" Type="http://schemas.openxmlformats.org/officeDocument/2006/relationships/slideLayout" Target="../slideLayouts/slideLayout1878.xml"/><Relationship Id="rId159" Type="http://schemas.openxmlformats.org/officeDocument/2006/relationships/slideLayout" Target="../slideLayouts/slideLayout1974.xml"/><Relationship Id="rId170" Type="http://schemas.openxmlformats.org/officeDocument/2006/relationships/slideLayout" Target="../slideLayouts/slideLayout1985.xml"/><Relationship Id="rId226" Type="http://schemas.openxmlformats.org/officeDocument/2006/relationships/slideLayout" Target="../slideLayouts/slideLayout2041.xml"/><Relationship Id="rId268" Type="http://schemas.openxmlformats.org/officeDocument/2006/relationships/slideLayout" Target="../slideLayouts/slideLayout2083.xml"/><Relationship Id="rId32" Type="http://schemas.openxmlformats.org/officeDocument/2006/relationships/slideLayout" Target="../slideLayouts/slideLayout1847.xml"/><Relationship Id="rId74" Type="http://schemas.openxmlformats.org/officeDocument/2006/relationships/slideLayout" Target="../slideLayouts/slideLayout1889.xml"/><Relationship Id="rId128" Type="http://schemas.openxmlformats.org/officeDocument/2006/relationships/slideLayout" Target="../slideLayouts/slideLayout1943.xml"/><Relationship Id="rId5" Type="http://schemas.openxmlformats.org/officeDocument/2006/relationships/slideLayout" Target="../slideLayouts/slideLayout1820.xml"/><Relationship Id="rId181" Type="http://schemas.openxmlformats.org/officeDocument/2006/relationships/slideLayout" Target="../slideLayouts/slideLayout1996.xml"/><Relationship Id="rId237" Type="http://schemas.openxmlformats.org/officeDocument/2006/relationships/slideLayout" Target="../slideLayouts/slideLayout2052.xml"/><Relationship Id="rId279" Type="http://schemas.openxmlformats.org/officeDocument/2006/relationships/slideLayout" Target="../slideLayouts/slideLayout2094.xml"/><Relationship Id="rId22" Type="http://schemas.openxmlformats.org/officeDocument/2006/relationships/slideLayout" Target="../slideLayouts/slideLayout1837.xml"/><Relationship Id="rId43" Type="http://schemas.openxmlformats.org/officeDocument/2006/relationships/slideLayout" Target="../slideLayouts/slideLayout1858.xml"/><Relationship Id="rId64" Type="http://schemas.openxmlformats.org/officeDocument/2006/relationships/slideLayout" Target="../slideLayouts/slideLayout1879.xml"/><Relationship Id="rId118" Type="http://schemas.openxmlformats.org/officeDocument/2006/relationships/slideLayout" Target="../slideLayouts/slideLayout1933.xml"/><Relationship Id="rId139" Type="http://schemas.openxmlformats.org/officeDocument/2006/relationships/slideLayout" Target="../slideLayouts/slideLayout1954.xml"/><Relationship Id="rId85" Type="http://schemas.openxmlformats.org/officeDocument/2006/relationships/slideLayout" Target="../slideLayouts/slideLayout1900.xml"/><Relationship Id="rId150" Type="http://schemas.openxmlformats.org/officeDocument/2006/relationships/slideLayout" Target="../slideLayouts/slideLayout1965.xml"/><Relationship Id="rId171" Type="http://schemas.openxmlformats.org/officeDocument/2006/relationships/slideLayout" Target="../slideLayouts/slideLayout1986.xml"/><Relationship Id="rId192" Type="http://schemas.openxmlformats.org/officeDocument/2006/relationships/slideLayout" Target="../slideLayouts/slideLayout2007.xml"/><Relationship Id="rId206" Type="http://schemas.openxmlformats.org/officeDocument/2006/relationships/slideLayout" Target="../slideLayouts/slideLayout2021.xml"/><Relationship Id="rId227" Type="http://schemas.openxmlformats.org/officeDocument/2006/relationships/slideLayout" Target="../slideLayouts/slideLayout2042.xml"/><Relationship Id="rId248" Type="http://schemas.openxmlformats.org/officeDocument/2006/relationships/slideLayout" Target="../slideLayouts/slideLayout2063.xml"/><Relationship Id="rId269" Type="http://schemas.openxmlformats.org/officeDocument/2006/relationships/slideLayout" Target="../slideLayouts/slideLayout2084.xml"/><Relationship Id="rId12" Type="http://schemas.openxmlformats.org/officeDocument/2006/relationships/slideLayout" Target="../slideLayouts/slideLayout1827.xml"/><Relationship Id="rId33" Type="http://schemas.openxmlformats.org/officeDocument/2006/relationships/slideLayout" Target="../slideLayouts/slideLayout1848.xml"/><Relationship Id="rId108" Type="http://schemas.openxmlformats.org/officeDocument/2006/relationships/slideLayout" Target="../slideLayouts/slideLayout1923.xml"/><Relationship Id="rId129" Type="http://schemas.openxmlformats.org/officeDocument/2006/relationships/slideLayout" Target="../slideLayouts/slideLayout1944.xml"/><Relationship Id="rId280" Type="http://schemas.openxmlformats.org/officeDocument/2006/relationships/slideLayout" Target="../slideLayouts/slideLayout2095.xml"/><Relationship Id="rId54" Type="http://schemas.openxmlformats.org/officeDocument/2006/relationships/slideLayout" Target="../slideLayouts/slideLayout1869.xml"/><Relationship Id="rId75" Type="http://schemas.openxmlformats.org/officeDocument/2006/relationships/slideLayout" Target="../slideLayouts/slideLayout1890.xml"/><Relationship Id="rId96" Type="http://schemas.openxmlformats.org/officeDocument/2006/relationships/slideLayout" Target="../slideLayouts/slideLayout1911.xml"/><Relationship Id="rId140" Type="http://schemas.openxmlformats.org/officeDocument/2006/relationships/slideLayout" Target="../slideLayouts/slideLayout1955.xml"/><Relationship Id="rId161" Type="http://schemas.openxmlformats.org/officeDocument/2006/relationships/slideLayout" Target="../slideLayouts/slideLayout1976.xml"/><Relationship Id="rId182" Type="http://schemas.openxmlformats.org/officeDocument/2006/relationships/slideLayout" Target="../slideLayouts/slideLayout1997.xml"/><Relationship Id="rId217" Type="http://schemas.openxmlformats.org/officeDocument/2006/relationships/slideLayout" Target="../slideLayouts/slideLayout2032.xml"/><Relationship Id="rId6" Type="http://schemas.openxmlformats.org/officeDocument/2006/relationships/slideLayout" Target="../slideLayouts/slideLayout1821.xml"/><Relationship Id="rId238" Type="http://schemas.openxmlformats.org/officeDocument/2006/relationships/slideLayout" Target="../slideLayouts/slideLayout2053.xml"/><Relationship Id="rId259" Type="http://schemas.openxmlformats.org/officeDocument/2006/relationships/slideLayout" Target="../slideLayouts/slideLayout2074.xml"/><Relationship Id="rId23" Type="http://schemas.openxmlformats.org/officeDocument/2006/relationships/slideLayout" Target="../slideLayouts/slideLayout1838.xml"/><Relationship Id="rId119" Type="http://schemas.openxmlformats.org/officeDocument/2006/relationships/slideLayout" Target="../slideLayouts/slideLayout1934.xml"/><Relationship Id="rId270" Type="http://schemas.openxmlformats.org/officeDocument/2006/relationships/slideLayout" Target="../slideLayouts/slideLayout2085.xml"/><Relationship Id="rId44" Type="http://schemas.openxmlformats.org/officeDocument/2006/relationships/slideLayout" Target="../slideLayouts/slideLayout1859.xml"/><Relationship Id="rId65" Type="http://schemas.openxmlformats.org/officeDocument/2006/relationships/slideLayout" Target="../slideLayouts/slideLayout1880.xml"/><Relationship Id="rId86" Type="http://schemas.openxmlformats.org/officeDocument/2006/relationships/slideLayout" Target="../slideLayouts/slideLayout1901.xml"/><Relationship Id="rId130" Type="http://schemas.openxmlformats.org/officeDocument/2006/relationships/slideLayout" Target="../slideLayouts/slideLayout1945.xml"/><Relationship Id="rId151" Type="http://schemas.openxmlformats.org/officeDocument/2006/relationships/slideLayout" Target="../slideLayouts/slideLayout1966.xml"/><Relationship Id="rId172" Type="http://schemas.openxmlformats.org/officeDocument/2006/relationships/slideLayout" Target="../slideLayouts/slideLayout1987.xml"/><Relationship Id="rId193" Type="http://schemas.openxmlformats.org/officeDocument/2006/relationships/slideLayout" Target="../slideLayouts/slideLayout2008.xml"/><Relationship Id="rId207" Type="http://schemas.openxmlformats.org/officeDocument/2006/relationships/slideLayout" Target="../slideLayouts/slideLayout2022.xml"/><Relationship Id="rId228" Type="http://schemas.openxmlformats.org/officeDocument/2006/relationships/slideLayout" Target="../slideLayouts/slideLayout2043.xml"/><Relationship Id="rId249" Type="http://schemas.openxmlformats.org/officeDocument/2006/relationships/slideLayout" Target="../slideLayouts/slideLayout2064.xml"/><Relationship Id="rId13" Type="http://schemas.openxmlformats.org/officeDocument/2006/relationships/slideLayout" Target="../slideLayouts/slideLayout1828.xml"/><Relationship Id="rId109" Type="http://schemas.openxmlformats.org/officeDocument/2006/relationships/slideLayout" Target="../slideLayouts/slideLayout1924.xml"/><Relationship Id="rId260" Type="http://schemas.openxmlformats.org/officeDocument/2006/relationships/slideLayout" Target="../slideLayouts/slideLayout2075.xml"/><Relationship Id="rId281" Type="http://schemas.openxmlformats.org/officeDocument/2006/relationships/slideLayout" Target="../slideLayouts/slideLayout2096.xml"/><Relationship Id="rId34" Type="http://schemas.openxmlformats.org/officeDocument/2006/relationships/slideLayout" Target="../slideLayouts/slideLayout1849.xml"/><Relationship Id="rId55" Type="http://schemas.openxmlformats.org/officeDocument/2006/relationships/slideLayout" Target="../slideLayouts/slideLayout1870.xml"/><Relationship Id="rId76" Type="http://schemas.openxmlformats.org/officeDocument/2006/relationships/slideLayout" Target="../slideLayouts/slideLayout1891.xml"/><Relationship Id="rId97" Type="http://schemas.openxmlformats.org/officeDocument/2006/relationships/slideLayout" Target="../slideLayouts/slideLayout1912.xml"/><Relationship Id="rId120" Type="http://schemas.openxmlformats.org/officeDocument/2006/relationships/slideLayout" Target="../slideLayouts/slideLayout1935.xml"/><Relationship Id="rId141" Type="http://schemas.openxmlformats.org/officeDocument/2006/relationships/slideLayout" Target="../slideLayouts/slideLayout1956.xml"/><Relationship Id="rId7" Type="http://schemas.openxmlformats.org/officeDocument/2006/relationships/slideLayout" Target="../slideLayouts/slideLayout1822.xml"/><Relationship Id="rId162" Type="http://schemas.openxmlformats.org/officeDocument/2006/relationships/slideLayout" Target="../slideLayouts/slideLayout1977.xml"/><Relationship Id="rId183" Type="http://schemas.openxmlformats.org/officeDocument/2006/relationships/slideLayout" Target="../slideLayouts/slideLayout1998.xml"/><Relationship Id="rId218" Type="http://schemas.openxmlformats.org/officeDocument/2006/relationships/slideLayout" Target="../slideLayouts/slideLayout2033.xml"/><Relationship Id="rId239" Type="http://schemas.openxmlformats.org/officeDocument/2006/relationships/slideLayout" Target="../slideLayouts/slideLayout2054.xml"/><Relationship Id="rId250" Type="http://schemas.openxmlformats.org/officeDocument/2006/relationships/slideLayout" Target="../slideLayouts/slideLayout2065.xml"/><Relationship Id="rId271" Type="http://schemas.openxmlformats.org/officeDocument/2006/relationships/slideLayout" Target="../slideLayouts/slideLayout2086.xml"/><Relationship Id="rId24" Type="http://schemas.openxmlformats.org/officeDocument/2006/relationships/slideLayout" Target="../slideLayouts/slideLayout1839.xml"/><Relationship Id="rId45" Type="http://schemas.openxmlformats.org/officeDocument/2006/relationships/slideLayout" Target="../slideLayouts/slideLayout1860.xml"/><Relationship Id="rId66" Type="http://schemas.openxmlformats.org/officeDocument/2006/relationships/slideLayout" Target="../slideLayouts/slideLayout1881.xml"/><Relationship Id="rId87" Type="http://schemas.openxmlformats.org/officeDocument/2006/relationships/slideLayout" Target="../slideLayouts/slideLayout1902.xml"/><Relationship Id="rId110" Type="http://schemas.openxmlformats.org/officeDocument/2006/relationships/slideLayout" Target="../slideLayouts/slideLayout1925.xml"/><Relationship Id="rId131" Type="http://schemas.openxmlformats.org/officeDocument/2006/relationships/slideLayout" Target="../slideLayouts/slideLayout1946.xml"/><Relationship Id="rId152" Type="http://schemas.openxmlformats.org/officeDocument/2006/relationships/slideLayout" Target="../slideLayouts/slideLayout1967.xml"/><Relationship Id="rId173" Type="http://schemas.openxmlformats.org/officeDocument/2006/relationships/slideLayout" Target="../slideLayouts/slideLayout1988.xml"/><Relationship Id="rId194" Type="http://schemas.openxmlformats.org/officeDocument/2006/relationships/slideLayout" Target="../slideLayouts/slideLayout2009.xml"/><Relationship Id="rId208" Type="http://schemas.openxmlformats.org/officeDocument/2006/relationships/slideLayout" Target="../slideLayouts/slideLayout2023.xml"/><Relationship Id="rId229" Type="http://schemas.openxmlformats.org/officeDocument/2006/relationships/slideLayout" Target="../slideLayouts/slideLayout2044.xml"/><Relationship Id="rId240" Type="http://schemas.openxmlformats.org/officeDocument/2006/relationships/slideLayout" Target="../slideLayouts/slideLayout2055.xml"/><Relationship Id="rId261" Type="http://schemas.openxmlformats.org/officeDocument/2006/relationships/slideLayout" Target="../slideLayouts/slideLayout2076.xml"/><Relationship Id="rId14" Type="http://schemas.openxmlformats.org/officeDocument/2006/relationships/slideLayout" Target="../slideLayouts/slideLayout1829.xml"/><Relationship Id="rId35" Type="http://schemas.openxmlformats.org/officeDocument/2006/relationships/slideLayout" Target="../slideLayouts/slideLayout1850.xml"/><Relationship Id="rId56" Type="http://schemas.openxmlformats.org/officeDocument/2006/relationships/slideLayout" Target="../slideLayouts/slideLayout1871.xml"/><Relationship Id="rId77" Type="http://schemas.openxmlformats.org/officeDocument/2006/relationships/slideLayout" Target="../slideLayouts/slideLayout1892.xml"/><Relationship Id="rId100" Type="http://schemas.openxmlformats.org/officeDocument/2006/relationships/slideLayout" Target="../slideLayouts/slideLayout1915.xml"/><Relationship Id="rId282" Type="http://schemas.openxmlformats.org/officeDocument/2006/relationships/slideLayout" Target="../slideLayouts/slideLayout2097.xml"/><Relationship Id="rId8" Type="http://schemas.openxmlformats.org/officeDocument/2006/relationships/slideLayout" Target="../slideLayouts/slideLayout1823.xml"/><Relationship Id="rId98" Type="http://schemas.openxmlformats.org/officeDocument/2006/relationships/slideLayout" Target="../slideLayouts/slideLayout1913.xml"/><Relationship Id="rId121" Type="http://schemas.openxmlformats.org/officeDocument/2006/relationships/slideLayout" Target="../slideLayouts/slideLayout1936.xml"/><Relationship Id="rId142" Type="http://schemas.openxmlformats.org/officeDocument/2006/relationships/slideLayout" Target="../slideLayouts/slideLayout1957.xml"/><Relationship Id="rId163" Type="http://schemas.openxmlformats.org/officeDocument/2006/relationships/slideLayout" Target="../slideLayouts/slideLayout1978.xml"/><Relationship Id="rId184" Type="http://schemas.openxmlformats.org/officeDocument/2006/relationships/slideLayout" Target="../slideLayouts/slideLayout1999.xml"/><Relationship Id="rId219" Type="http://schemas.openxmlformats.org/officeDocument/2006/relationships/slideLayout" Target="../slideLayouts/slideLayout2034.xml"/><Relationship Id="rId230" Type="http://schemas.openxmlformats.org/officeDocument/2006/relationships/slideLayout" Target="../slideLayouts/slideLayout2045.xml"/><Relationship Id="rId251" Type="http://schemas.openxmlformats.org/officeDocument/2006/relationships/slideLayout" Target="../slideLayouts/slideLayout2066.xml"/><Relationship Id="rId25" Type="http://schemas.openxmlformats.org/officeDocument/2006/relationships/slideLayout" Target="../slideLayouts/slideLayout1840.xml"/><Relationship Id="rId46" Type="http://schemas.openxmlformats.org/officeDocument/2006/relationships/slideLayout" Target="../slideLayouts/slideLayout1861.xml"/><Relationship Id="rId67" Type="http://schemas.openxmlformats.org/officeDocument/2006/relationships/slideLayout" Target="../slideLayouts/slideLayout1882.xml"/><Relationship Id="rId272" Type="http://schemas.openxmlformats.org/officeDocument/2006/relationships/slideLayout" Target="../slideLayouts/slideLayout2087.xml"/><Relationship Id="rId88" Type="http://schemas.openxmlformats.org/officeDocument/2006/relationships/slideLayout" Target="../slideLayouts/slideLayout1903.xml"/><Relationship Id="rId111" Type="http://schemas.openxmlformats.org/officeDocument/2006/relationships/slideLayout" Target="../slideLayouts/slideLayout1926.xml"/><Relationship Id="rId132" Type="http://schemas.openxmlformats.org/officeDocument/2006/relationships/slideLayout" Target="../slideLayouts/slideLayout1947.xml"/><Relationship Id="rId153" Type="http://schemas.openxmlformats.org/officeDocument/2006/relationships/slideLayout" Target="../slideLayouts/slideLayout1968.xml"/><Relationship Id="rId174" Type="http://schemas.openxmlformats.org/officeDocument/2006/relationships/slideLayout" Target="../slideLayouts/slideLayout1989.xml"/><Relationship Id="rId195" Type="http://schemas.openxmlformats.org/officeDocument/2006/relationships/slideLayout" Target="../slideLayouts/slideLayout2010.xml"/><Relationship Id="rId209" Type="http://schemas.openxmlformats.org/officeDocument/2006/relationships/slideLayout" Target="../slideLayouts/slideLayout2024.xml"/><Relationship Id="rId220" Type="http://schemas.openxmlformats.org/officeDocument/2006/relationships/slideLayout" Target="../slideLayouts/slideLayout2035.xml"/><Relationship Id="rId241" Type="http://schemas.openxmlformats.org/officeDocument/2006/relationships/slideLayout" Target="../slideLayouts/slideLayout2056.xml"/><Relationship Id="rId15" Type="http://schemas.openxmlformats.org/officeDocument/2006/relationships/slideLayout" Target="../slideLayouts/slideLayout1830.xml"/><Relationship Id="rId36" Type="http://schemas.openxmlformats.org/officeDocument/2006/relationships/slideLayout" Target="../slideLayouts/slideLayout1851.xml"/><Relationship Id="rId57" Type="http://schemas.openxmlformats.org/officeDocument/2006/relationships/slideLayout" Target="../slideLayouts/slideLayout1872.xml"/><Relationship Id="rId262" Type="http://schemas.openxmlformats.org/officeDocument/2006/relationships/slideLayout" Target="../slideLayouts/slideLayout2077.xml"/><Relationship Id="rId283" Type="http://schemas.openxmlformats.org/officeDocument/2006/relationships/slideLayout" Target="../slideLayouts/slideLayout2098.xml"/><Relationship Id="rId78" Type="http://schemas.openxmlformats.org/officeDocument/2006/relationships/slideLayout" Target="../slideLayouts/slideLayout1893.xml"/><Relationship Id="rId99" Type="http://schemas.openxmlformats.org/officeDocument/2006/relationships/slideLayout" Target="../slideLayouts/slideLayout1914.xml"/><Relationship Id="rId101" Type="http://schemas.openxmlformats.org/officeDocument/2006/relationships/slideLayout" Target="../slideLayouts/slideLayout1916.xml"/><Relationship Id="rId122" Type="http://schemas.openxmlformats.org/officeDocument/2006/relationships/slideLayout" Target="../slideLayouts/slideLayout1937.xml"/><Relationship Id="rId143" Type="http://schemas.openxmlformats.org/officeDocument/2006/relationships/slideLayout" Target="../slideLayouts/slideLayout1958.xml"/><Relationship Id="rId164" Type="http://schemas.openxmlformats.org/officeDocument/2006/relationships/slideLayout" Target="../slideLayouts/slideLayout1979.xml"/><Relationship Id="rId185" Type="http://schemas.openxmlformats.org/officeDocument/2006/relationships/slideLayout" Target="../slideLayouts/slideLayout2000.xml"/><Relationship Id="rId9" Type="http://schemas.openxmlformats.org/officeDocument/2006/relationships/slideLayout" Target="../slideLayouts/slideLayout1824.xml"/><Relationship Id="rId210" Type="http://schemas.openxmlformats.org/officeDocument/2006/relationships/slideLayout" Target="../slideLayouts/slideLayout2025.xml"/><Relationship Id="rId26" Type="http://schemas.openxmlformats.org/officeDocument/2006/relationships/slideLayout" Target="../slideLayouts/slideLayout1841.xml"/><Relationship Id="rId231" Type="http://schemas.openxmlformats.org/officeDocument/2006/relationships/slideLayout" Target="../slideLayouts/slideLayout2046.xml"/><Relationship Id="rId252" Type="http://schemas.openxmlformats.org/officeDocument/2006/relationships/slideLayout" Target="../slideLayouts/slideLayout2067.xml"/><Relationship Id="rId273" Type="http://schemas.openxmlformats.org/officeDocument/2006/relationships/slideLayout" Target="../slideLayouts/slideLayout2088.xml"/><Relationship Id="rId47" Type="http://schemas.openxmlformats.org/officeDocument/2006/relationships/slideLayout" Target="../slideLayouts/slideLayout1862.xml"/><Relationship Id="rId68" Type="http://schemas.openxmlformats.org/officeDocument/2006/relationships/slideLayout" Target="../slideLayouts/slideLayout1883.xml"/><Relationship Id="rId89" Type="http://schemas.openxmlformats.org/officeDocument/2006/relationships/slideLayout" Target="../slideLayouts/slideLayout1904.xml"/><Relationship Id="rId112" Type="http://schemas.openxmlformats.org/officeDocument/2006/relationships/slideLayout" Target="../slideLayouts/slideLayout1927.xml"/><Relationship Id="rId133" Type="http://schemas.openxmlformats.org/officeDocument/2006/relationships/slideLayout" Target="../slideLayouts/slideLayout1948.xml"/><Relationship Id="rId154" Type="http://schemas.openxmlformats.org/officeDocument/2006/relationships/slideLayout" Target="../slideLayouts/slideLayout1969.xml"/><Relationship Id="rId175" Type="http://schemas.openxmlformats.org/officeDocument/2006/relationships/slideLayout" Target="../slideLayouts/slideLayout1990.xml"/><Relationship Id="rId196" Type="http://schemas.openxmlformats.org/officeDocument/2006/relationships/slideLayout" Target="../slideLayouts/slideLayout2011.xml"/><Relationship Id="rId200" Type="http://schemas.openxmlformats.org/officeDocument/2006/relationships/slideLayout" Target="../slideLayouts/slideLayout2015.xml"/><Relationship Id="rId16" Type="http://schemas.openxmlformats.org/officeDocument/2006/relationships/slideLayout" Target="../slideLayouts/slideLayout1831.xml"/><Relationship Id="rId221" Type="http://schemas.openxmlformats.org/officeDocument/2006/relationships/slideLayout" Target="../slideLayouts/slideLayout2036.xml"/><Relationship Id="rId242" Type="http://schemas.openxmlformats.org/officeDocument/2006/relationships/slideLayout" Target="../slideLayouts/slideLayout2057.xml"/><Relationship Id="rId263" Type="http://schemas.openxmlformats.org/officeDocument/2006/relationships/slideLayout" Target="../slideLayouts/slideLayout2078.xml"/><Relationship Id="rId284" Type="http://schemas.openxmlformats.org/officeDocument/2006/relationships/theme" Target="../theme/theme15.xml"/><Relationship Id="rId37" Type="http://schemas.openxmlformats.org/officeDocument/2006/relationships/slideLayout" Target="../slideLayouts/slideLayout1852.xml"/><Relationship Id="rId58" Type="http://schemas.openxmlformats.org/officeDocument/2006/relationships/slideLayout" Target="../slideLayouts/slideLayout1873.xml"/><Relationship Id="rId79" Type="http://schemas.openxmlformats.org/officeDocument/2006/relationships/slideLayout" Target="../slideLayouts/slideLayout1894.xml"/><Relationship Id="rId102" Type="http://schemas.openxmlformats.org/officeDocument/2006/relationships/slideLayout" Target="../slideLayouts/slideLayout1917.xml"/><Relationship Id="rId123" Type="http://schemas.openxmlformats.org/officeDocument/2006/relationships/slideLayout" Target="../slideLayouts/slideLayout1938.xml"/><Relationship Id="rId144" Type="http://schemas.openxmlformats.org/officeDocument/2006/relationships/slideLayout" Target="../slideLayouts/slideLayout1959.xml"/><Relationship Id="rId90" Type="http://schemas.openxmlformats.org/officeDocument/2006/relationships/slideLayout" Target="../slideLayouts/slideLayout1905.xml"/><Relationship Id="rId165" Type="http://schemas.openxmlformats.org/officeDocument/2006/relationships/slideLayout" Target="../slideLayouts/slideLayout1980.xml"/><Relationship Id="rId186" Type="http://schemas.openxmlformats.org/officeDocument/2006/relationships/slideLayout" Target="../slideLayouts/slideLayout2001.xml"/><Relationship Id="rId211" Type="http://schemas.openxmlformats.org/officeDocument/2006/relationships/slideLayout" Target="../slideLayouts/slideLayout2026.xml"/><Relationship Id="rId232" Type="http://schemas.openxmlformats.org/officeDocument/2006/relationships/slideLayout" Target="../slideLayouts/slideLayout2047.xml"/><Relationship Id="rId253" Type="http://schemas.openxmlformats.org/officeDocument/2006/relationships/slideLayout" Target="../slideLayouts/slideLayout2068.xml"/><Relationship Id="rId274" Type="http://schemas.openxmlformats.org/officeDocument/2006/relationships/slideLayout" Target="../slideLayouts/slideLayout2089.xml"/><Relationship Id="rId27" Type="http://schemas.openxmlformats.org/officeDocument/2006/relationships/slideLayout" Target="../slideLayouts/slideLayout1842.xml"/><Relationship Id="rId48" Type="http://schemas.openxmlformats.org/officeDocument/2006/relationships/slideLayout" Target="../slideLayouts/slideLayout1863.xml"/><Relationship Id="rId69" Type="http://schemas.openxmlformats.org/officeDocument/2006/relationships/slideLayout" Target="../slideLayouts/slideLayout1884.xml"/><Relationship Id="rId113" Type="http://schemas.openxmlformats.org/officeDocument/2006/relationships/slideLayout" Target="../slideLayouts/slideLayout1928.xml"/><Relationship Id="rId134" Type="http://schemas.openxmlformats.org/officeDocument/2006/relationships/slideLayout" Target="../slideLayouts/slideLayout1949.xml"/><Relationship Id="rId80" Type="http://schemas.openxmlformats.org/officeDocument/2006/relationships/slideLayout" Target="../slideLayouts/slideLayout1895.xml"/><Relationship Id="rId155" Type="http://schemas.openxmlformats.org/officeDocument/2006/relationships/slideLayout" Target="../slideLayouts/slideLayout1970.xml"/><Relationship Id="rId176" Type="http://schemas.openxmlformats.org/officeDocument/2006/relationships/slideLayout" Target="../slideLayouts/slideLayout1991.xml"/><Relationship Id="rId197" Type="http://schemas.openxmlformats.org/officeDocument/2006/relationships/slideLayout" Target="../slideLayouts/slideLayout2012.xml"/><Relationship Id="rId201" Type="http://schemas.openxmlformats.org/officeDocument/2006/relationships/slideLayout" Target="../slideLayouts/slideLayout2016.xml"/><Relationship Id="rId222" Type="http://schemas.openxmlformats.org/officeDocument/2006/relationships/slideLayout" Target="../slideLayouts/slideLayout2037.xml"/><Relationship Id="rId243" Type="http://schemas.openxmlformats.org/officeDocument/2006/relationships/slideLayout" Target="../slideLayouts/slideLayout2058.xml"/><Relationship Id="rId264" Type="http://schemas.openxmlformats.org/officeDocument/2006/relationships/slideLayout" Target="../slideLayouts/slideLayout2079.xml"/><Relationship Id="rId17" Type="http://schemas.openxmlformats.org/officeDocument/2006/relationships/slideLayout" Target="../slideLayouts/slideLayout1832.xml"/><Relationship Id="rId38" Type="http://schemas.openxmlformats.org/officeDocument/2006/relationships/slideLayout" Target="../slideLayouts/slideLayout1853.xml"/><Relationship Id="rId59" Type="http://schemas.openxmlformats.org/officeDocument/2006/relationships/slideLayout" Target="../slideLayouts/slideLayout1874.xml"/><Relationship Id="rId103" Type="http://schemas.openxmlformats.org/officeDocument/2006/relationships/slideLayout" Target="../slideLayouts/slideLayout1918.xml"/><Relationship Id="rId124" Type="http://schemas.openxmlformats.org/officeDocument/2006/relationships/slideLayout" Target="../slideLayouts/slideLayout1939.xml"/><Relationship Id="rId70" Type="http://schemas.openxmlformats.org/officeDocument/2006/relationships/slideLayout" Target="../slideLayouts/slideLayout1885.xml"/><Relationship Id="rId91" Type="http://schemas.openxmlformats.org/officeDocument/2006/relationships/slideLayout" Target="../slideLayouts/slideLayout1906.xml"/><Relationship Id="rId145" Type="http://schemas.openxmlformats.org/officeDocument/2006/relationships/slideLayout" Target="../slideLayouts/slideLayout1960.xml"/><Relationship Id="rId166" Type="http://schemas.openxmlformats.org/officeDocument/2006/relationships/slideLayout" Target="../slideLayouts/slideLayout1981.xml"/><Relationship Id="rId187" Type="http://schemas.openxmlformats.org/officeDocument/2006/relationships/slideLayout" Target="../slideLayouts/slideLayout2002.xml"/><Relationship Id="rId1" Type="http://schemas.openxmlformats.org/officeDocument/2006/relationships/slideLayout" Target="../slideLayouts/slideLayout1816.xml"/><Relationship Id="rId212" Type="http://schemas.openxmlformats.org/officeDocument/2006/relationships/slideLayout" Target="../slideLayouts/slideLayout2027.xml"/><Relationship Id="rId233" Type="http://schemas.openxmlformats.org/officeDocument/2006/relationships/slideLayout" Target="../slideLayouts/slideLayout2048.xml"/><Relationship Id="rId254" Type="http://schemas.openxmlformats.org/officeDocument/2006/relationships/slideLayout" Target="../slideLayouts/slideLayout2069.xml"/><Relationship Id="rId28" Type="http://schemas.openxmlformats.org/officeDocument/2006/relationships/slideLayout" Target="../slideLayouts/slideLayout1843.xml"/><Relationship Id="rId49" Type="http://schemas.openxmlformats.org/officeDocument/2006/relationships/slideLayout" Target="../slideLayouts/slideLayout1864.xml"/><Relationship Id="rId114" Type="http://schemas.openxmlformats.org/officeDocument/2006/relationships/slideLayout" Target="../slideLayouts/slideLayout1929.xml"/><Relationship Id="rId275" Type="http://schemas.openxmlformats.org/officeDocument/2006/relationships/slideLayout" Target="../slideLayouts/slideLayout2090.xml"/><Relationship Id="rId60" Type="http://schemas.openxmlformats.org/officeDocument/2006/relationships/slideLayout" Target="../slideLayouts/slideLayout1875.xml"/><Relationship Id="rId81" Type="http://schemas.openxmlformats.org/officeDocument/2006/relationships/slideLayout" Target="../slideLayouts/slideLayout1896.xml"/><Relationship Id="rId135" Type="http://schemas.openxmlformats.org/officeDocument/2006/relationships/slideLayout" Target="../slideLayouts/slideLayout1950.xml"/><Relationship Id="rId156" Type="http://schemas.openxmlformats.org/officeDocument/2006/relationships/slideLayout" Target="../slideLayouts/slideLayout1971.xml"/><Relationship Id="rId177" Type="http://schemas.openxmlformats.org/officeDocument/2006/relationships/slideLayout" Target="../slideLayouts/slideLayout1992.xml"/><Relationship Id="rId198" Type="http://schemas.openxmlformats.org/officeDocument/2006/relationships/slideLayout" Target="../slideLayouts/slideLayout2013.xml"/><Relationship Id="rId202" Type="http://schemas.openxmlformats.org/officeDocument/2006/relationships/slideLayout" Target="../slideLayouts/slideLayout2017.xml"/><Relationship Id="rId223" Type="http://schemas.openxmlformats.org/officeDocument/2006/relationships/slideLayout" Target="../slideLayouts/slideLayout2038.xml"/><Relationship Id="rId244" Type="http://schemas.openxmlformats.org/officeDocument/2006/relationships/slideLayout" Target="../slideLayouts/slideLayout2059.xml"/><Relationship Id="rId18" Type="http://schemas.openxmlformats.org/officeDocument/2006/relationships/slideLayout" Target="../slideLayouts/slideLayout1833.xml"/><Relationship Id="rId39" Type="http://schemas.openxmlformats.org/officeDocument/2006/relationships/slideLayout" Target="../slideLayouts/slideLayout1854.xml"/><Relationship Id="rId265" Type="http://schemas.openxmlformats.org/officeDocument/2006/relationships/slideLayout" Target="../slideLayouts/slideLayout2080.xml"/><Relationship Id="rId50" Type="http://schemas.openxmlformats.org/officeDocument/2006/relationships/slideLayout" Target="../slideLayouts/slideLayout1865.xml"/><Relationship Id="rId104" Type="http://schemas.openxmlformats.org/officeDocument/2006/relationships/slideLayout" Target="../slideLayouts/slideLayout1919.xml"/><Relationship Id="rId125" Type="http://schemas.openxmlformats.org/officeDocument/2006/relationships/slideLayout" Target="../slideLayouts/slideLayout1940.xml"/><Relationship Id="rId146" Type="http://schemas.openxmlformats.org/officeDocument/2006/relationships/slideLayout" Target="../slideLayouts/slideLayout1961.xml"/><Relationship Id="rId167" Type="http://schemas.openxmlformats.org/officeDocument/2006/relationships/slideLayout" Target="../slideLayouts/slideLayout1982.xml"/><Relationship Id="rId188" Type="http://schemas.openxmlformats.org/officeDocument/2006/relationships/slideLayout" Target="../slideLayouts/slideLayout2003.xml"/><Relationship Id="rId71" Type="http://schemas.openxmlformats.org/officeDocument/2006/relationships/slideLayout" Target="../slideLayouts/slideLayout1886.xml"/><Relationship Id="rId92" Type="http://schemas.openxmlformats.org/officeDocument/2006/relationships/slideLayout" Target="../slideLayouts/slideLayout1907.xml"/><Relationship Id="rId213" Type="http://schemas.openxmlformats.org/officeDocument/2006/relationships/slideLayout" Target="../slideLayouts/slideLayout2028.xml"/><Relationship Id="rId234" Type="http://schemas.openxmlformats.org/officeDocument/2006/relationships/slideLayout" Target="../slideLayouts/slideLayout2049.xml"/><Relationship Id="rId2" Type="http://schemas.openxmlformats.org/officeDocument/2006/relationships/slideLayout" Target="../slideLayouts/slideLayout1817.xml"/><Relationship Id="rId29" Type="http://schemas.openxmlformats.org/officeDocument/2006/relationships/slideLayout" Target="../slideLayouts/slideLayout1844.xml"/><Relationship Id="rId255" Type="http://schemas.openxmlformats.org/officeDocument/2006/relationships/slideLayout" Target="../slideLayouts/slideLayout2070.xml"/><Relationship Id="rId276" Type="http://schemas.openxmlformats.org/officeDocument/2006/relationships/slideLayout" Target="../slideLayouts/slideLayout2091.xml"/><Relationship Id="rId40" Type="http://schemas.openxmlformats.org/officeDocument/2006/relationships/slideLayout" Target="../slideLayouts/slideLayout1855.xml"/><Relationship Id="rId115" Type="http://schemas.openxmlformats.org/officeDocument/2006/relationships/slideLayout" Target="../slideLayouts/slideLayout1930.xml"/><Relationship Id="rId136" Type="http://schemas.openxmlformats.org/officeDocument/2006/relationships/slideLayout" Target="../slideLayouts/slideLayout1951.xml"/><Relationship Id="rId157" Type="http://schemas.openxmlformats.org/officeDocument/2006/relationships/slideLayout" Target="../slideLayouts/slideLayout1972.xml"/><Relationship Id="rId178" Type="http://schemas.openxmlformats.org/officeDocument/2006/relationships/slideLayout" Target="../slideLayouts/slideLayout1993.xml"/><Relationship Id="rId61" Type="http://schemas.openxmlformats.org/officeDocument/2006/relationships/slideLayout" Target="../slideLayouts/slideLayout1876.xml"/><Relationship Id="rId82" Type="http://schemas.openxmlformats.org/officeDocument/2006/relationships/slideLayout" Target="../slideLayouts/slideLayout1897.xml"/><Relationship Id="rId199" Type="http://schemas.openxmlformats.org/officeDocument/2006/relationships/slideLayout" Target="../slideLayouts/slideLayout2014.xml"/><Relationship Id="rId203" Type="http://schemas.openxmlformats.org/officeDocument/2006/relationships/slideLayout" Target="../slideLayouts/slideLayout2018.xml"/><Relationship Id="rId19" Type="http://schemas.openxmlformats.org/officeDocument/2006/relationships/slideLayout" Target="../slideLayouts/slideLayout1834.xml"/><Relationship Id="rId224" Type="http://schemas.openxmlformats.org/officeDocument/2006/relationships/slideLayout" Target="../slideLayouts/slideLayout2039.xml"/><Relationship Id="rId245" Type="http://schemas.openxmlformats.org/officeDocument/2006/relationships/slideLayout" Target="../slideLayouts/slideLayout2060.xml"/><Relationship Id="rId266" Type="http://schemas.openxmlformats.org/officeDocument/2006/relationships/slideLayout" Target="../slideLayouts/slideLayout2081.xml"/><Relationship Id="rId30" Type="http://schemas.openxmlformats.org/officeDocument/2006/relationships/slideLayout" Target="../slideLayouts/slideLayout1845.xml"/><Relationship Id="rId105" Type="http://schemas.openxmlformats.org/officeDocument/2006/relationships/slideLayout" Target="../slideLayouts/slideLayout1920.xml"/><Relationship Id="rId126" Type="http://schemas.openxmlformats.org/officeDocument/2006/relationships/slideLayout" Target="../slideLayouts/slideLayout1941.xml"/><Relationship Id="rId147" Type="http://schemas.openxmlformats.org/officeDocument/2006/relationships/slideLayout" Target="../slideLayouts/slideLayout1962.xml"/><Relationship Id="rId168" Type="http://schemas.openxmlformats.org/officeDocument/2006/relationships/slideLayout" Target="../slideLayouts/slideLayout1983.xml"/><Relationship Id="rId51" Type="http://schemas.openxmlformats.org/officeDocument/2006/relationships/slideLayout" Target="../slideLayouts/slideLayout1866.xml"/><Relationship Id="rId72" Type="http://schemas.openxmlformats.org/officeDocument/2006/relationships/slideLayout" Target="../slideLayouts/slideLayout1887.xml"/><Relationship Id="rId93" Type="http://schemas.openxmlformats.org/officeDocument/2006/relationships/slideLayout" Target="../slideLayouts/slideLayout1908.xml"/><Relationship Id="rId189" Type="http://schemas.openxmlformats.org/officeDocument/2006/relationships/slideLayout" Target="../slideLayouts/slideLayout2004.xml"/><Relationship Id="rId3" Type="http://schemas.openxmlformats.org/officeDocument/2006/relationships/slideLayout" Target="../slideLayouts/slideLayout1818.xml"/><Relationship Id="rId214" Type="http://schemas.openxmlformats.org/officeDocument/2006/relationships/slideLayout" Target="../slideLayouts/slideLayout2029.xml"/><Relationship Id="rId235" Type="http://schemas.openxmlformats.org/officeDocument/2006/relationships/slideLayout" Target="../slideLayouts/slideLayout2050.xml"/><Relationship Id="rId256" Type="http://schemas.openxmlformats.org/officeDocument/2006/relationships/slideLayout" Target="../slideLayouts/slideLayout2071.xml"/><Relationship Id="rId277" Type="http://schemas.openxmlformats.org/officeDocument/2006/relationships/slideLayout" Target="../slideLayouts/slideLayout2092.xml"/><Relationship Id="rId116" Type="http://schemas.openxmlformats.org/officeDocument/2006/relationships/slideLayout" Target="../slideLayouts/slideLayout1931.xml"/><Relationship Id="rId137" Type="http://schemas.openxmlformats.org/officeDocument/2006/relationships/slideLayout" Target="../slideLayouts/slideLayout1952.xml"/><Relationship Id="rId158" Type="http://schemas.openxmlformats.org/officeDocument/2006/relationships/slideLayout" Target="../slideLayouts/slideLayout1973.xml"/><Relationship Id="rId20" Type="http://schemas.openxmlformats.org/officeDocument/2006/relationships/slideLayout" Target="../slideLayouts/slideLayout1835.xml"/><Relationship Id="rId41" Type="http://schemas.openxmlformats.org/officeDocument/2006/relationships/slideLayout" Target="../slideLayouts/slideLayout1856.xml"/><Relationship Id="rId62" Type="http://schemas.openxmlformats.org/officeDocument/2006/relationships/slideLayout" Target="../slideLayouts/slideLayout1877.xml"/><Relationship Id="rId83" Type="http://schemas.openxmlformats.org/officeDocument/2006/relationships/slideLayout" Target="../slideLayouts/slideLayout1898.xml"/><Relationship Id="rId179" Type="http://schemas.openxmlformats.org/officeDocument/2006/relationships/slideLayout" Target="../slideLayouts/slideLayout1994.xml"/><Relationship Id="rId190" Type="http://schemas.openxmlformats.org/officeDocument/2006/relationships/slideLayout" Target="../slideLayouts/slideLayout2005.xml"/><Relationship Id="rId204" Type="http://schemas.openxmlformats.org/officeDocument/2006/relationships/slideLayout" Target="../slideLayouts/slideLayout2019.xml"/><Relationship Id="rId225" Type="http://schemas.openxmlformats.org/officeDocument/2006/relationships/slideLayout" Target="../slideLayouts/slideLayout2040.xml"/><Relationship Id="rId246" Type="http://schemas.openxmlformats.org/officeDocument/2006/relationships/slideLayout" Target="../slideLayouts/slideLayout2061.xml"/><Relationship Id="rId267" Type="http://schemas.openxmlformats.org/officeDocument/2006/relationships/slideLayout" Target="../slideLayouts/slideLayout2082.xml"/><Relationship Id="rId106" Type="http://schemas.openxmlformats.org/officeDocument/2006/relationships/slideLayout" Target="../slideLayouts/slideLayout1921.xml"/><Relationship Id="rId127" Type="http://schemas.openxmlformats.org/officeDocument/2006/relationships/slideLayout" Target="../slideLayouts/slideLayout1942.xml"/><Relationship Id="rId10" Type="http://schemas.openxmlformats.org/officeDocument/2006/relationships/slideLayout" Target="../slideLayouts/slideLayout1825.xml"/><Relationship Id="rId31" Type="http://schemas.openxmlformats.org/officeDocument/2006/relationships/slideLayout" Target="../slideLayouts/slideLayout1846.xml"/><Relationship Id="rId52" Type="http://schemas.openxmlformats.org/officeDocument/2006/relationships/slideLayout" Target="../slideLayouts/slideLayout1867.xml"/><Relationship Id="rId73" Type="http://schemas.openxmlformats.org/officeDocument/2006/relationships/slideLayout" Target="../slideLayouts/slideLayout1888.xml"/><Relationship Id="rId94" Type="http://schemas.openxmlformats.org/officeDocument/2006/relationships/slideLayout" Target="../slideLayouts/slideLayout1909.xml"/><Relationship Id="rId148" Type="http://schemas.openxmlformats.org/officeDocument/2006/relationships/slideLayout" Target="../slideLayouts/slideLayout1963.xml"/><Relationship Id="rId169" Type="http://schemas.openxmlformats.org/officeDocument/2006/relationships/slideLayout" Target="../slideLayouts/slideLayout1984.xml"/><Relationship Id="rId4" Type="http://schemas.openxmlformats.org/officeDocument/2006/relationships/slideLayout" Target="../slideLayouts/slideLayout1819.xml"/><Relationship Id="rId180" Type="http://schemas.openxmlformats.org/officeDocument/2006/relationships/slideLayout" Target="../slideLayouts/slideLayout1995.xml"/><Relationship Id="rId215" Type="http://schemas.openxmlformats.org/officeDocument/2006/relationships/slideLayout" Target="../slideLayouts/slideLayout2030.xml"/><Relationship Id="rId236" Type="http://schemas.openxmlformats.org/officeDocument/2006/relationships/slideLayout" Target="../slideLayouts/slideLayout2051.xml"/><Relationship Id="rId257" Type="http://schemas.openxmlformats.org/officeDocument/2006/relationships/slideLayout" Target="../slideLayouts/slideLayout2072.xml"/><Relationship Id="rId278" Type="http://schemas.openxmlformats.org/officeDocument/2006/relationships/slideLayout" Target="../slideLayouts/slideLayout2093.xml"/><Relationship Id="rId42" Type="http://schemas.openxmlformats.org/officeDocument/2006/relationships/slideLayout" Target="../slideLayouts/slideLayout1857.xml"/><Relationship Id="rId84" Type="http://schemas.openxmlformats.org/officeDocument/2006/relationships/slideLayout" Target="../slideLayouts/slideLayout1899.xml"/><Relationship Id="rId138" Type="http://schemas.openxmlformats.org/officeDocument/2006/relationships/slideLayout" Target="../slideLayouts/slideLayout1953.xml"/><Relationship Id="rId191" Type="http://schemas.openxmlformats.org/officeDocument/2006/relationships/slideLayout" Target="../slideLayouts/slideLayout2006.xml"/><Relationship Id="rId205" Type="http://schemas.openxmlformats.org/officeDocument/2006/relationships/slideLayout" Target="../slideLayouts/slideLayout2020.xml"/><Relationship Id="rId247" Type="http://schemas.openxmlformats.org/officeDocument/2006/relationships/slideLayout" Target="../slideLayouts/slideLayout2062.xml"/><Relationship Id="rId107" Type="http://schemas.openxmlformats.org/officeDocument/2006/relationships/slideLayout" Target="../slideLayouts/slideLayout1922.xml"/><Relationship Id="rId11" Type="http://schemas.openxmlformats.org/officeDocument/2006/relationships/slideLayout" Target="../slideLayouts/slideLayout1826.xml"/><Relationship Id="rId53" Type="http://schemas.openxmlformats.org/officeDocument/2006/relationships/slideLayout" Target="../slideLayouts/slideLayout1868.xml"/><Relationship Id="rId149" Type="http://schemas.openxmlformats.org/officeDocument/2006/relationships/slideLayout" Target="../slideLayouts/slideLayout1964.xml"/><Relationship Id="rId95" Type="http://schemas.openxmlformats.org/officeDocument/2006/relationships/slideLayout" Target="../slideLayouts/slideLayout1910.xml"/><Relationship Id="rId160" Type="http://schemas.openxmlformats.org/officeDocument/2006/relationships/slideLayout" Target="../slideLayouts/slideLayout1975.xml"/><Relationship Id="rId216" Type="http://schemas.openxmlformats.org/officeDocument/2006/relationships/slideLayout" Target="../slideLayouts/slideLayout2031.xml"/><Relationship Id="rId258" Type="http://schemas.openxmlformats.org/officeDocument/2006/relationships/slideLayout" Target="../slideLayouts/slideLayout2073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06.xml"/><Relationship Id="rId13" Type="http://schemas.openxmlformats.org/officeDocument/2006/relationships/slideLayout" Target="../slideLayouts/slideLayout2111.xml"/><Relationship Id="rId18" Type="http://schemas.openxmlformats.org/officeDocument/2006/relationships/slideLayout" Target="../slideLayouts/slideLayout2116.xml"/><Relationship Id="rId26" Type="http://schemas.openxmlformats.org/officeDocument/2006/relationships/slideLayout" Target="../slideLayouts/slideLayout2124.xml"/><Relationship Id="rId3" Type="http://schemas.openxmlformats.org/officeDocument/2006/relationships/slideLayout" Target="../slideLayouts/slideLayout2101.xml"/><Relationship Id="rId21" Type="http://schemas.openxmlformats.org/officeDocument/2006/relationships/slideLayout" Target="../slideLayouts/slideLayout2119.xml"/><Relationship Id="rId7" Type="http://schemas.openxmlformats.org/officeDocument/2006/relationships/slideLayout" Target="../slideLayouts/slideLayout2105.xml"/><Relationship Id="rId12" Type="http://schemas.openxmlformats.org/officeDocument/2006/relationships/slideLayout" Target="../slideLayouts/slideLayout2110.xml"/><Relationship Id="rId17" Type="http://schemas.openxmlformats.org/officeDocument/2006/relationships/slideLayout" Target="../slideLayouts/slideLayout2115.xml"/><Relationship Id="rId25" Type="http://schemas.openxmlformats.org/officeDocument/2006/relationships/slideLayout" Target="../slideLayouts/slideLayout2123.xml"/><Relationship Id="rId2" Type="http://schemas.openxmlformats.org/officeDocument/2006/relationships/slideLayout" Target="../slideLayouts/slideLayout2100.xml"/><Relationship Id="rId16" Type="http://schemas.openxmlformats.org/officeDocument/2006/relationships/slideLayout" Target="../slideLayouts/slideLayout2114.xml"/><Relationship Id="rId20" Type="http://schemas.openxmlformats.org/officeDocument/2006/relationships/slideLayout" Target="../slideLayouts/slideLayout2118.xml"/><Relationship Id="rId1" Type="http://schemas.openxmlformats.org/officeDocument/2006/relationships/slideLayout" Target="../slideLayouts/slideLayout2099.xml"/><Relationship Id="rId6" Type="http://schemas.openxmlformats.org/officeDocument/2006/relationships/slideLayout" Target="../slideLayouts/slideLayout2104.xml"/><Relationship Id="rId11" Type="http://schemas.openxmlformats.org/officeDocument/2006/relationships/slideLayout" Target="../slideLayouts/slideLayout2109.xml"/><Relationship Id="rId24" Type="http://schemas.openxmlformats.org/officeDocument/2006/relationships/slideLayout" Target="../slideLayouts/slideLayout2122.xml"/><Relationship Id="rId5" Type="http://schemas.openxmlformats.org/officeDocument/2006/relationships/slideLayout" Target="../slideLayouts/slideLayout2103.xml"/><Relationship Id="rId15" Type="http://schemas.openxmlformats.org/officeDocument/2006/relationships/slideLayout" Target="../slideLayouts/slideLayout2113.xml"/><Relationship Id="rId23" Type="http://schemas.openxmlformats.org/officeDocument/2006/relationships/slideLayout" Target="../slideLayouts/slideLayout2121.xml"/><Relationship Id="rId10" Type="http://schemas.openxmlformats.org/officeDocument/2006/relationships/slideLayout" Target="../slideLayouts/slideLayout2108.xml"/><Relationship Id="rId19" Type="http://schemas.openxmlformats.org/officeDocument/2006/relationships/slideLayout" Target="../slideLayouts/slideLayout2117.xml"/><Relationship Id="rId4" Type="http://schemas.openxmlformats.org/officeDocument/2006/relationships/slideLayout" Target="../slideLayouts/slideLayout2102.xml"/><Relationship Id="rId9" Type="http://schemas.openxmlformats.org/officeDocument/2006/relationships/slideLayout" Target="../slideLayouts/slideLayout2107.xml"/><Relationship Id="rId14" Type="http://schemas.openxmlformats.org/officeDocument/2006/relationships/slideLayout" Target="../slideLayouts/slideLayout2112.xml"/><Relationship Id="rId22" Type="http://schemas.openxmlformats.org/officeDocument/2006/relationships/slideLayout" Target="../slideLayouts/slideLayout2120.xml"/><Relationship Id="rId27" Type="http://schemas.openxmlformats.org/officeDocument/2006/relationships/theme" Target="../theme/theme16.xml"/></Relationships>
</file>

<file path=ppt/slideMasters/_rels/slideMaster17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2241.xml"/><Relationship Id="rId21" Type="http://schemas.openxmlformats.org/officeDocument/2006/relationships/slideLayout" Target="../slideLayouts/slideLayout2145.xml"/><Relationship Id="rId42" Type="http://schemas.openxmlformats.org/officeDocument/2006/relationships/slideLayout" Target="../slideLayouts/slideLayout2166.xml"/><Relationship Id="rId63" Type="http://schemas.openxmlformats.org/officeDocument/2006/relationships/slideLayout" Target="../slideLayouts/slideLayout2187.xml"/><Relationship Id="rId84" Type="http://schemas.openxmlformats.org/officeDocument/2006/relationships/slideLayout" Target="../slideLayouts/slideLayout2208.xml"/><Relationship Id="rId138" Type="http://schemas.openxmlformats.org/officeDocument/2006/relationships/slideLayout" Target="../slideLayouts/slideLayout2262.xml"/><Relationship Id="rId159" Type="http://schemas.openxmlformats.org/officeDocument/2006/relationships/slideLayout" Target="../slideLayouts/slideLayout2283.xml"/><Relationship Id="rId107" Type="http://schemas.openxmlformats.org/officeDocument/2006/relationships/slideLayout" Target="../slideLayouts/slideLayout2231.xml"/><Relationship Id="rId11" Type="http://schemas.openxmlformats.org/officeDocument/2006/relationships/slideLayout" Target="../slideLayouts/slideLayout2135.xml"/><Relationship Id="rId32" Type="http://schemas.openxmlformats.org/officeDocument/2006/relationships/slideLayout" Target="../slideLayouts/slideLayout2156.xml"/><Relationship Id="rId53" Type="http://schemas.openxmlformats.org/officeDocument/2006/relationships/slideLayout" Target="../slideLayouts/slideLayout2177.xml"/><Relationship Id="rId74" Type="http://schemas.openxmlformats.org/officeDocument/2006/relationships/slideLayout" Target="../slideLayouts/slideLayout2198.xml"/><Relationship Id="rId128" Type="http://schemas.openxmlformats.org/officeDocument/2006/relationships/slideLayout" Target="../slideLayouts/slideLayout2252.xml"/><Relationship Id="rId149" Type="http://schemas.openxmlformats.org/officeDocument/2006/relationships/slideLayout" Target="../slideLayouts/slideLayout2273.xml"/><Relationship Id="rId5" Type="http://schemas.openxmlformats.org/officeDocument/2006/relationships/slideLayout" Target="../slideLayouts/slideLayout2129.xml"/><Relationship Id="rId95" Type="http://schemas.openxmlformats.org/officeDocument/2006/relationships/slideLayout" Target="../slideLayouts/slideLayout2219.xml"/><Relationship Id="rId160" Type="http://schemas.openxmlformats.org/officeDocument/2006/relationships/theme" Target="../theme/theme17.xml"/><Relationship Id="rId22" Type="http://schemas.openxmlformats.org/officeDocument/2006/relationships/slideLayout" Target="../slideLayouts/slideLayout2146.xml"/><Relationship Id="rId43" Type="http://schemas.openxmlformats.org/officeDocument/2006/relationships/slideLayout" Target="../slideLayouts/slideLayout2167.xml"/><Relationship Id="rId64" Type="http://schemas.openxmlformats.org/officeDocument/2006/relationships/slideLayout" Target="../slideLayouts/slideLayout2188.xml"/><Relationship Id="rId118" Type="http://schemas.openxmlformats.org/officeDocument/2006/relationships/slideLayout" Target="../slideLayouts/slideLayout2242.xml"/><Relationship Id="rId139" Type="http://schemas.openxmlformats.org/officeDocument/2006/relationships/slideLayout" Target="../slideLayouts/slideLayout2263.xml"/><Relationship Id="rId80" Type="http://schemas.openxmlformats.org/officeDocument/2006/relationships/slideLayout" Target="../slideLayouts/slideLayout2204.xml"/><Relationship Id="rId85" Type="http://schemas.openxmlformats.org/officeDocument/2006/relationships/slideLayout" Target="../slideLayouts/slideLayout2209.xml"/><Relationship Id="rId150" Type="http://schemas.openxmlformats.org/officeDocument/2006/relationships/slideLayout" Target="../slideLayouts/slideLayout2274.xml"/><Relationship Id="rId155" Type="http://schemas.openxmlformats.org/officeDocument/2006/relationships/slideLayout" Target="../slideLayouts/slideLayout2279.xml"/><Relationship Id="rId12" Type="http://schemas.openxmlformats.org/officeDocument/2006/relationships/slideLayout" Target="../slideLayouts/slideLayout2136.xml"/><Relationship Id="rId17" Type="http://schemas.openxmlformats.org/officeDocument/2006/relationships/slideLayout" Target="../slideLayouts/slideLayout2141.xml"/><Relationship Id="rId33" Type="http://schemas.openxmlformats.org/officeDocument/2006/relationships/slideLayout" Target="../slideLayouts/slideLayout2157.xml"/><Relationship Id="rId38" Type="http://schemas.openxmlformats.org/officeDocument/2006/relationships/slideLayout" Target="../slideLayouts/slideLayout2162.xml"/><Relationship Id="rId59" Type="http://schemas.openxmlformats.org/officeDocument/2006/relationships/slideLayout" Target="../slideLayouts/slideLayout2183.xml"/><Relationship Id="rId103" Type="http://schemas.openxmlformats.org/officeDocument/2006/relationships/slideLayout" Target="../slideLayouts/slideLayout2227.xml"/><Relationship Id="rId108" Type="http://schemas.openxmlformats.org/officeDocument/2006/relationships/slideLayout" Target="../slideLayouts/slideLayout2232.xml"/><Relationship Id="rId124" Type="http://schemas.openxmlformats.org/officeDocument/2006/relationships/slideLayout" Target="../slideLayouts/slideLayout2248.xml"/><Relationship Id="rId129" Type="http://schemas.openxmlformats.org/officeDocument/2006/relationships/slideLayout" Target="../slideLayouts/slideLayout2253.xml"/><Relationship Id="rId54" Type="http://schemas.openxmlformats.org/officeDocument/2006/relationships/slideLayout" Target="../slideLayouts/slideLayout2178.xml"/><Relationship Id="rId70" Type="http://schemas.openxmlformats.org/officeDocument/2006/relationships/slideLayout" Target="../slideLayouts/slideLayout2194.xml"/><Relationship Id="rId75" Type="http://schemas.openxmlformats.org/officeDocument/2006/relationships/slideLayout" Target="../slideLayouts/slideLayout2199.xml"/><Relationship Id="rId91" Type="http://schemas.openxmlformats.org/officeDocument/2006/relationships/slideLayout" Target="../slideLayouts/slideLayout2215.xml"/><Relationship Id="rId96" Type="http://schemas.openxmlformats.org/officeDocument/2006/relationships/slideLayout" Target="../slideLayouts/slideLayout2220.xml"/><Relationship Id="rId140" Type="http://schemas.openxmlformats.org/officeDocument/2006/relationships/slideLayout" Target="../slideLayouts/slideLayout2264.xml"/><Relationship Id="rId145" Type="http://schemas.openxmlformats.org/officeDocument/2006/relationships/slideLayout" Target="../slideLayouts/slideLayout2269.xml"/><Relationship Id="rId1" Type="http://schemas.openxmlformats.org/officeDocument/2006/relationships/slideLayout" Target="../slideLayouts/slideLayout2125.xml"/><Relationship Id="rId6" Type="http://schemas.openxmlformats.org/officeDocument/2006/relationships/slideLayout" Target="../slideLayouts/slideLayout2130.xml"/><Relationship Id="rId23" Type="http://schemas.openxmlformats.org/officeDocument/2006/relationships/slideLayout" Target="../slideLayouts/slideLayout2147.xml"/><Relationship Id="rId28" Type="http://schemas.openxmlformats.org/officeDocument/2006/relationships/slideLayout" Target="../slideLayouts/slideLayout2152.xml"/><Relationship Id="rId49" Type="http://schemas.openxmlformats.org/officeDocument/2006/relationships/slideLayout" Target="../slideLayouts/slideLayout2173.xml"/><Relationship Id="rId114" Type="http://schemas.openxmlformats.org/officeDocument/2006/relationships/slideLayout" Target="../slideLayouts/slideLayout2238.xml"/><Relationship Id="rId119" Type="http://schemas.openxmlformats.org/officeDocument/2006/relationships/slideLayout" Target="../slideLayouts/slideLayout2243.xml"/><Relationship Id="rId44" Type="http://schemas.openxmlformats.org/officeDocument/2006/relationships/slideLayout" Target="../slideLayouts/slideLayout2168.xml"/><Relationship Id="rId60" Type="http://schemas.openxmlformats.org/officeDocument/2006/relationships/slideLayout" Target="../slideLayouts/slideLayout2184.xml"/><Relationship Id="rId65" Type="http://schemas.openxmlformats.org/officeDocument/2006/relationships/slideLayout" Target="../slideLayouts/slideLayout2189.xml"/><Relationship Id="rId81" Type="http://schemas.openxmlformats.org/officeDocument/2006/relationships/slideLayout" Target="../slideLayouts/slideLayout2205.xml"/><Relationship Id="rId86" Type="http://schemas.openxmlformats.org/officeDocument/2006/relationships/slideLayout" Target="../slideLayouts/slideLayout2210.xml"/><Relationship Id="rId130" Type="http://schemas.openxmlformats.org/officeDocument/2006/relationships/slideLayout" Target="../slideLayouts/slideLayout2254.xml"/><Relationship Id="rId135" Type="http://schemas.openxmlformats.org/officeDocument/2006/relationships/slideLayout" Target="../slideLayouts/slideLayout2259.xml"/><Relationship Id="rId151" Type="http://schemas.openxmlformats.org/officeDocument/2006/relationships/slideLayout" Target="../slideLayouts/slideLayout2275.xml"/><Relationship Id="rId156" Type="http://schemas.openxmlformats.org/officeDocument/2006/relationships/slideLayout" Target="../slideLayouts/slideLayout2280.xml"/><Relationship Id="rId13" Type="http://schemas.openxmlformats.org/officeDocument/2006/relationships/slideLayout" Target="../slideLayouts/slideLayout2137.xml"/><Relationship Id="rId18" Type="http://schemas.openxmlformats.org/officeDocument/2006/relationships/slideLayout" Target="../slideLayouts/slideLayout2142.xml"/><Relationship Id="rId39" Type="http://schemas.openxmlformats.org/officeDocument/2006/relationships/slideLayout" Target="../slideLayouts/slideLayout2163.xml"/><Relationship Id="rId109" Type="http://schemas.openxmlformats.org/officeDocument/2006/relationships/slideLayout" Target="../slideLayouts/slideLayout2233.xml"/><Relationship Id="rId34" Type="http://schemas.openxmlformats.org/officeDocument/2006/relationships/slideLayout" Target="../slideLayouts/slideLayout2158.xml"/><Relationship Id="rId50" Type="http://schemas.openxmlformats.org/officeDocument/2006/relationships/slideLayout" Target="../slideLayouts/slideLayout2174.xml"/><Relationship Id="rId55" Type="http://schemas.openxmlformats.org/officeDocument/2006/relationships/slideLayout" Target="../slideLayouts/slideLayout2179.xml"/><Relationship Id="rId76" Type="http://schemas.openxmlformats.org/officeDocument/2006/relationships/slideLayout" Target="../slideLayouts/slideLayout2200.xml"/><Relationship Id="rId97" Type="http://schemas.openxmlformats.org/officeDocument/2006/relationships/slideLayout" Target="../slideLayouts/slideLayout2221.xml"/><Relationship Id="rId104" Type="http://schemas.openxmlformats.org/officeDocument/2006/relationships/slideLayout" Target="../slideLayouts/slideLayout2228.xml"/><Relationship Id="rId120" Type="http://schemas.openxmlformats.org/officeDocument/2006/relationships/slideLayout" Target="../slideLayouts/slideLayout2244.xml"/><Relationship Id="rId125" Type="http://schemas.openxmlformats.org/officeDocument/2006/relationships/slideLayout" Target="../slideLayouts/slideLayout2249.xml"/><Relationship Id="rId141" Type="http://schemas.openxmlformats.org/officeDocument/2006/relationships/slideLayout" Target="../slideLayouts/slideLayout2265.xml"/><Relationship Id="rId146" Type="http://schemas.openxmlformats.org/officeDocument/2006/relationships/slideLayout" Target="../slideLayouts/slideLayout2270.xml"/><Relationship Id="rId7" Type="http://schemas.openxmlformats.org/officeDocument/2006/relationships/slideLayout" Target="../slideLayouts/slideLayout2131.xml"/><Relationship Id="rId71" Type="http://schemas.openxmlformats.org/officeDocument/2006/relationships/slideLayout" Target="../slideLayouts/slideLayout2195.xml"/><Relationship Id="rId92" Type="http://schemas.openxmlformats.org/officeDocument/2006/relationships/slideLayout" Target="../slideLayouts/slideLayout2216.xml"/><Relationship Id="rId2" Type="http://schemas.openxmlformats.org/officeDocument/2006/relationships/slideLayout" Target="../slideLayouts/slideLayout2126.xml"/><Relationship Id="rId29" Type="http://schemas.openxmlformats.org/officeDocument/2006/relationships/slideLayout" Target="../slideLayouts/slideLayout2153.xml"/><Relationship Id="rId24" Type="http://schemas.openxmlformats.org/officeDocument/2006/relationships/slideLayout" Target="../slideLayouts/slideLayout2148.xml"/><Relationship Id="rId40" Type="http://schemas.openxmlformats.org/officeDocument/2006/relationships/slideLayout" Target="../slideLayouts/slideLayout2164.xml"/><Relationship Id="rId45" Type="http://schemas.openxmlformats.org/officeDocument/2006/relationships/slideLayout" Target="../slideLayouts/slideLayout2169.xml"/><Relationship Id="rId66" Type="http://schemas.openxmlformats.org/officeDocument/2006/relationships/slideLayout" Target="../slideLayouts/slideLayout2190.xml"/><Relationship Id="rId87" Type="http://schemas.openxmlformats.org/officeDocument/2006/relationships/slideLayout" Target="../slideLayouts/slideLayout2211.xml"/><Relationship Id="rId110" Type="http://schemas.openxmlformats.org/officeDocument/2006/relationships/slideLayout" Target="../slideLayouts/slideLayout2234.xml"/><Relationship Id="rId115" Type="http://schemas.openxmlformats.org/officeDocument/2006/relationships/slideLayout" Target="../slideLayouts/slideLayout2239.xml"/><Relationship Id="rId131" Type="http://schemas.openxmlformats.org/officeDocument/2006/relationships/slideLayout" Target="../slideLayouts/slideLayout2255.xml"/><Relationship Id="rId136" Type="http://schemas.openxmlformats.org/officeDocument/2006/relationships/slideLayout" Target="../slideLayouts/slideLayout2260.xml"/><Relationship Id="rId157" Type="http://schemas.openxmlformats.org/officeDocument/2006/relationships/slideLayout" Target="../slideLayouts/slideLayout2281.xml"/><Relationship Id="rId61" Type="http://schemas.openxmlformats.org/officeDocument/2006/relationships/slideLayout" Target="../slideLayouts/slideLayout2185.xml"/><Relationship Id="rId82" Type="http://schemas.openxmlformats.org/officeDocument/2006/relationships/slideLayout" Target="../slideLayouts/slideLayout2206.xml"/><Relationship Id="rId152" Type="http://schemas.openxmlformats.org/officeDocument/2006/relationships/slideLayout" Target="../slideLayouts/slideLayout2276.xml"/><Relationship Id="rId19" Type="http://schemas.openxmlformats.org/officeDocument/2006/relationships/slideLayout" Target="../slideLayouts/slideLayout2143.xml"/><Relationship Id="rId14" Type="http://schemas.openxmlformats.org/officeDocument/2006/relationships/slideLayout" Target="../slideLayouts/slideLayout2138.xml"/><Relationship Id="rId30" Type="http://schemas.openxmlformats.org/officeDocument/2006/relationships/slideLayout" Target="../slideLayouts/slideLayout2154.xml"/><Relationship Id="rId35" Type="http://schemas.openxmlformats.org/officeDocument/2006/relationships/slideLayout" Target="../slideLayouts/slideLayout2159.xml"/><Relationship Id="rId56" Type="http://schemas.openxmlformats.org/officeDocument/2006/relationships/slideLayout" Target="../slideLayouts/slideLayout2180.xml"/><Relationship Id="rId77" Type="http://schemas.openxmlformats.org/officeDocument/2006/relationships/slideLayout" Target="../slideLayouts/slideLayout2201.xml"/><Relationship Id="rId100" Type="http://schemas.openxmlformats.org/officeDocument/2006/relationships/slideLayout" Target="../slideLayouts/slideLayout2224.xml"/><Relationship Id="rId105" Type="http://schemas.openxmlformats.org/officeDocument/2006/relationships/slideLayout" Target="../slideLayouts/slideLayout2229.xml"/><Relationship Id="rId126" Type="http://schemas.openxmlformats.org/officeDocument/2006/relationships/slideLayout" Target="../slideLayouts/slideLayout2250.xml"/><Relationship Id="rId147" Type="http://schemas.openxmlformats.org/officeDocument/2006/relationships/slideLayout" Target="../slideLayouts/slideLayout2271.xml"/><Relationship Id="rId8" Type="http://schemas.openxmlformats.org/officeDocument/2006/relationships/slideLayout" Target="../slideLayouts/slideLayout2132.xml"/><Relationship Id="rId51" Type="http://schemas.openxmlformats.org/officeDocument/2006/relationships/slideLayout" Target="../slideLayouts/slideLayout2175.xml"/><Relationship Id="rId72" Type="http://schemas.openxmlformats.org/officeDocument/2006/relationships/slideLayout" Target="../slideLayouts/slideLayout2196.xml"/><Relationship Id="rId93" Type="http://schemas.openxmlformats.org/officeDocument/2006/relationships/slideLayout" Target="../slideLayouts/slideLayout2217.xml"/><Relationship Id="rId98" Type="http://schemas.openxmlformats.org/officeDocument/2006/relationships/slideLayout" Target="../slideLayouts/slideLayout2222.xml"/><Relationship Id="rId121" Type="http://schemas.openxmlformats.org/officeDocument/2006/relationships/slideLayout" Target="../slideLayouts/slideLayout2245.xml"/><Relationship Id="rId142" Type="http://schemas.openxmlformats.org/officeDocument/2006/relationships/slideLayout" Target="../slideLayouts/slideLayout2266.xml"/><Relationship Id="rId3" Type="http://schemas.openxmlformats.org/officeDocument/2006/relationships/slideLayout" Target="../slideLayouts/slideLayout2127.xml"/><Relationship Id="rId25" Type="http://schemas.openxmlformats.org/officeDocument/2006/relationships/slideLayout" Target="../slideLayouts/slideLayout2149.xml"/><Relationship Id="rId46" Type="http://schemas.openxmlformats.org/officeDocument/2006/relationships/slideLayout" Target="../slideLayouts/slideLayout2170.xml"/><Relationship Id="rId67" Type="http://schemas.openxmlformats.org/officeDocument/2006/relationships/slideLayout" Target="../slideLayouts/slideLayout2191.xml"/><Relationship Id="rId116" Type="http://schemas.openxmlformats.org/officeDocument/2006/relationships/slideLayout" Target="../slideLayouts/slideLayout2240.xml"/><Relationship Id="rId137" Type="http://schemas.openxmlformats.org/officeDocument/2006/relationships/slideLayout" Target="../slideLayouts/slideLayout2261.xml"/><Relationship Id="rId158" Type="http://schemas.openxmlformats.org/officeDocument/2006/relationships/slideLayout" Target="../slideLayouts/slideLayout2282.xml"/><Relationship Id="rId20" Type="http://schemas.openxmlformats.org/officeDocument/2006/relationships/slideLayout" Target="../slideLayouts/slideLayout2144.xml"/><Relationship Id="rId41" Type="http://schemas.openxmlformats.org/officeDocument/2006/relationships/slideLayout" Target="../slideLayouts/slideLayout2165.xml"/><Relationship Id="rId62" Type="http://schemas.openxmlformats.org/officeDocument/2006/relationships/slideLayout" Target="../slideLayouts/slideLayout2186.xml"/><Relationship Id="rId83" Type="http://schemas.openxmlformats.org/officeDocument/2006/relationships/slideLayout" Target="../slideLayouts/slideLayout2207.xml"/><Relationship Id="rId88" Type="http://schemas.openxmlformats.org/officeDocument/2006/relationships/slideLayout" Target="../slideLayouts/slideLayout2212.xml"/><Relationship Id="rId111" Type="http://schemas.openxmlformats.org/officeDocument/2006/relationships/slideLayout" Target="../slideLayouts/slideLayout2235.xml"/><Relationship Id="rId132" Type="http://schemas.openxmlformats.org/officeDocument/2006/relationships/slideLayout" Target="../slideLayouts/slideLayout2256.xml"/><Relationship Id="rId153" Type="http://schemas.openxmlformats.org/officeDocument/2006/relationships/slideLayout" Target="../slideLayouts/slideLayout2277.xml"/><Relationship Id="rId15" Type="http://schemas.openxmlformats.org/officeDocument/2006/relationships/slideLayout" Target="../slideLayouts/slideLayout2139.xml"/><Relationship Id="rId36" Type="http://schemas.openxmlformats.org/officeDocument/2006/relationships/slideLayout" Target="../slideLayouts/slideLayout2160.xml"/><Relationship Id="rId57" Type="http://schemas.openxmlformats.org/officeDocument/2006/relationships/slideLayout" Target="../slideLayouts/slideLayout2181.xml"/><Relationship Id="rId106" Type="http://schemas.openxmlformats.org/officeDocument/2006/relationships/slideLayout" Target="../slideLayouts/slideLayout2230.xml"/><Relationship Id="rId127" Type="http://schemas.openxmlformats.org/officeDocument/2006/relationships/slideLayout" Target="../slideLayouts/slideLayout2251.xml"/><Relationship Id="rId10" Type="http://schemas.openxmlformats.org/officeDocument/2006/relationships/slideLayout" Target="../slideLayouts/slideLayout2134.xml"/><Relationship Id="rId31" Type="http://schemas.openxmlformats.org/officeDocument/2006/relationships/slideLayout" Target="../slideLayouts/slideLayout2155.xml"/><Relationship Id="rId52" Type="http://schemas.openxmlformats.org/officeDocument/2006/relationships/slideLayout" Target="../slideLayouts/slideLayout2176.xml"/><Relationship Id="rId73" Type="http://schemas.openxmlformats.org/officeDocument/2006/relationships/slideLayout" Target="../slideLayouts/slideLayout2197.xml"/><Relationship Id="rId78" Type="http://schemas.openxmlformats.org/officeDocument/2006/relationships/slideLayout" Target="../slideLayouts/slideLayout2202.xml"/><Relationship Id="rId94" Type="http://schemas.openxmlformats.org/officeDocument/2006/relationships/slideLayout" Target="../slideLayouts/slideLayout2218.xml"/><Relationship Id="rId99" Type="http://schemas.openxmlformats.org/officeDocument/2006/relationships/slideLayout" Target="../slideLayouts/slideLayout2223.xml"/><Relationship Id="rId101" Type="http://schemas.openxmlformats.org/officeDocument/2006/relationships/slideLayout" Target="../slideLayouts/slideLayout2225.xml"/><Relationship Id="rId122" Type="http://schemas.openxmlformats.org/officeDocument/2006/relationships/slideLayout" Target="../slideLayouts/slideLayout2246.xml"/><Relationship Id="rId143" Type="http://schemas.openxmlformats.org/officeDocument/2006/relationships/slideLayout" Target="../slideLayouts/slideLayout2267.xml"/><Relationship Id="rId148" Type="http://schemas.openxmlformats.org/officeDocument/2006/relationships/slideLayout" Target="../slideLayouts/slideLayout2272.xml"/><Relationship Id="rId4" Type="http://schemas.openxmlformats.org/officeDocument/2006/relationships/slideLayout" Target="../slideLayouts/slideLayout2128.xml"/><Relationship Id="rId9" Type="http://schemas.openxmlformats.org/officeDocument/2006/relationships/slideLayout" Target="../slideLayouts/slideLayout2133.xml"/><Relationship Id="rId26" Type="http://schemas.openxmlformats.org/officeDocument/2006/relationships/slideLayout" Target="../slideLayouts/slideLayout2150.xml"/><Relationship Id="rId47" Type="http://schemas.openxmlformats.org/officeDocument/2006/relationships/slideLayout" Target="../slideLayouts/slideLayout2171.xml"/><Relationship Id="rId68" Type="http://schemas.openxmlformats.org/officeDocument/2006/relationships/slideLayout" Target="../slideLayouts/slideLayout2192.xml"/><Relationship Id="rId89" Type="http://schemas.openxmlformats.org/officeDocument/2006/relationships/slideLayout" Target="../slideLayouts/slideLayout2213.xml"/><Relationship Id="rId112" Type="http://schemas.openxmlformats.org/officeDocument/2006/relationships/slideLayout" Target="../slideLayouts/slideLayout2236.xml"/><Relationship Id="rId133" Type="http://schemas.openxmlformats.org/officeDocument/2006/relationships/slideLayout" Target="../slideLayouts/slideLayout2257.xml"/><Relationship Id="rId154" Type="http://schemas.openxmlformats.org/officeDocument/2006/relationships/slideLayout" Target="../slideLayouts/slideLayout2278.xml"/><Relationship Id="rId16" Type="http://schemas.openxmlformats.org/officeDocument/2006/relationships/slideLayout" Target="../slideLayouts/slideLayout2140.xml"/><Relationship Id="rId37" Type="http://schemas.openxmlformats.org/officeDocument/2006/relationships/slideLayout" Target="../slideLayouts/slideLayout2161.xml"/><Relationship Id="rId58" Type="http://schemas.openxmlformats.org/officeDocument/2006/relationships/slideLayout" Target="../slideLayouts/slideLayout2182.xml"/><Relationship Id="rId79" Type="http://schemas.openxmlformats.org/officeDocument/2006/relationships/slideLayout" Target="../slideLayouts/slideLayout2203.xml"/><Relationship Id="rId102" Type="http://schemas.openxmlformats.org/officeDocument/2006/relationships/slideLayout" Target="../slideLayouts/slideLayout2226.xml"/><Relationship Id="rId123" Type="http://schemas.openxmlformats.org/officeDocument/2006/relationships/slideLayout" Target="../slideLayouts/slideLayout2247.xml"/><Relationship Id="rId144" Type="http://schemas.openxmlformats.org/officeDocument/2006/relationships/slideLayout" Target="../slideLayouts/slideLayout2268.xml"/><Relationship Id="rId90" Type="http://schemas.openxmlformats.org/officeDocument/2006/relationships/slideLayout" Target="../slideLayouts/slideLayout2214.xml"/><Relationship Id="rId27" Type="http://schemas.openxmlformats.org/officeDocument/2006/relationships/slideLayout" Target="../slideLayouts/slideLayout2151.xml"/><Relationship Id="rId48" Type="http://schemas.openxmlformats.org/officeDocument/2006/relationships/slideLayout" Target="../slideLayouts/slideLayout2172.xml"/><Relationship Id="rId69" Type="http://schemas.openxmlformats.org/officeDocument/2006/relationships/slideLayout" Target="../slideLayouts/slideLayout2193.xml"/><Relationship Id="rId113" Type="http://schemas.openxmlformats.org/officeDocument/2006/relationships/slideLayout" Target="../slideLayouts/slideLayout2237.xml"/><Relationship Id="rId134" Type="http://schemas.openxmlformats.org/officeDocument/2006/relationships/slideLayout" Target="../slideLayouts/slideLayout2258.xml"/></Relationships>
</file>

<file path=ppt/slideMasters/_rels/slideMaster18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2400.xml"/><Relationship Id="rId21" Type="http://schemas.openxmlformats.org/officeDocument/2006/relationships/slideLayout" Target="../slideLayouts/slideLayout2304.xml"/><Relationship Id="rId63" Type="http://schemas.openxmlformats.org/officeDocument/2006/relationships/slideLayout" Target="../slideLayouts/slideLayout2346.xml"/><Relationship Id="rId159" Type="http://schemas.openxmlformats.org/officeDocument/2006/relationships/slideLayout" Target="../slideLayouts/slideLayout2442.xml"/><Relationship Id="rId170" Type="http://schemas.openxmlformats.org/officeDocument/2006/relationships/slideLayout" Target="../slideLayouts/slideLayout2453.xml"/><Relationship Id="rId226" Type="http://schemas.openxmlformats.org/officeDocument/2006/relationships/slideLayout" Target="../slideLayouts/slideLayout2509.xml"/><Relationship Id="rId268" Type="http://schemas.openxmlformats.org/officeDocument/2006/relationships/slideLayout" Target="../slideLayouts/slideLayout2551.xml"/><Relationship Id="rId32" Type="http://schemas.openxmlformats.org/officeDocument/2006/relationships/slideLayout" Target="../slideLayouts/slideLayout2315.xml"/><Relationship Id="rId74" Type="http://schemas.openxmlformats.org/officeDocument/2006/relationships/slideLayout" Target="../slideLayouts/slideLayout2357.xml"/><Relationship Id="rId128" Type="http://schemas.openxmlformats.org/officeDocument/2006/relationships/slideLayout" Target="../slideLayouts/slideLayout2411.xml"/><Relationship Id="rId5" Type="http://schemas.openxmlformats.org/officeDocument/2006/relationships/slideLayout" Target="../slideLayouts/slideLayout2288.xml"/><Relationship Id="rId181" Type="http://schemas.openxmlformats.org/officeDocument/2006/relationships/slideLayout" Target="../slideLayouts/slideLayout2464.xml"/><Relationship Id="rId237" Type="http://schemas.openxmlformats.org/officeDocument/2006/relationships/slideLayout" Target="../slideLayouts/slideLayout2520.xml"/><Relationship Id="rId279" Type="http://schemas.openxmlformats.org/officeDocument/2006/relationships/slideLayout" Target="../slideLayouts/slideLayout2562.xml"/><Relationship Id="rId43" Type="http://schemas.openxmlformats.org/officeDocument/2006/relationships/slideLayout" Target="../slideLayouts/slideLayout2326.xml"/><Relationship Id="rId139" Type="http://schemas.openxmlformats.org/officeDocument/2006/relationships/slideLayout" Target="../slideLayouts/slideLayout2422.xml"/><Relationship Id="rId85" Type="http://schemas.openxmlformats.org/officeDocument/2006/relationships/slideLayout" Target="../slideLayouts/slideLayout2368.xml"/><Relationship Id="rId150" Type="http://schemas.openxmlformats.org/officeDocument/2006/relationships/slideLayout" Target="../slideLayouts/slideLayout2433.xml"/><Relationship Id="rId171" Type="http://schemas.openxmlformats.org/officeDocument/2006/relationships/slideLayout" Target="../slideLayouts/slideLayout2454.xml"/><Relationship Id="rId192" Type="http://schemas.openxmlformats.org/officeDocument/2006/relationships/slideLayout" Target="../slideLayouts/slideLayout2475.xml"/><Relationship Id="rId206" Type="http://schemas.openxmlformats.org/officeDocument/2006/relationships/slideLayout" Target="../slideLayouts/slideLayout2489.xml"/><Relationship Id="rId227" Type="http://schemas.openxmlformats.org/officeDocument/2006/relationships/slideLayout" Target="../slideLayouts/slideLayout2510.xml"/><Relationship Id="rId248" Type="http://schemas.openxmlformats.org/officeDocument/2006/relationships/slideLayout" Target="../slideLayouts/slideLayout2531.xml"/><Relationship Id="rId269" Type="http://schemas.openxmlformats.org/officeDocument/2006/relationships/slideLayout" Target="../slideLayouts/slideLayout2552.xml"/><Relationship Id="rId12" Type="http://schemas.openxmlformats.org/officeDocument/2006/relationships/slideLayout" Target="../slideLayouts/slideLayout2295.xml"/><Relationship Id="rId33" Type="http://schemas.openxmlformats.org/officeDocument/2006/relationships/slideLayout" Target="../slideLayouts/slideLayout2316.xml"/><Relationship Id="rId108" Type="http://schemas.openxmlformats.org/officeDocument/2006/relationships/slideLayout" Target="../slideLayouts/slideLayout2391.xml"/><Relationship Id="rId129" Type="http://schemas.openxmlformats.org/officeDocument/2006/relationships/slideLayout" Target="../slideLayouts/slideLayout2412.xml"/><Relationship Id="rId280" Type="http://schemas.openxmlformats.org/officeDocument/2006/relationships/slideLayout" Target="../slideLayouts/slideLayout2563.xml"/><Relationship Id="rId54" Type="http://schemas.openxmlformats.org/officeDocument/2006/relationships/slideLayout" Target="../slideLayouts/slideLayout2337.xml"/><Relationship Id="rId75" Type="http://schemas.openxmlformats.org/officeDocument/2006/relationships/slideLayout" Target="../slideLayouts/slideLayout2358.xml"/><Relationship Id="rId96" Type="http://schemas.openxmlformats.org/officeDocument/2006/relationships/slideLayout" Target="../slideLayouts/slideLayout2379.xml"/><Relationship Id="rId140" Type="http://schemas.openxmlformats.org/officeDocument/2006/relationships/slideLayout" Target="../slideLayouts/slideLayout2423.xml"/><Relationship Id="rId161" Type="http://schemas.openxmlformats.org/officeDocument/2006/relationships/slideLayout" Target="../slideLayouts/slideLayout2444.xml"/><Relationship Id="rId182" Type="http://schemas.openxmlformats.org/officeDocument/2006/relationships/slideLayout" Target="../slideLayouts/slideLayout2465.xml"/><Relationship Id="rId217" Type="http://schemas.openxmlformats.org/officeDocument/2006/relationships/slideLayout" Target="../slideLayouts/slideLayout2500.xml"/><Relationship Id="rId6" Type="http://schemas.openxmlformats.org/officeDocument/2006/relationships/slideLayout" Target="../slideLayouts/slideLayout2289.xml"/><Relationship Id="rId238" Type="http://schemas.openxmlformats.org/officeDocument/2006/relationships/slideLayout" Target="../slideLayouts/slideLayout2521.xml"/><Relationship Id="rId259" Type="http://schemas.openxmlformats.org/officeDocument/2006/relationships/slideLayout" Target="../slideLayouts/slideLayout2542.xml"/><Relationship Id="rId23" Type="http://schemas.openxmlformats.org/officeDocument/2006/relationships/slideLayout" Target="../slideLayouts/slideLayout2306.xml"/><Relationship Id="rId119" Type="http://schemas.openxmlformats.org/officeDocument/2006/relationships/slideLayout" Target="../slideLayouts/slideLayout2402.xml"/><Relationship Id="rId270" Type="http://schemas.openxmlformats.org/officeDocument/2006/relationships/slideLayout" Target="../slideLayouts/slideLayout2553.xml"/><Relationship Id="rId44" Type="http://schemas.openxmlformats.org/officeDocument/2006/relationships/slideLayout" Target="../slideLayouts/slideLayout2327.xml"/><Relationship Id="rId65" Type="http://schemas.openxmlformats.org/officeDocument/2006/relationships/slideLayout" Target="../slideLayouts/slideLayout2348.xml"/><Relationship Id="rId86" Type="http://schemas.openxmlformats.org/officeDocument/2006/relationships/slideLayout" Target="../slideLayouts/slideLayout2369.xml"/><Relationship Id="rId130" Type="http://schemas.openxmlformats.org/officeDocument/2006/relationships/slideLayout" Target="../slideLayouts/slideLayout2413.xml"/><Relationship Id="rId151" Type="http://schemas.openxmlformats.org/officeDocument/2006/relationships/slideLayout" Target="../slideLayouts/slideLayout2434.xml"/><Relationship Id="rId172" Type="http://schemas.openxmlformats.org/officeDocument/2006/relationships/slideLayout" Target="../slideLayouts/slideLayout2455.xml"/><Relationship Id="rId193" Type="http://schemas.openxmlformats.org/officeDocument/2006/relationships/slideLayout" Target="../slideLayouts/slideLayout2476.xml"/><Relationship Id="rId207" Type="http://schemas.openxmlformats.org/officeDocument/2006/relationships/slideLayout" Target="../slideLayouts/slideLayout2490.xml"/><Relationship Id="rId228" Type="http://schemas.openxmlformats.org/officeDocument/2006/relationships/slideLayout" Target="../slideLayouts/slideLayout2511.xml"/><Relationship Id="rId249" Type="http://schemas.openxmlformats.org/officeDocument/2006/relationships/slideLayout" Target="../slideLayouts/slideLayout2532.xml"/><Relationship Id="rId13" Type="http://schemas.openxmlformats.org/officeDocument/2006/relationships/slideLayout" Target="../slideLayouts/slideLayout2296.xml"/><Relationship Id="rId109" Type="http://schemas.openxmlformats.org/officeDocument/2006/relationships/slideLayout" Target="../slideLayouts/slideLayout2392.xml"/><Relationship Id="rId260" Type="http://schemas.openxmlformats.org/officeDocument/2006/relationships/slideLayout" Target="../slideLayouts/slideLayout2543.xml"/><Relationship Id="rId281" Type="http://schemas.openxmlformats.org/officeDocument/2006/relationships/slideLayout" Target="../slideLayouts/slideLayout2564.xml"/><Relationship Id="rId34" Type="http://schemas.openxmlformats.org/officeDocument/2006/relationships/slideLayout" Target="../slideLayouts/slideLayout2317.xml"/><Relationship Id="rId55" Type="http://schemas.openxmlformats.org/officeDocument/2006/relationships/slideLayout" Target="../slideLayouts/slideLayout2338.xml"/><Relationship Id="rId76" Type="http://schemas.openxmlformats.org/officeDocument/2006/relationships/slideLayout" Target="../slideLayouts/slideLayout2359.xml"/><Relationship Id="rId97" Type="http://schemas.openxmlformats.org/officeDocument/2006/relationships/slideLayout" Target="../slideLayouts/slideLayout2380.xml"/><Relationship Id="rId120" Type="http://schemas.openxmlformats.org/officeDocument/2006/relationships/slideLayout" Target="../slideLayouts/slideLayout2403.xml"/><Relationship Id="rId141" Type="http://schemas.openxmlformats.org/officeDocument/2006/relationships/slideLayout" Target="../slideLayouts/slideLayout2424.xml"/><Relationship Id="rId7" Type="http://schemas.openxmlformats.org/officeDocument/2006/relationships/slideLayout" Target="../slideLayouts/slideLayout2290.xml"/><Relationship Id="rId162" Type="http://schemas.openxmlformats.org/officeDocument/2006/relationships/slideLayout" Target="../slideLayouts/slideLayout2445.xml"/><Relationship Id="rId183" Type="http://schemas.openxmlformats.org/officeDocument/2006/relationships/slideLayout" Target="../slideLayouts/slideLayout2466.xml"/><Relationship Id="rId218" Type="http://schemas.openxmlformats.org/officeDocument/2006/relationships/slideLayout" Target="../slideLayouts/slideLayout2501.xml"/><Relationship Id="rId239" Type="http://schemas.openxmlformats.org/officeDocument/2006/relationships/slideLayout" Target="../slideLayouts/slideLayout2522.xml"/><Relationship Id="rId250" Type="http://schemas.openxmlformats.org/officeDocument/2006/relationships/slideLayout" Target="../slideLayouts/slideLayout2533.xml"/><Relationship Id="rId271" Type="http://schemas.openxmlformats.org/officeDocument/2006/relationships/slideLayout" Target="../slideLayouts/slideLayout2554.xml"/><Relationship Id="rId24" Type="http://schemas.openxmlformats.org/officeDocument/2006/relationships/slideLayout" Target="../slideLayouts/slideLayout2307.xml"/><Relationship Id="rId45" Type="http://schemas.openxmlformats.org/officeDocument/2006/relationships/slideLayout" Target="../slideLayouts/slideLayout2328.xml"/><Relationship Id="rId66" Type="http://schemas.openxmlformats.org/officeDocument/2006/relationships/slideLayout" Target="../slideLayouts/slideLayout2349.xml"/><Relationship Id="rId87" Type="http://schemas.openxmlformats.org/officeDocument/2006/relationships/slideLayout" Target="../slideLayouts/slideLayout2370.xml"/><Relationship Id="rId110" Type="http://schemas.openxmlformats.org/officeDocument/2006/relationships/slideLayout" Target="../slideLayouts/slideLayout2393.xml"/><Relationship Id="rId131" Type="http://schemas.openxmlformats.org/officeDocument/2006/relationships/slideLayout" Target="../slideLayouts/slideLayout2414.xml"/><Relationship Id="rId152" Type="http://schemas.openxmlformats.org/officeDocument/2006/relationships/slideLayout" Target="../slideLayouts/slideLayout2435.xml"/><Relationship Id="rId173" Type="http://schemas.openxmlformats.org/officeDocument/2006/relationships/slideLayout" Target="../slideLayouts/slideLayout2456.xml"/><Relationship Id="rId194" Type="http://schemas.openxmlformats.org/officeDocument/2006/relationships/slideLayout" Target="../slideLayouts/slideLayout2477.xml"/><Relationship Id="rId208" Type="http://schemas.openxmlformats.org/officeDocument/2006/relationships/slideLayout" Target="../slideLayouts/slideLayout2491.xml"/><Relationship Id="rId229" Type="http://schemas.openxmlformats.org/officeDocument/2006/relationships/slideLayout" Target="../slideLayouts/slideLayout2512.xml"/><Relationship Id="rId240" Type="http://schemas.openxmlformats.org/officeDocument/2006/relationships/slideLayout" Target="../slideLayouts/slideLayout2523.xml"/><Relationship Id="rId261" Type="http://schemas.openxmlformats.org/officeDocument/2006/relationships/slideLayout" Target="../slideLayouts/slideLayout2544.xml"/><Relationship Id="rId14" Type="http://schemas.openxmlformats.org/officeDocument/2006/relationships/slideLayout" Target="../slideLayouts/slideLayout2297.xml"/><Relationship Id="rId35" Type="http://schemas.openxmlformats.org/officeDocument/2006/relationships/slideLayout" Target="../slideLayouts/slideLayout2318.xml"/><Relationship Id="rId56" Type="http://schemas.openxmlformats.org/officeDocument/2006/relationships/slideLayout" Target="../slideLayouts/slideLayout2339.xml"/><Relationship Id="rId77" Type="http://schemas.openxmlformats.org/officeDocument/2006/relationships/slideLayout" Target="../slideLayouts/slideLayout2360.xml"/><Relationship Id="rId100" Type="http://schemas.openxmlformats.org/officeDocument/2006/relationships/slideLayout" Target="../slideLayouts/slideLayout2383.xml"/><Relationship Id="rId282" Type="http://schemas.openxmlformats.org/officeDocument/2006/relationships/slideLayout" Target="../slideLayouts/slideLayout2565.xml"/><Relationship Id="rId8" Type="http://schemas.openxmlformats.org/officeDocument/2006/relationships/slideLayout" Target="../slideLayouts/slideLayout2291.xml"/><Relationship Id="rId98" Type="http://schemas.openxmlformats.org/officeDocument/2006/relationships/slideLayout" Target="../slideLayouts/slideLayout2381.xml"/><Relationship Id="rId121" Type="http://schemas.openxmlformats.org/officeDocument/2006/relationships/slideLayout" Target="../slideLayouts/slideLayout2404.xml"/><Relationship Id="rId142" Type="http://schemas.openxmlformats.org/officeDocument/2006/relationships/slideLayout" Target="../slideLayouts/slideLayout2425.xml"/><Relationship Id="rId163" Type="http://schemas.openxmlformats.org/officeDocument/2006/relationships/slideLayout" Target="../slideLayouts/slideLayout2446.xml"/><Relationship Id="rId184" Type="http://schemas.openxmlformats.org/officeDocument/2006/relationships/slideLayout" Target="../slideLayouts/slideLayout2467.xml"/><Relationship Id="rId219" Type="http://schemas.openxmlformats.org/officeDocument/2006/relationships/slideLayout" Target="../slideLayouts/slideLayout2502.xml"/><Relationship Id="rId230" Type="http://schemas.openxmlformats.org/officeDocument/2006/relationships/slideLayout" Target="../slideLayouts/slideLayout2513.xml"/><Relationship Id="rId251" Type="http://schemas.openxmlformats.org/officeDocument/2006/relationships/slideLayout" Target="../slideLayouts/slideLayout2534.xml"/><Relationship Id="rId25" Type="http://schemas.openxmlformats.org/officeDocument/2006/relationships/slideLayout" Target="../slideLayouts/slideLayout2308.xml"/><Relationship Id="rId46" Type="http://schemas.openxmlformats.org/officeDocument/2006/relationships/slideLayout" Target="../slideLayouts/slideLayout2329.xml"/><Relationship Id="rId67" Type="http://schemas.openxmlformats.org/officeDocument/2006/relationships/slideLayout" Target="../slideLayouts/slideLayout2350.xml"/><Relationship Id="rId272" Type="http://schemas.openxmlformats.org/officeDocument/2006/relationships/slideLayout" Target="../slideLayouts/slideLayout2555.xml"/><Relationship Id="rId88" Type="http://schemas.openxmlformats.org/officeDocument/2006/relationships/slideLayout" Target="../slideLayouts/slideLayout2371.xml"/><Relationship Id="rId111" Type="http://schemas.openxmlformats.org/officeDocument/2006/relationships/slideLayout" Target="../slideLayouts/slideLayout2394.xml"/><Relationship Id="rId132" Type="http://schemas.openxmlformats.org/officeDocument/2006/relationships/slideLayout" Target="../slideLayouts/slideLayout2415.xml"/><Relationship Id="rId153" Type="http://schemas.openxmlformats.org/officeDocument/2006/relationships/slideLayout" Target="../slideLayouts/slideLayout2436.xml"/><Relationship Id="rId174" Type="http://schemas.openxmlformats.org/officeDocument/2006/relationships/slideLayout" Target="../slideLayouts/slideLayout2457.xml"/><Relationship Id="rId195" Type="http://schemas.openxmlformats.org/officeDocument/2006/relationships/slideLayout" Target="../slideLayouts/slideLayout2478.xml"/><Relationship Id="rId209" Type="http://schemas.openxmlformats.org/officeDocument/2006/relationships/slideLayout" Target="../slideLayouts/slideLayout2492.xml"/><Relationship Id="rId220" Type="http://schemas.openxmlformats.org/officeDocument/2006/relationships/slideLayout" Target="../slideLayouts/slideLayout2503.xml"/><Relationship Id="rId241" Type="http://schemas.openxmlformats.org/officeDocument/2006/relationships/slideLayout" Target="../slideLayouts/slideLayout2524.xml"/><Relationship Id="rId15" Type="http://schemas.openxmlformats.org/officeDocument/2006/relationships/slideLayout" Target="../slideLayouts/slideLayout2298.xml"/><Relationship Id="rId36" Type="http://schemas.openxmlformats.org/officeDocument/2006/relationships/slideLayout" Target="../slideLayouts/slideLayout2319.xml"/><Relationship Id="rId57" Type="http://schemas.openxmlformats.org/officeDocument/2006/relationships/slideLayout" Target="../slideLayouts/slideLayout2340.xml"/><Relationship Id="rId262" Type="http://schemas.openxmlformats.org/officeDocument/2006/relationships/slideLayout" Target="../slideLayouts/slideLayout2545.xml"/><Relationship Id="rId283" Type="http://schemas.openxmlformats.org/officeDocument/2006/relationships/slideLayout" Target="../slideLayouts/slideLayout2566.xml"/><Relationship Id="rId78" Type="http://schemas.openxmlformats.org/officeDocument/2006/relationships/slideLayout" Target="../slideLayouts/slideLayout2361.xml"/><Relationship Id="rId99" Type="http://schemas.openxmlformats.org/officeDocument/2006/relationships/slideLayout" Target="../slideLayouts/slideLayout2382.xml"/><Relationship Id="rId101" Type="http://schemas.openxmlformats.org/officeDocument/2006/relationships/slideLayout" Target="../slideLayouts/slideLayout2384.xml"/><Relationship Id="rId122" Type="http://schemas.openxmlformats.org/officeDocument/2006/relationships/slideLayout" Target="../slideLayouts/slideLayout2405.xml"/><Relationship Id="rId143" Type="http://schemas.openxmlformats.org/officeDocument/2006/relationships/slideLayout" Target="../slideLayouts/slideLayout2426.xml"/><Relationship Id="rId164" Type="http://schemas.openxmlformats.org/officeDocument/2006/relationships/slideLayout" Target="../slideLayouts/slideLayout2447.xml"/><Relationship Id="rId185" Type="http://schemas.openxmlformats.org/officeDocument/2006/relationships/slideLayout" Target="../slideLayouts/slideLayout2468.xml"/><Relationship Id="rId9" Type="http://schemas.openxmlformats.org/officeDocument/2006/relationships/slideLayout" Target="../slideLayouts/slideLayout2292.xml"/><Relationship Id="rId210" Type="http://schemas.openxmlformats.org/officeDocument/2006/relationships/slideLayout" Target="../slideLayouts/slideLayout2493.xml"/><Relationship Id="rId26" Type="http://schemas.openxmlformats.org/officeDocument/2006/relationships/slideLayout" Target="../slideLayouts/slideLayout2309.xml"/><Relationship Id="rId231" Type="http://schemas.openxmlformats.org/officeDocument/2006/relationships/slideLayout" Target="../slideLayouts/slideLayout2514.xml"/><Relationship Id="rId252" Type="http://schemas.openxmlformats.org/officeDocument/2006/relationships/slideLayout" Target="../slideLayouts/slideLayout2535.xml"/><Relationship Id="rId273" Type="http://schemas.openxmlformats.org/officeDocument/2006/relationships/slideLayout" Target="../slideLayouts/slideLayout2556.xml"/><Relationship Id="rId47" Type="http://schemas.openxmlformats.org/officeDocument/2006/relationships/slideLayout" Target="../slideLayouts/slideLayout2330.xml"/><Relationship Id="rId68" Type="http://schemas.openxmlformats.org/officeDocument/2006/relationships/slideLayout" Target="../slideLayouts/slideLayout2351.xml"/><Relationship Id="rId89" Type="http://schemas.openxmlformats.org/officeDocument/2006/relationships/slideLayout" Target="../slideLayouts/slideLayout2372.xml"/><Relationship Id="rId112" Type="http://schemas.openxmlformats.org/officeDocument/2006/relationships/slideLayout" Target="../slideLayouts/slideLayout2395.xml"/><Relationship Id="rId133" Type="http://schemas.openxmlformats.org/officeDocument/2006/relationships/slideLayout" Target="../slideLayouts/slideLayout2416.xml"/><Relationship Id="rId154" Type="http://schemas.openxmlformats.org/officeDocument/2006/relationships/slideLayout" Target="../slideLayouts/slideLayout2437.xml"/><Relationship Id="rId175" Type="http://schemas.openxmlformats.org/officeDocument/2006/relationships/slideLayout" Target="../slideLayouts/slideLayout2458.xml"/><Relationship Id="rId196" Type="http://schemas.openxmlformats.org/officeDocument/2006/relationships/slideLayout" Target="../slideLayouts/slideLayout2479.xml"/><Relationship Id="rId200" Type="http://schemas.openxmlformats.org/officeDocument/2006/relationships/slideLayout" Target="../slideLayouts/slideLayout2483.xml"/><Relationship Id="rId16" Type="http://schemas.openxmlformats.org/officeDocument/2006/relationships/slideLayout" Target="../slideLayouts/slideLayout2299.xml"/><Relationship Id="rId221" Type="http://schemas.openxmlformats.org/officeDocument/2006/relationships/slideLayout" Target="../slideLayouts/slideLayout2504.xml"/><Relationship Id="rId242" Type="http://schemas.openxmlformats.org/officeDocument/2006/relationships/slideLayout" Target="../slideLayouts/slideLayout2525.xml"/><Relationship Id="rId263" Type="http://schemas.openxmlformats.org/officeDocument/2006/relationships/slideLayout" Target="../slideLayouts/slideLayout2546.xml"/><Relationship Id="rId284" Type="http://schemas.openxmlformats.org/officeDocument/2006/relationships/slideLayout" Target="../slideLayouts/slideLayout2567.xml"/><Relationship Id="rId37" Type="http://schemas.openxmlformats.org/officeDocument/2006/relationships/slideLayout" Target="../slideLayouts/slideLayout2320.xml"/><Relationship Id="rId58" Type="http://schemas.openxmlformats.org/officeDocument/2006/relationships/slideLayout" Target="../slideLayouts/slideLayout2341.xml"/><Relationship Id="rId79" Type="http://schemas.openxmlformats.org/officeDocument/2006/relationships/slideLayout" Target="../slideLayouts/slideLayout2362.xml"/><Relationship Id="rId102" Type="http://schemas.openxmlformats.org/officeDocument/2006/relationships/slideLayout" Target="../slideLayouts/slideLayout2385.xml"/><Relationship Id="rId123" Type="http://schemas.openxmlformats.org/officeDocument/2006/relationships/slideLayout" Target="../slideLayouts/slideLayout2406.xml"/><Relationship Id="rId144" Type="http://schemas.openxmlformats.org/officeDocument/2006/relationships/slideLayout" Target="../slideLayouts/slideLayout2427.xml"/><Relationship Id="rId90" Type="http://schemas.openxmlformats.org/officeDocument/2006/relationships/slideLayout" Target="../slideLayouts/slideLayout2373.xml"/><Relationship Id="rId165" Type="http://schemas.openxmlformats.org/officeDocument/2006/relationships/slideLayout" Target="../slideLayouts/slideLayout2448.xml"/><Relationship Id="rId186" Type="http://schemas.openxmlformats.org/officeDocument/2006/relationships/slideLayout" Target="../slideLayouts/slideLayout2469.xml"/><Relationship Id="rId211" Type="http://schemas.openxmlformats.org/officeDocument/2006/relationships/slideLayout" Target="../slideLayouts/slideLayout2494.xml"/><Relationship Id="rId232" Type="http://schemas.openxmlformats.org/officeDocument/2006/relationships/slideLayout" Target="../slideLayouts/slideLayout2515.xml"/><Relationship Id="rId253" Type="http://schemas.openxmlformats.org/officeDocument/2006/relationships/slideLayout" Target="../slideLayouts/slideLayout2536.xml"/><Relationship Id="rId274" Type="http://schemas.openxmlformats.org/officeDocument/2006/relationships/slideLayout" Target="../slideLayouts/slideLayout2557.xml"/><Relationship Id="rId27" Type="http://schemas.openxmlformats.org/officeDocument/2006/relationships/slideLayout" Target="../slideLayouts/slideLayout2310.xml"/><Relationship Id="rId48" Type="http://schemas.openxmlformats.org/officeDocument/2006/relationships/slideLayout" Target="../slideLayouts/slideLayout2331.xml"/><Relationship Id="rId69" Type="http://schemas.openxmlformats.org/officeDocument/2006/relationships/slideLayout" Target="../slideLayouts/slideLayout2352.xml"/><Relationship Id="rId113" Type="http://schemas.openxmlformats.org/officeDocument/2006/relationships/slideLayout" Target="../slideLayouts/slideLayout2396.xml"/><Relationship Id="rId134" Type="http://schemas.openxmlformats.org/officeDocument/2006/relationships/slideLayout" Target="../slideLayouts/slideLayout2417.xml"/><Relationship Id="rId80" Type="http://schemas.openxmlformats.org/officeDocument/2006/relationships/slideLayout" Target="../slideLayouts/slideLayout2363.xml"/><Relationship Id="rId155" Type="http://schemas.openxmlformats.org/officeDocument/2006/relationships/slideLayout" Target="../slideLayouts/slideLayout2438.xml"/><Relationship Id="rId176" Type="http://schemas.openxmlformats.org/officeDocument/2006/relationships/slideLayout" Target="../slideLayouts/slideLayout2459.xml"/><Relationship Id="rId197" Type="http://schemas.openxmlformats.org/officeDocument/2006/relationships/slideLayout" Target="../slideLayouts/slideLayout2480.xml"/><Relationship Id="rId201" Type="http://schemas.openxmlformats.org/officeDocument/2006/relationships/slideLayout" Target="../slideLayouts/slideLayout2484.xml"/><Relationship Id="rId222" Type="http://schemas.openxmlformats.org/officeDocument/2006/relationships/slideLayout" Target="../slideLayouts/slideLayout2505.xml"/><Relationship Id="rId243" Type="http://schemas.openxmlformats.org/officeDocument/2006/relationships/slideLayout" Target="../slideLayouts/slideLayout2526.xml"/><Relationship Id="rId264" Type="http://schemas.openxmlformats.org/officeDocument/2006/relationships/slideLayout" Target="../slideLayouts/slideLayout2547.xml"/><Relationship Id="rId285" Type="http://schemas.openxmlformats.org/officeDocument/2006/relationships/slideLayout" Target="../slideLayouts/slideLayout2568.xml"/><Relationship Id="rId17" Type="http://schemas.openxmlformats.org/officeDocument/2006/relationships/slideLayout" Target="../slideLayouts/slideLayout2300.xml"/><Relationship Id="rId38" Type="http://schemas.openxmlformats.org/officeDocument/2006/relationships/slideLayout" Target="../slideLayouts/slideLayout2321.xml"/><Relationship Id="rId59" Type="http://schemas.openxmlformats.org/officeDocument/2006/relationships/slideLayout" Target="../slideLayouts/slideLayout2342.xml"/><Relationship Id="rId103" Type="http://schemas.openxmlformats.org/officeDocument/2006/relationships/slideLayout" Target="../slideLayouts/slideLayout2386.xml"/><Relationship Id="rId124" Type="http://schemas.openxmlformats.org/officeDocument/2006/relationships/slideLayout" Target="../slideLayouts/slideLayout2407.xml"/><Relationship Id="rId70" Type="http://schemas.openxmlformats.org/officeDocument/2006/relationships/slideLayout" Target="../slideLayouts/slideLayout2353.xml"/><Relationship Id="rId91" Type="http://schemas.openxmlformats.org/officeDocument/2006/relationships/slideLayout" Target="../slideLayouts/slideLayout2374.xml"/><Relationship Id="rId145" Type="http://schemas.openxmlformats.org/officeDocument/2006/relationships/slideLayout" Target="../slideLayouts/slideLayout2428.xml"/><Relationship Id="rId166" Type="http://schemas.openxmlformats.org/officeDocument/2006/relationships/slideLayout" Target="../slideLayouts/slideLayout2449.xml"/><Relationship Id="rId187" Type="http://schemas.openxmlformats.org/officeDocument/2006/relationships/slideLayout" Target="../slideLayouts/slideLayout2470.xml"/><Relationship Id="rId1" Type="http://schemas.openxmlformats.org/officeDocument/2006/relationships/slideLayout" Target="../slideLayouts/slideLayout2284.xml"/><Relationship Id="rId212" Type="http://schemas.openxmlformats.org/officeDocument/2006/relationships/slideLayout" Target="../slideLayouts/slideLayout2495.xml"/><Relationship Id="rId233" Type="http://schemas.openxmlformats.org/officeDocument/2006/relationships/slideLayout" Target="../slideLayouts/slideLayout2516.xml"/><Relationship Id="rId254" Type="http://schemas.openxmlformats.org/officeDocument/2006/relationships/slideLayout" Target="../slideLayouts/slideLayout2537.xml"/><Relationship Id="rId28" Type="http://schemas.openxmlformats.org/officeDocument/2006/relationships/slideLayout" Target="../slideLayouts/slideLayout2311.xml"/><Relationship Id="rId49" Type="http://schemas.openxmlformats.org/officeDocument/2006/relationships/slideLayout" Target="../slideLayouts/slideLayout2332.xml"/><Relationship Id="rId114" Type="http://schemas.openxmlformats.org/officeDocument/2006/relationships/slideLayout" Target="../slideLayouts/slideLayout2397.xml"/><Relationship Id="rId275" Type="http://schemas.openxmlformats.org/officeDocument/2006/relationships/slideLayout" Target="../slideLayouts/slideLayout2558.xml"/><Relationship Id="rId60" Type="http://schemas.openxmlformats.org/officeDocument/2006/relationships/slideLayout" Target="../slideLayouts/slideLayout2343.xml"/><Relationship Id="rId81" Type="http://schemas.openxmlformats.org/officeDocument/2006/relationships/slideLayout" Target="../slideLayouts/slideLayout2364.xml"/><Relationship Id="rId135" Type="http://schemas.openxmlformats.org/officeDocument/2006/relationships/slideLayout" Target="../slideLayouts/slideLayout2418.xml"/><Relationship Id="rId156" Type="http://schemas.openxmlformats.org/officeDocument/2006/relationships/slideLayout" Target="../slideLayouts/slideLayout2439.xml"/><Relationship Id="rId177" Type="http://schemas.openxmlformats.org/officeDocument/2006/relationships/slideLayout" Target="../slideLayouts/slideLayout2460.xml"/><Relationship Id="rId198" Type="http://schemas.openxmlformats.org/officeDocument/2006/relationships/slideLayout" Target="../slideLayouts/slideLayout2481.xml"/><Relationship Id="rId202" Type="http://schemas.openxmlformats.org/officeDocument/2006/relationships/slideLayout" Target="../slideLayouts/slideLayout2485.xml"/><Relationship Id="rId223" Type="http://schemas.openxmlformats.org/officeDocument/2006/relationships/slideLayout" Target="../slideLayouts/slideLayout2506.xml"/><Relationship Id="rId244" Type="http://schemas.openxmlformats.org/officeDocument/2006/relationships/slideLayout" Target="../slideLayouts/slideLayout2527.xml"/><Relationship Id="rId18" Type="http://schemas.openxmlformats.org/officeDocument/2006/relationships/slideLayout" Target="../slideLayouts/slideLayout2301.xml"/><Relationship Id="rId39" Type="http://schemas.openxmlformats.org/officeDocument/2006/relationships/slideLayout" Target="../slideLayouts/slideLayout2322.xml"/><Relationship Id="rId265" Type="http://schemas.openxmlformats.org/officeDocument/2006/relationships/slideLayout" Target="../slideLayouts/slideLayout2548.xml"/><Relationship Id="rId286" Type="http://schemas.openxmlformats.org/officeDocument/2006/relationships/slideLayout" Target="../slideLayouts/slideLayout2569.xml"/><Relationship Id="rId50" Type="http://schemas.openxmlformats.org/officeDocument/2006/relationships/slideLayout" Target="../slideLayouts/slideLayout2333.xml"/><Relationship Id="rId104" Type="http://schemas.openxmlformats.org/officeDocument/2006/relationships/slideLayout" Target="../slideLayouts/slideLayout2387.xml"/><Relationship Id="rId125" Type="http://schemas.openxmlformats.org/officeDocument/2006/relationships/slideLayout" Target="../slideLayouts/slideLayout2408.xml"/><Relationship Id="rId146" Type="http://schemas.openxmlformats.org/officeDocument/2006/relationships/slideLayout" Target="../slideLayouts/slideLayout2429.xml"/><Relationship Id="rId167" Type="http://schemas.openxmlformats.org/officeDocument/2006/relationships/slideLayout" Target="../slideLayouts/slideLayout2450.xml"/><Relationship Id="rId188" Type="http://schemas.openxmlformats.org/officeDocument/2006/relationships/slideLayout" Target="../slideLayouts/slideLayout2471.xml"/><Relationship Id="rId71" Type="http://schemas.openxmlformats.org/officeDocument/2006/relationships/slideLayout" Target="../slideLayouts/slideLayout2354.xml"/><Relationship Id="rId92" Type="http://schemas.openxmlformats.org/officeDocument/2006/relationships/slideLayout" Target="../slideLayouts/slideLayout2375.xml"/><Relationship Id="rId213" Type="http://schemas.openxmlformats.org/officeDocument/2006/relationships/slideLayout" Target="../slideLayouts/slideLayout2496.xml"/><Relationship Id="rId234" Type="http://schemas.openxmlformats.org/officeDocument/2006/relationships/slideLayout" Target="../slideLayouts/slideLayout2517.xml"/><Relationship Id="rId2" Type="http://schemas.openxmlformats.org/officeDocument/2006/relationships/slideLayout" Target="../slideLayouts/slideLayout2285.xml"/><Relationship Id="rId29" Type="http://schemas.openxmlformats.org/officeDocument/2006/relationships/slideLayout" Target="../slideLayouts/slideLayout2312.xml"/><Relationship Id="rId255" Type="http://schemas.openxmlformats.org/officeDocument/2006/relationships/slideLayout" Target="../slideLayouts/slideLayout2538.xml"/><Relationship Id="rId276" Type="http://schemas.openxmlformats.org/officeDocument/2006/relationships/slideLayout" Target="../slideLayouts/slideLayout2559.xml"/><Relationship Id="rId40" Type="http://schemas.openxmlformats.org/officeDocument/2006/relationships/slideLayout" Target="../slideLayouts/slideLayout2323.xml"/><Relationship Id="rId115" Type="http://schemas.openxmlformats.org/officeDocument/2006/relationships/slideLayout" Target="../slideLayouts/slideLayout2398.xml"/><Relationship Id="rId136" Type="http://schemas.openxmlformats.org/officeDocument/2006/relationships/slideLayout" Target="../slideLayouts/slideLayout2419.xml"/><Relationship Id="rId157" Type="http://schemas.openxmlformats.org/officeDocument/2006/relationships/slideLayout" Target="../slideLayouts/slideLayout2440.xml"/><Relationship Id="rId178" Type="http://schemas.openxmlformats.org/officeDocument/2006/relationships/slideLayout" Target="../slideLayouts/slideLayout2461.xml"/><Relationship Id="rId61" Type="http://schemas.openxmlformats.org/officeDocument/2006/relationships/slideLayout" Target="../slideLayouts/slideLayout2344.xml"/><Relationship Id="rId82" Type="http://schemas.openxmlformats.org/officeDocument/2006/relationships/slideLayout" Target="../slideLayouts/slideLayout2365.xml"/><Relationship Id="rId199" Type="http://schemas.openxmlformats.org/officeDocument/2006/relationships/slideLayout" Target="../slideLayouts/slideLayout2482.xml"/><Relationship Id="rId203" Type="http://schemas.openxmlformats.org/officeDocument/2006/relationships/slideLayout" Target="../slideLayouts/slideLayout2486.xml"/><Relationship Id="rId19" Type="http://schemas.openxmlformats.org/officeDocument/2006/relationships/slideLayout" Target="../slideLayouts/slideLayout2302.xml"/><Relationship Id="rId224" Type="http://schemas.openxmlformats.org/officeDocument/2006/relationships/slideLayout" Target="../slideLayouts/slideLayout2507.xml"/><Relationship Id="rId245" Type="http://schemas.openxmlformats.org/officeDocument/2006/relationships/slideLayout" Target="../slideLayouts/slideLayout2528.xml"/><Relationship Id="rId266" Type="http://schemas.openxmlformats.org/officeDocument/2006/relationships/slideLayout" Target="../slideLayouts/slideLayout2549.xml"/><Relationship Id="rId287" Type="http://schemas.openxmlformats.org/officeDocument/2006/relationships/theme" Target="../theme/theme18.xml"/><Relationship Id="rId30" Type="http://schemas.openxmlformats.org/officeDocument/2006/relationships/slideLayout" Target="../slideLayouts/slideLayout2313.xml"/><Relationship Id="rId105" Type="http://schemas.openxmlformats.org/officeDocument/2006/relationships/slideLayout" Target="../slideLayouts/slideLayout2388.xml"/><Relationship Id="rId126" Type="http://schemas.openxmlformats.org/officeDocument/2006/relationships/slideLayout" Target="../slideLayouts/slideLayout2409.xml"/><Relationship Id="rId147" Type="http://schemas.openxmlformats.org/officeDocument/2006/relationships/slideLayout" Target="../slideLayouts/slideLayout2430.xml"/><Relationship Id="rId168" Type="http://schemas.openxmlformats.org/officeDocument/2006/relationships/slideLayout" Target="../slideLayouts/slideLayout2451.xml"/><Relationship Id="rId51" Type="http://schemas.openxmlformats.org/officeDocument/2006/relationships/slideLayout" Target="../slideLayouts/slideLayout2334.xml"/><Relationship Id="rId72" Type="http://schemas.openxmlformats.org/officeDocument/2006/relationships/slideLayout" Target="../slideLayouts/slideLayout2355.xml"/><Relationship Id="rId93" Type="http://schemas.openxmlformats.org/officeDocument/2006/relationships/slideLayout" Target="../slideLayouts/slideLayout2376.xml"/><Relationship Id="rId189" Type="http://schemas.openxmlformats.org/officeDocument/2006/relationships/slideLayout" Target="../slideLayouts/slideLayout2472.xml"/><Relationship Id="rId3" Type="http://schemas.openxmlformats.org/officeDocument/2006/relationships/slideLayout" Target="../slideLayouts/slideLayout2286.xml"/><Relationship Id="rId214" Type="http://schemas.openxmlformats.org/officeDocument/2006/relationships/slideLayout" Target="../slideLayouts/slideLayout2497.xml"/><Relationship Id="rId235" Type="http://schemas.openxmlformats.org/officeDocument/2006/relationships/slideLayout" Target="../slideLayouts/slideLayout2518.xml"/><Relationship Id="rId256" Type="http://schemas.openxmlformats.org/officeDocument/2006/relationships/slideLayout" Target="../slideLayouts/slideLayout2539.xml"/><Relationship Id="rId277" Type="http://schemas.openxmlformats.org/officeDocument/2006/relationships/slideLayout" Target="../slideLayouts/slideLayout2560.xml"/><Relationship Id="rId116" Type="http://schemas.openxmlformats.org/officeDocument/2006/relationships/slideLayout" Target="../slideLayouts/slideLayout2399.xml"/><Relationship Id="rId137" Type="http://schemas.openxmlformats.org/officeDocument/2006/relationships/slideLayout" Target="../slideLayouts/slideLayout2420.xml"/><Relationship Id="rId158" Type="http://schemas.openxmlformats.org/officeDocument/2006/relationships/slideLayout" Target="../slideLayouts/slideLayout2441.xml"/><Relationship Id="rId20" Type="http://schemas.openxmlformats.org/officeDocument/2006/relationships/slideLayout" Target="../slideLayouts/slideLayout2303.xml"/><Relationship Id="rId41" Type="http://schemas.openxmlformats.org/officeDocument/2006/relationships/slideLayout" Target="../slideLayouts/slideLayout2324.xml"/><Relationship Id="rId62" Type="http://schemas.openxmlformats.org/officeDocument/2006/relationships/slideLayout" Target="../slideLayouts/slideLayout2345.xml"/><Relationship Id="rId83" Type="http://schemas.openxmlformats.org/officeDocument/2006/relationships/slideLayout" Target="../slideLayouts/slideLayout2366.xml"/><Relationship Id="rId179" Type="http://schemas.openxmlformats.org/officeDocument/2006/relationships/slideLayout" Target="../slideLayouts/slideLayout2462.xml"/><Relationship Id="rId190" Type="http://schemas.openxmlformats.org/officeDocument/2006/relationships/slideLayout" Target="../slideLayouts/slideLayout2473.xml"/><Relationship Id="rId204" Type="http://schemas.openxmlformats.org/officeDocument/2006/relationships/slideLayout" Target="../slideLayouts/slideLayout2487.xml"/><Relationship Id="rId225" Type="http://schemas.openxmlformats.org/officeDocument/2006/relationships/slideLayout" Target="../slideLayouts/slideLayout2508.xml"/><Relationship Id="rId246" Type="http://schemas.openxmlformats.org/officeDocument/2006/relationships/slideLayout" Target="../slideLayouts/slideLayout2529.xml"/><Relationship Id="rId267" Type="http://schemas.openxmlformats.org/officeDocument/2006/relationships/slideLayout" Target="../slideLayouts/slideLayout2550.xml"/><Relationship Id="rId106" Type="http://schemas.openxmlformats.org/officeDocument/2006/relationships/slideLayout" Target="../slideLayouts/slideLayout2389.xml"/><Relationship Id="rId127" Type="http://schemas.openxmlformats.org/officeDocument/2006/relationships/slideLayout" Target="../slideLayouts/slideLayout2410.xml"/><Relationship Id="rId10" Type="http://schemas.openxmlformats.org/officeDocument/2006/relationships/slideLayout" Target="../slideLayouts/slideLayout2293.xml"/><Relationship Id="rId31" Type="http://schemas.openxmlformats.org/officeDocument/2006/relationships/slideLayout" Target="../slideLayouts/slideLayout2314.xml"/><Relationship Id="rId52" Type="http://schemas.openxmlformats.org/officeDocument/2006/relationships/slideLayout" Target="../slideLayouts/slideLayout2335.xml"/><Relationship Id="rId73" Type="http://schemas.openxmlformats.org/officeDocument/2006/relationships/slideLayout" Target="../slideLayouts/slideLayout2356.xml"/><Relationship Id="rId94" Type="http://schemas.openxmlformats.org/officeDocument/2006/relationships/slideLayout" Target="../slideLayouts/slideLayout2377.xml"/><Relationship Id="rId148" Type="http://schemas.openxmlformats.org/officeDocument/2006/relationships/slideLayout" Target="../slideLayouts/slideLayout2431.xml"/><Relationship Id="rId169" Type="http://schemas.openxmlformats.org/officeDocument/2006/relationships/slideLayout" Target="../slideLayouts/slideLayout2452.xml"/><Relationship Id="rId4" Type="http://schemas.openxmlformats.org/officeDocument/2006/relationships/slideLayout" Target="../slideLayouts/slideLayout2287.xml"/><Relationship Id="rId180" Type="http://schemas.openxmlformats.org/officeDocument/2006/relationships/slideLayout" Target="../slideLayouts/slideLayout2463.xml"/><Relationship Id="rId215" Type="http://schemas.openxmlformats.org/officeDocument/2006/relationships/slideLayout" Target="../slideLayouts/slideLayout2498.xml"/><Relationship Id="rId236" Type="http://schemas.openxmlformats.org/officeDocument/2006/relationships/slideLayout" Target="../slideLayouts/slideLayout2519.xml"/><Relationship Id="rId257" Type="http://schemas.openxmlformats.org/officeDocument/2006/relationships/slideLayout" Target="../slideLayouts/slideLayout2540.xml"/><Relationship Id="rId278" Type="http://schemas.openxmlformats.org/officeDocument/2006/relationships/slideLayout" Target="../slideLayouts/slideLayout2561.xml"/><Relationship Id="rId42" Type="http://schemas.openxmlformats.org/officeDocument/2006/relationships/slideLayout" Target="../slideLayouts/slideLayout2325.xml"/><Relationship Id="rId84" Type="http://schemas.openxmlformats.org/officeDocument/2006/relationships/slideLayout" Target="../slideLayouts/slideLayout2367.xml"/><Relationship Id="rId138" Type="http://schemas.openxmlformats.org/officeDocument/2006/relationships/slideLayout" Target="../slideLayouts/slideLayout2421.xml"/><Relationship Id="rId191" Type="http://schemas.openxmlformats.org/officeDocument/2006/relationships/slideLayout" Target="../slideLayouts/slideLayout2474.xml"/><Relationship Id="rId205" Type="http://schemas.openxmlformats.org/officeDocument/2006/relationships/slideLayout" Target="../slideLayouts/slideLayout2488.xml"/><Relationship Id="rId247" Type="http://schemas.openxmlformats.org/officeDocument/2006/relationships/slideLayout" Target="../slideLayouts/slideLayout2530.xml"/><Relationship Id="rId107" Type="http://schemas.openxmlformats.org/officeDocument/2006/relationships/slideLayout" Target="../slideLayouts/slideLayout2390.xml"/><Relationship Id="rId11" Type="http://schemas.openxmlformats.org/officeDocument/2006/relationships/slideLayout" Target="../slideLayouts/slideLayout2294.xml"/><Relationship Id="rId53" Type="http://schemas.openxmlformats.org/officeDocument/2006/relationships/slideLayout" Target="../slideLayouts/slideLayout2336.xml"/><Relationship Id="rId149" Type="http://schemas.openxmlformats.org/officeDocument/2006/relationships/slideLayout" Target="../slideLayouts/slideLayout2432.xml"/><Relationship Id="rId95" Type="http://schemas.openxmlformats.org/officeDocument/2006/relationships/slideLayout" Target="../slideLayouts/slideLayout2378.xml"/><Relationship Id="rId160" Type="http://schemas.openxmlformats.org/officeDocument/2006/relationships/slideLayout" Target="../slideLayouts/slideLayout2443.xml"/><Relationship Id="rId216" Type="http://schemas.openxmlformats.org/officeDocument/2006/relationships/slideLayout" Target="../slideLayouts/slideLayout2499.xml"/><Relationship Id="rId258" Type="http://schemas.openxmlformats.org/officeDocument/2006/relationships/slideLayout" Target="../slideLayouts/slideLayout2541.xml"/><Relationship Id="rId22" Type="http://schemas.openxmlformats.org/officeDocument/2006/relationships/slideLayout" Target="../slideLayouts/slideLayout2305.xml"/><Relationship Id="rId64" Type="http://schemas.openxmlformats.org/officeDocument/2006/relationships/slideLayout" Target="../slideLayouts/slideLayout2347.xml"/><Relationship Id="rId118" Type="http://schemas.openxmlformats.org/officeDocument/2006/relationships/slideLayout" Target="../slideLayouts/slideLayout2401.xml"/></Relationships>
</file>

<file path=ppt/slideMasters/_rels/slideMaster19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2686.xml"/><Relationship Id="rId21" Type="http://schemas.openxmlformats.org/officeDocument/2006/relationships/slideLayout" Target="../slideLayouts/slideLayout2590.xml"/><Relationship Id="rId63" Type="http://schemas.openxmlformats.org/officeDocument/2006/relationships/slideLayout" Target="../slideLayouts/slideLayout2632.xml"/><Relationship Id="rId159" Type="http://schemas.openxmlformats.org/officeDocument/2006/relationships/slideLayout" Target="../slideLayouts/slideLayout2728.xml"/><Relationship Id="rId170" Type="http://schemas.openxmlformats.org/officeDocument/2006/relationships/slideLayout" Target="../slideLayouts/slideLayout2739.xml"/><Relationship Id="rId226" Type="http://schemas.openxmlformats.org/officeDocument/2006/relationships/slideLayout" Target="../slideLayouts/slideLayout2795.xml"/><Relationship Id="rId268" Type="http://schemas.openxmlformats.org/officeDocument/2006/relationships/slideLayout" Target="../slideLayouts/slideLayout2837.xml"/><Relationship Id="rId32" Type="http://schemas.openxmlformats.org/officeDocument/2006/relationships/slideLayout" Target="../slideLayouts/slideLayout2601.xml"/><Relationship Id="rId74" Type="http://schemas.openxmlformats.org/officeDocument/2006/relationships/slideLayout" Target="../slideLayouts/slideLayout2643.xml"/><Relationship Id="rId128" Type="http://schemas.openxmlformats.org/officeDocument/2006/relationships/slideLayout" Target="../slideLayouts/slideLayout2697.xml"/><Relationship Id="rId5" Type="http://schemas.openxmlformats.org/officeDocument/2006/relationships/slideLayout" Target="../slideLayouts/slideLayout2574.xml"/><Relationship Id="rId181" Type="http://schemas.openxmlformats.org/officeDocument/2006/relationships/slideLayout" Target="../slideLayouts/slideLayout2750.xml"/><Relationship Id="rId237" Type="http://schemas.openxmlformats.org/officeDocument/2006/relationships/slideLayout" Target="../slideLayouts/slideLayout2806.xml"/><Relationship Id="rId279" Type="http://schemas.openxmlformats.org/officeDocument/2006/relationships/slideLayout" Target="../slideLayouts/slideLayout2848.xml"/><Relationship Id="rId43" Type="http://schemas.openxmlformats.org/officeDocument/2006/relationships/slideLayout" Target="../slideLayouts/slideLayout2612.xml"/><Relationship Id="rId139" Type="http://schemas.openxmlformats.org/officeDocument/2006/relationships/slideLayout" Target="../slideLayouts/slideLayout2708.xml"/><Relationship Id="rId85" Type="http://schemas.openxmlformats.org/officeDocument/2006/relationships/slideLayout" Target="../slideLayouts/slideLayout2654.xml"/><Relationship Id="rId150" Type="http://schemas.openxmlformats.org/officeDocument/2006/relationships/slideLayout" Target="../slideLayouts/slideLayout2719.xml"/><Relationship Id="rId171" Type="http://schemas.openxmlformats.org/officeDocument/2006/relationships/slideLayout" Target="../slideLayouts/slideLayout2740.xml"/><Relationship Id="rId192" Type="http://schemas.openxmlformats.org/officeDocument/2006/relationships/slideLayout" Target="../slideLayouts/slideLayout2761.xml"/><Relationship Id="rId206" Type="http://schemas.openxmlformats.org/officeDocument/2006/relationships/slideLayout" Target="../slideLayouts/slideLayout2775.xml"/><Relationship Id="rId227" Type="http://schemas.openxmlformats.org/officeDocument/2006/relationships/slideLayout" Target="../slideLayouts/slideLayout2796.xml"/><Relationship Id="rId248" Type="http://schemas.openxmlformats.org/officeDocument/2006/relationships/slideLayout" Target="../slideLayouts/slideLayout2817.xml"/><Relationship Id="rId269" Type="http://schemas.openxmlformats.org/officeDocument/2006/relationships/slideLayout" Target="../slideLayouts/slideLayout2838.xml"/><Relationship Id="rId12" Type="http://schemas.openxmlformats.org/officeDocument/2006/relationships/slideLayout" Target="../slideLayouts/slideLayout2581.xml"/><Relationship Id="rId33" Type="http://schemas.openxmlformats.org/officeDocument/2006/relationships/slideLayout" Target="../slideLayouts/slideLayout2602.xml"/><Relationship Id="rId108" Type="http://schemas.openxmlformats.org/officeDocument/2006/relationships/slideLayout" Target="../slideLayouts/slideLayout2677.xml"/><Relationship Id="rId129" Type="http://schemas.openxmlformats.org/officeDocument/2006/relationships/slideLayout" Target="../slideLayouts/slideLayout2698.xml"/><Relationship Id="rId280" Type="http://schemas.openxmlformats.org/officeDocument/2006/relationships/slideLayout" Target="../slideLayouts/slideLayout2849.xml"/><Relationship Id="rId54" Type="http://schemas.openxmlformats.org/officeDocument/2006/relationships/slideLayout" Target="../slideLayouts/slideLayout2623.xml"/><Relationship Id="rId75" Type="http://schemas.openxmlformats.org/officeDocument/2006/relationships/slideLayout" Target="../slideLayouts/slideLayout2644.xml"/><Relationship Id="rId96" Type="http://schemas.openxmlformats.org/officeDocument/2006/relationships/slideLayout" Target="../slideLayouts/slideLayout2665.xml"/><Relationship Id="rId140" Type="http://schemas.openxmlformats.org/officeDocument/2006/relationships/slideLayout" Target="../slideLayouts/slideLayout2709.xml"/><Relationship Id="rId161" Type="http://schemas.openxmlformats.org/officeDocument/2006/relationships/slideLayout" Target="../slideLayouts/slideLayout2730.xml"/><Relationship Id="rId182" Type="http://schemas.openxmlformats.org/officeDocument/2006/relationships/slideLayout" Target="../slideLayouts/slideLayout2751.xml"/><Relationship Id="rId217" Type="http://schemas.openxmlformats.org/officeDocument/2006/relationships/slideLayout" Target="../slideLayouts/slideLayout2786.xml"/><Relationship Id="rId6" Type="http://schemas.openxmlformats.org/officeDocument/2006/relationships/slideLayout" Target="../slideLayouts/slideLayout2575.xml"/><Relationship Id="rId238" Type="http://schemas.openxmlformats.org/officeDocument/2006/relationships/slideLayout" Target="../slideLayouts/slideLayout2807.xml"/><Relationship Id="rId259" Type="http://schemas.openxmlformats.org/officeDocument/2006/relationships/slideLayout" Target="../slideLayouts/slideLayout2828.xml"/><Relationship Id="rId23" Type="http://schemas.openxmlformats.org/officeDocument/2006/relationships/slideLayout" Target="../slideLayouts/slideLayout2592.xml"/><Relationship Id="rId119" Type="http://schemas.openxmlformats.org/officeDocument/2006/relationships/slideLayout" Target="../slideLayouts/slideLayout2688.xml"/><Relationship Id="rId270" Type="http://schemas.openxmlformats.org/officeDocument/2006/relationships/slideLayout" Target="../slideLayouts/slideLayout2839.xml"/><Relationship Id="rId44" Type="http://schemas.openxmlformats.org/officeDocument/2006/relationships/slideLayout" Target="../slideLayouts/slideLayout2613.xml"/><Relationship Id="rId65" Type="http://schemas.openxmlformats.org/officeDocument/2006/relationships/slideLayout" Target="../slideLayouts/slideLayout2634.xml"/><Relationship Id="rId86" Type="http://schemas.openxmlformats.org/officeDocument/2006/relationships/slideLayout" Target="../slideLayouts/slideLayout2655.xml"/><Relationship Id="rId130" Type="http://schemas.openxmlformats.org/officeDocument/2006/relationships/slideLayout" Target="../slideLayouts/slideLayout2699.xml"/><Relationship Id="rId151" Type="http://schemas.openxmlformats.org/officeDocument/2006/relationships/slideLayout" Target="../slideLayouts/slideLayout2720.xml"/><Relationship Id="rId172" Type="http://schemas.openxmlformats.org/officeDocument/2006/relationships/slideLayout" Target="../slideLayouts/slideLayout2741.xml"/><Relationship Id="rId193" Type="http://schemas.openxmlformats.org/officeDocument/2006/relationships/slideLayout" Target="../slideLayouts/slideLayout2762.xml"/><Relationship Id="rId207" Type="http://schemas.openxmlformats.org/officeDocument/2006/relationships/slideLayout" Target="../slideLayouts/slideLayout2776.xml"/><Relationship Id="rId228" Type="http://schemas.openxmlformats.org/officeDocument/2006/relationships/slideLayout" Target="../slideLayouts/slideLayout2797.xml"/><Relationship Id="rId249" Type="http://schemas.openxmlformats.org/officeDocument/2006/relationships/slideLayout" Target="../slideLayouts/slideLayout2818.xml"/><Relationship Id="rId13" Type="http://schemas.openxmlformats.org/officeDocument/2006/relationships/slideLayout" Target="../slideLayouts/slideLayout2582.xml"/><Relationship Id="rId109" Type="http://schemas.openxmlformats.org/officeDocument/2006/relationships/slideLayout" Target="../slideLayouts/slideLayout2678.xml"/><Relationship Id="rId260" Type="http://schemas.openxmlformats.org/officeDocument/2006/relationships/slideLayout" Target="../slideLayouts/slideLayout2829.xml"/><Relationship Id="rId281" Type="http://schemas.openxmlformats.org/officeDocument/2006/relationships/slideLayout" Target="../slideLayouts/slideLayout2850.xml"/><Relationship Id="rId34" Type="http://schemas.openxmlformats.org/officeDocument/2006/relationships/slideLayout" Target="../slideLayouts/slideLayout2603.xml"/><Relationship Id="rId55" Type="http://schemas.openxmlformats.org/officeDocument/2006/relationships/slideLayout" Target="../slideLayouts/slideLayout2624.xml"/><Relationship Id="rId76" Type="http://schemas.openxmlformats.org/officeDocument/2006/relationships/slideLayout" Target="../slideLayouts/slideLayout2645.xml"/><Relationship Id="rId97" Type="http://schemas.openxmlformats.org/officeDocument/2006/relationships/slideLayout" Target="../slideLayouts/slideLayout2666.xml"/><Relationship Id="rId120" Type="http://schemas.openxmlformats.org/officeDocument/2006/relationships/slideLayout" Target="../slideLayouts/slideLayout2689.xml"/><Relationship Id="rId141" Type="http://schemas.openxmlformats.org/officeDocument/2006/relationships/slideLayout" Target="../slideLayouts/slideLayout2710.xml"/><Relationship Id="rId7" Type="http://schemas.openxmlformats.org/officeDocument/2006/relationships/slideLayout" Target="../slideLayouts/slideLayout2576.xml"/><Relationship Id="rId162" Type="http://schemas.openxmlformats.org/officeDocument/2006/relationships/slideLayout" Target="../slideLayouts/slideLayout2731.xml"/><Relationship Id="rId183" Type="http://schemas.openxmlformats.org/officeDocument/2006/relationships/slideLayout" Target="../slideLayouts/slideLayout2752.xml"/><Relationship Id="rId218" Type="http://schemas.openxmlformats.org/officeDocument/2006/relationships/slideLayout" Target="../slideLayouts/slideLayout2787.xml"/><Relationship Id="rId239" Type="http://schemas.openxmlformats.org/officeDocument/2006/relationships/slideLayout" Target="../slideLayouts/slideLayout2808.xml"/><Relationship Id="rId250" Type="http://schemas.openxmlformats.org/officeDocument/2006/relationships/slideLayout" Target="../slideLayouts/slideLayout2819.xml"/><Relationship Id="rId271" Type="http://schemas.openxmlformats.org/officeDocument/2006/relationships/slideLayout" Target="../slideLayouts/slideLayout2840.xml"/><Relationship Id="rId24" Type="http://schemas.openxmlformats.org/officeDocument/2006/relationships/slideLayout" Target="../slideLayouts/slideLayout2593.xml"/><Relationship Id="rId45" Type="http://schemas.openxmlformats.org/officeDocument/2006/relationships/slideLayout" Target="../slideLayouts/slideLayout2614.xml"/><Relationship Id="rId66" Type="http://schemas.openxmlformats.org/officeDocument/2006/relationships/slideLayout" Target="../slideLayouts/slideLayout2635.xml"/><Relationship Id="rId87" Type="http://schemas.openxmlformats.org/officeDocument/2006/relationships/slideLayout" Target="../slideLayouts/slideLayout2656.xml"/><Relationship Id="rId110" Type="http://schemas.openxmlformats.org/officeDocument/2006/relationships/slideLayout" Target="../slideLayouts/slideLayout2679.xml"/><Relationship Id="rId131" Type="http://schemas.openxmlformats.org/officeDocument/2006/relationships/slideLayout" Target="../slideLayouts/slideLayout2700.xml"/><Relationship Id="rId152" Type="http://schemas.openxmlformats.org/officeDocument/2006/relationships/slideLayout" Target="../slideLayouts/slideLayout2721.xml"/><Relationship Id="rId173" Type="http://schemas.openxmlformats.org/officeDocument/2006/relationships/slideLayout" Target="../slideLayouts/slideLayout2742.xml"/><Relationship Id="rId194" Type="http://schemas.openxmlformats.org/officeDocument/2006/relationships/slideLayout" Target="../slideLayouts/slideLayout2763.xml"/><Relationship Id="rId208" Type="http://schemas.openxmlformats.org/officeDocument/2006/relationships/slideLayout" Target="../slideLayouts/slideLayout2777.xml"/><Relationship Id="rId229" Type="http://schemas.openxmlformats.org/officeDocument/2006/relationships/slideLayout" Target="../slideLayouts/slideLayout2798.xml"/><Relationship Id="rId240" Type="http://schemas.openxmlformats.org/officeDocument/2006/relationships/slideLayout" Target="../slideLayouts/slideLayout2809.xml"/><Relationship Id="rId261" Type="http://schemas.openxmlformats.org/officeDocument/2006/relationships/slideLayout" Target="../slideLayouts/slideLayout2830.xml"/><Relationship Id="rId14" Type="http://schemas.openxmlformats.org/officeDocument/2006/relationships/slideLayout" Target="../slideLayouts/slideLayout2583.xml"/><Relationship Id="rId35" Type="http://schemas.openxmlformats.org/officeDocument/2006/relationships/slideLayout" Target="../slideLayouts/slideLayout2604.xml"/><Relationship Id="rId56" Type="http://schemas.openxmlformats.org/officeDocument/2006/relationships/slideLayout" Target="../slideLayouts/slideLayout2625.xml"/><Relationship Id="rId77" Type="http://schemas.openxmlformats.org/officeDocument/2006/relationships/slideLayout" Target="../slideLayouts/slideLayout2646.xml"/><Relationship Id="rId100" Type="http://schemas.openxmlformats.org/officeDocument/2006/relationships/slideLayout" Target="../slideLayouts/slideLayout2669.xml"/><Relationship Id="rId282" Type="http://schemas.openxmlformats.org/officeDocument/2006/relationships/slideLayout" Target="../slideLayouts/slideLayout2851.xml"/><Relationship Id="rId8" Type="http://schemas.openxmlformats.org/officeDocument/2006/relationships/slideLayout" Target="../slideLayouts/slideLayout2577.xml"/><Relationship Id="rId98" Type="http://schemas.openxmlformats.org/officeDocument/2006/relationships/slideLayout" Target="../slideLayouts/slideLayout2667.xml"/><Relationship Id="rId121" Type="http://schemas.openxmlformats.org/officeDocument/2006/relationships/slideLayout" Target="../slideLayouts/slideLayout2690.xml"/><Relationship Id="rId142" Type="http://schemas.openxmlformats.org/officeDocument/2006/relationships/slideLayout" Target="../slideLayouts/slideLayout2711.xml"/><Relationship Id="rId163" Type="http://schemas.openxmlformats.org/officeDocument/2006/relationships/slideLayout" Target="../slideLayouts/slideLayout2732.xml"/><Relationship Id="rId184" Type="http://schemas.openxmlformats.org/officeDocument/2006/relationships/slideLayout" Target="../slideLayouts/slideLayout2753.xml"/><Relationship Id="rId219" Type="http://schemas.openxmlformats.org/officeDocument/2006/relationships/slideLayout" Target="../slideLayouts/slideLayout2788.xml"/><Relationship Id="rId230" Type="http://schemas.openxmlformats.org/officeDocument/2006/relationships/slideLayout" Target="../slideLayouts/slideLayout2799.xml"/><Relationship Id="rId251" Type="http://schemas.openxmlformats.org/officeDocument/2006/relationships/slideLayout" Target="../slideLayouts/slideLayout2820.xml"/><Relationship Id="rId25" Type="http://schemas.openxmlformats.org/officeDocument/2006/relationships/slideLayout" Target="../slideLayouts/slideLayout2594.xml"/><Relationship Id="rId46" Type="http://schemas.openxmlformats.org/officeDocument/2006/relationships/slideLayout" Target="../slideLayouts/slideLayout2615.xml"/><Relationship Id="rId67" Type="http://schemas.openxmlformats.org/officeDocument/2006/relationships/slideLayout" Target="../slideLayouts/slideLayout2636.xml"/><Relationship Id="rId272" Type="http://schemas.openxmlformats.org/officeDocument/2006/relationships/slideLayout" Target="../slideLayouts/slideLayout2841.xml"/><Relationship Id="rId88" Type="http://schemas.openxmlformats.org/officeDocument/2006/relationships/slideLayout" Target="../slideLayouts/slideLayout2657.xml"/><Relationship Id="rId111" Type="http://schemas.openxmlformats.org/officeDocument/2006/relationships/slideLayout" Target="../slideLayouts/slideLayout2680.xml"/><Relationship Id="rId132" Type="http://schemas.openxmlformats.org/officeDocument/2006/relationships/slideLayout" Target="../slideLayouts/slideLayout2701.xml"/><Relationship Id="rId153" Type="http://schemas.openxmlformats.org/officeDocument/2006/relationships/slideLayout" Target="../slideLayouts/slideLayout2722.xml"/><Relationship Id="rId174" Type="http://schemas.openxmlformats.org/officeDocument/2006/relationships/slideLayout" Target="../slideLayouts/slideLayout2743.xml"/><Relationship Id="rId195" Type="http://schemas.openxmlformats.org/officeDocument/2006/relationships/slideLayout" Target="../slideLayouts/slideLayout2764.xml"/><Relationship Id="rId209" Type="http://schemas.openxmlformats.org/officeDocument/2006/relationships/slideLayout" Target="../slideLayouts/slideLayout2778.xml"/><Relationship Id="rId220" Type="http://schemas.openxmlformats.org/officeDocument/2006/relationships/slideLayout" Target="../slideLayouts/slideLayout2789.xml"/><Relationship Id="rId241" Type="http://schemas.openxmlformats.org/officeDocument/2006/relationships/slideLayout" Target="../slideLayouts/slideLayout2810.xml"/><Relationship Id="rId15" Type="http://schemas.openxmlformats.org/officeDocument/2006/relationships/slideLayout" Target="../slideLayouts/slideLayout2584.xml"/><Relationship Id="rId36" Type="http://schemas.openxmlformats.org/officeDocument/2006/relationships/slideLayout" Target="../slideLayouts/slideLayout2605.xml"/><Relationship Id="rId57" Type="http://schemas.openxmlformats.org/officeDocument/2006/relationships/slideLayout" Target="../slideLayouts/slideLayout2626.xml"/><Relationship Id="rId262" Type="http://schemas.openxmlformats.org/officeDocument/2006/relationships/slideLayout" Target="../slideLayouts/slideLayout2831.xml"/><Relationship Id="rId283" Type="http://schemas.openxmlformats.org/officeDocument/2006/relationships/slideLayout" Target="../slideLayouts/slideLayout2852.xml"/><Relationship Id="rId78" Type="http://schemas.openxmlformats.org/officeDocument/2006/relationships/slideLayout" Target="../slideLayouts/slideLayout2647.xml"/><Relationship Id="rId99" Type="http://schemas.openxmlformats.org/officeDocument/2006/relationships/slideLayout" Target="../slideLayouts/slideLayout2668.xml"/><Relationship Id="rId101" Type="http://schemas.openxmlformats.org/officeDocument/2006/relationships/slideLayout" Target="../slideLayouts/slideLayout2670.xml"/><Relationship Id="rId122" Type="http://schemas.openxmlformats.org/officeDocument/2006/relationships/slideLayout" Target="../slideLayouts/slideLayout2691.xml"/><Relationship Id="rId143" Type="http://schemas.openxmlformats.org/officeDocument/2006/relationships/slideLayout" Target="../slideLayouts/slideLayout2712.xml"/><Relationship Id="rId164" Type="http://schemas.openxmlformats.org/officeDocument/2006/relationships/slideLayout" Target="../slideLayouts/slideLayout2733.xml"/><Relationship Id="rId185" Type="http://schemas.openxmlformats.org/officeDocument/2006/relationships/slideLayout" Target="../slideLayouts/slideLayout2754.xml"/><Relationship Id="rId9" Type="http://schemas.openxmlformats.org/officeDocument/2006/relationships/slideLayout" Target="../slideLayouts/slideLayout2578.xml"/><Relationship Id="rId210" Type="http://schemas.openxmlformats.org/officeDocument/2006/relationships/slideLayout" Target="../slideLayouts/slideLayout2779.xml"/><Relationship Id="rId26" Type="http://schemas.openxmlformats.org/officeDocument/2006/relationships/slideLayout" Target="../slideLayouts/slideLayout2595.xml"/><Relationship Id="rId231" Type="http://schemas.openxmlformats.org/officeDocument/2006/relationships/slideLayout" Target="../slideLayouts/slideLayout2800.xml"/><Relationship Id="rId252" Type="http://schemas.openxmlformats.org/officeDocument/2006/relationships/slideLayout" Target="../slideLayouts/slideLayout2821.xml"/><Relationship Id="rId273" Type="http://schemas.openxmlformats.org/officeDocument/2006/relationships/slideLayout" Target="../slideLayouts/slideLayout2842.xml"/><Relationship Id="rId47" Type="http://schemas.openxmlformats.org/officeDocument/2006/relationships/slideLayout" Target="../slideLayouts/slideLayout2616.xml"/><Relationship Id="rId68" Type="http://schemas.openxmlformats.org/officeDocument/2006/relationships/slideLayout" Target="../slideLayouts/slideLayout2637.xml"/><Relationship Id="rId89" Type="http://schemas.openxmlformats.org/officeDocument/2006/relationships/slideLayout" Target="../slideLayouts/slideLayout2658.xml"/><Relationship Id="rId112" Type="http://schemas.openxmlformats.org/officeDocument/2006/relationships/slideLayout" Target="../slideLayouts/slideLayout2681.xml"/><Relationship Id="rId133" Type="http://schemas.openxmlformats.org/officeDocument/2006/relationships/slideLayout" Target="../slideLayouts/slideLayout2702.xml"/><Relationship Id="rId154" Type="http://schemas.openxmlformats.org/officeDocument/2006/relationships/slideLayout" Target="../slideLayouts/slideLayout2723.xml"/><Relationship Id="rId175" Type="http://schemas.openxmlformats.org/officeDocument/2006/relationships/slideLayout" Target="../slideLayouts/slideLayout2744.xml"/><Relationship Id="rId196" Type="http://schemas.openxmlformats.org/officeDocument/2006/relationships/slideLayout" Target="../slideLayouts/slideLayout2765.xml"/><Relationship Id="rId200" Type="http://schemas.openxmlformats.org/officeDocument/2006/relationships/slideLayout" Target="../slideLayouts/slideLayout2769.xml"/><Relationship Id="rId16" Type="http://schemas.openxmlformats.org/officeDocument/2006/relationships/slideLayout" Target="../slideLayouts/slideLayout2585.xml"/><Relationship Id="rId221" Type="http://schemas.openxmlformats.org/officeDocument/2006/relationships/slideLayout" Target="../slideLayouts/slideLayout2790.xml"/><Relationship Id="rId242" Type="http://schemas.openxmlformats.org/officeDocument/2006/relationships/slideLayout" Target="../slideLayouts/slideLayout2811.xml"/><Relationship Id="rId263" Type="http://schemas.openxmlformats.org/officeDocument/2006/relationships/slideLayout" Target="../slideLayouts/slideLayout2832.xml"/><Relationship Id="rId284" Type="http://schemas.openxmlformats.org/officeDocument/2006/relationships/slideLayout" Target="../slideLayouts/slideLayout2853.xml"/><Relationship Id="rId37" Type="http://schemas.openxmlformats.org/officeDocument/2006/relationships/slideLayout" Target="../slideLayouts/slideLayout2606.xml"/><Relationship Id="rId58" Type="http://schemas.openxmlformats.org/officeDocument/2006/relationships/slideLayout" Target="../slideLayouts/slideLayout2627.xml"/><Relationship Id="rId79" Type="http://schemas.openxmlformats.org/officeDocument/2006/relationships/slideLayout" Target="../slideLayouts/slideLayout2648.xml"/><Relationship Id="rId102" Type="http://schemas.openxmlformats.org/officeDocument/2006/relationships/slideLayout" Target="../slideLayouts/slideLayout2671.xml"/><Relationship Id="rId123" Type="http://schemas.openxmlformats.org/officeDocument/2006/relationships/slideLayout" Target="../slideLayouts/slideLayout2692.xml"/><Relationship Id="rId144" Type="http://schemas.openxmlformats.org/officeDocument/2006/relationships/slideLayout" Target="../slideLayouts/slideLayout2713.xml"/><Relationship Id="rId90" Type="http://schemas.openxmlformats.org/officeDocument/2006/relationships/slideLayout" Target="../slideLayouts/slideLayout2659.xml"/><Relationship Id="rId165" Type="http://schemas.openxmlformats.org/officeDocument/2006/relationships/slideLayout" Target="../slideLayouts/slideLayout2734.xml"/><Relationship Id="rId186" Type="http://schemas.openxmlformats.org/officeDocument/2006/relationships/slideLayout" Target="../slideLayouts/slideLayout2755.xml"/><Relationship Id="rId211" Type="http://schemas.openxmlformats.org/officeDocument/2006/relationships/slideLayout" Target="../slideLayouts/slideLayout2780.xml"/><Relationship Id="rId232" Type="http://schemas.openxmlformats.org/officeDocument/2006/relationships/slideLayout" Target="../slideLayouts/slideLayout2801.xml"/><Relationship Id="rId253" Type="http://schemas.openxmlformats.org/officeDocument/2006/relationships/slideLayout" Target="../slideLayouts/slideLayout2822.xml"/><Relationship Id="rId274" Type="http://schemas.openxmlformats.org/officeDocument/2006/relationships/slideLayout" Target="../slideLayouts/slideLayout2843.xml"/><Relationship Id="rId27" Type="http://schemas.openxmlformats.org/officeDocument/2006/relationships/slideLayout" Target="../slideLayouts/slideLayout2596.xml"/><Relationship Id="rId48" Type="http://schemas.openxmlformats.org/officeDocument/2006/relationships/slideLayout" Target="../slideLayouts/slideLayout2617.xml"/><Relationship Id="rId69" Type="http://schemas.openxmlformats.org/officeDocument/2006/relationships/slideLayout" Target="../slideLayouts/slideLayout2638.xml"/><Relationship Id="rId113" Type="http://schemas.openxmlformats.org/officeDocument/2006/relationships/slideLayout" Target="../slideLayouts/slideLayout2682.xml"/><Relationship Id="rId134" Type="http://schemas.openxmlformats.org/officeDocument/2006/relationships/slideLayout" Target="../slideLayouts/slideLayout2703.xml"/><Relationship Id="rId80" Type="http://schemas.openxmlformats.org/officeDocument/2006/relationships/slideLayout" Target="../slideLayouts/slideLayout2649.xml"/><Relationship Id="rId155" Type="http://schemas.openxmlformats.org/officeDocument/2006/relationships/slideLayout" Target="../slideLayouts/slideLayout2724.xml"/><Relationship Id="rId176" Type="http://schemas.openxmlformats.org/officeDocument/2006/relationships/slideLayout" Target="../slideLayouts/slideLayout2745.xml"/><Relationship Id="rId197" Type="http://schemas.openxmlformats.org/officeDocument/2006/relationships/slideLayout" Target="../slideLayouts/slideLayout2766.xml"/><Relationship Id="rId201" Type="http://schemas.openxmlformats.org/officeDocument/2006/relationships/slideLayout" Target="../slideLayouts/slideLayout2770.xml"/><Relationship Id="rId222" Type="http://schemas.openxmlformats.org/officeDocument/2006/relationships/slideLayout" Target="../slideLayouts/slideLayout2791.xml"/><Relationship Id="rId243" Type="http://schemas.openxmlformats.org/officeDocument/2006/relationships/slideLayout" Target="../slideLayouts/slideLayout2812.xml"/><Relationship Id="rId264" Type="http://schemas.openxmlformats.org/officeDocument/2006/relationships/slideLayout" Target="../slideLayouts/slideLayout2833.xml"/><Relationship Id="rId285" Type="http://schemas.openxmlformats.org/officeDocument/2006/relationships/slideLayout" Target="../slideLayouts/slideLayout2854.xml"/><Relationship Id="rId17" Type="http://schemas.openxmlformats.org/officeDocument/2006/relationships/slideLayout" Target="../slideLayouts/slideLayout2586.xml"/><Relationship Id="rId38" Type="http://schemas.openxmlformats.org/officeDocument/2006/relationships/slideLayout" Target="../slideLayouts/slideLayout2607.xml"/><Relationship Id="rId59" Type="http://schemas.openxmlformats.org/officeDocument/2006/relationships/slideLayout" Target="../slideLayouts/slideLayout2628.xml"/><Relationship Id="rId103" Type="http://schemas.openxmlformats.org/officeDocument/2006/relationships/slideLayout" Target="../slideLayouts/slideLayout2672.xml"/><Relationship Id="rId124" Type="http://schemas.openxmlformats.org/officeDocument/2006/relationships/slideLayout" Target="../slideLayouts/slideLayout2693.xml"/><Relationship Id="rId70" Type="http://schemas.openxmlformats.org/officeDocument/2006/relationships/slideLayout" Target="../slideLayouts/slideLayout2639.xml"/><Relationship Id="rId91" Type="http://schemas.openxmlformats.org/officeDocument/2006/relationships/slideLayout" Target="../slideLayouts/slideLayout2660.xml"/><Relationship Id="rId145" Type="http://schemas.openxmlformats.org/officeDocument/2006/relationships/slideLayout" Target="../slideLayouts/slideLayout2714.xml"/><Relationship Id="rId166" Type="http://schemas.openxmlformats.org/officeDocument/2006/relationships/slideLayout" Target="../slideLayouts/slideLayout2735.xml"/><Relationship Id="rId187" Type="http://schemas.openxmlformats.org/officeDocument/2006/relationships/slideLayout" Target="../slideLayouts/slideLayout2756.xml"/><Relationship Id="rId1" Type="http://schemas.openxmlformats.org/officeDocument/2006/relationships/slideLayout" Target="../slideLayouts/slideLayout2570.xml"/><Relationship Id="rId212" Type="http://schemas.openxmlformats.org/officeDocument/2006/relationships/slideLayout" Target="../slideLayouts/slideLayout2781.xml"/><Relationship Id="rId233" Type="http://schemas.openxmlformats.org/officeDocument/2006/relationships/slideLayout" Target="../slideLayouts/slideLayout2802.xml"/><Relationship Id="rId254" Type="http://schemas.openxmlformats.org/officeDocument/2006/relationships/slideLayout" Target="../slideLayouts/slideLayout2823.xml"/><Relationship Id="rId28" Type="http://schemas.openxmlformats.org/officeDocument/2006/relationships/slideLayout" Target="../slideLayouts/slideLayout2597.xml"/><Relationship Id="rId49" Type="http://schemas.openxmlformats.org/officeDocument/2006/relationships/slideLayout" Target="../slideLayouts/slideLayout2618.xml"/><Relationship Id="rId114" Type="http://schemas.openxmlformats.org/officeDocument/2006/relationships/slideLayout" Target="../slideLayouts/slideLayout2683.xml"/><Relationship Id="rId275" Type="http://schemas.openxmlformats.org/officeDocument/2006/relationships/slideLayout" Target="../slideLayouts/slideLayout2844.xml"/><Relationship Id="rId60" Type="http://schemas.openxmlformats.org/officeDocument/2006/relationships/slideLayout" Target="../slideLayouts/slideLayout2629.xml"/><Relationship Id="rId81" Type="http://schemas.openxmlformats.org/officeDocument/2006/relationships/slideLayout" Target="../slideLayouts/slideLayout2650.xml"/><Relationship Id="rId135" Type="http://schemas.openxmlformats.org/officeDocument/2006/relationships/slideLayout" Target="../slideLayouts/slideLayout2704.xml"/><Relationship Id="rId156" Type="http://schemas.openxmlformats.org/officeDocument/2006/relationships/slideLayout" Target="../slideLayouts/slideLayout2725.xml"/><Relationship Id="rId177" Type="http://schemas.openxmlformats.org/officeDocument/2006/relationships/slideLayout" Target="../slideLayouts/slideLayout2746.xml"/><Relationship Id="rId198" Type="http://schemas.openxmlformats.org/officeDocument/2006/relationships/slideLayout" Target="../slideLayouts/slideLayout2767.xml"/><Relationship Id="rId202" Type="http://schemas.openxmlformats.org/officeDocument/2006/relationships/slideLayout" Target="../slideLayouts/slideLayout2771.xml"/><Relationship Id="rId223" Type="http://schemas.openxmlformats.org/officeDocument/2006/relationships/slideLayout" Target="../slideLayouts/slideLayout2792.xml"/><Relationship Id="rId244" Type="http://schemas.openxmlformats.org/officeDocument/2006/relationships/slideLayout" Target="../slideLayouts/slideLayout2813.xml"/><Relationship Id="rId18" Type="http://schemas.openxmlformats.org/officeDocument/2006/relationships/slideLayout" Target="../slideLayouts/slideLayout2587.xml"/><Relationship Id="rId39" Type="http://schemas.openxmlformats.org/officeDocument/2006/relationships/slideLayout" Target="../slideLayouts/slideLayout2608.xml"/><Relationship Id="rId265" Type="http://schemas.openxmlformats.org/officeDocument/2006/relationships/slideLayout" Target="../slideLayouts/slideLayout2834.xml"/><Relationship Id="rId286" Type="http://schemas.openxmlformats.org/officeDocument/2006/relationships/slideLayout" Target="../slideLayouts/slideLayout2855.xml"/><Relationship Id="rId50" Type="http://schemas.openxmlformats.org/officeDocument/2006/relationships/slideLayout" Target="../slideLayouts/slideLayout2619.xml"/><Relationship Id="rId104" Type="http://schemas.openxmlformats.org/officeDocument/2006/relationships/slideLayout" Target="../slideLayouts/slideLayout2673.xml"/><Relationship Id="rId125" Type="http://schemas.openxmlformats.org/officeDocument/2006/relationships/slideLayout" Target="../slideLayouts/slideLayout2694.xml"/><Relationship Id="rId146" Type="http://schemas.openxmlformats.org/officeDocument/2006/relationships/slideLayout" Target="../slideLayouts/slideLayout2715.xml"/><Relationship Id="rId167" Type="http://schemas.openxmlformats.org/officeDocument/2006/relationships/slideLayout" Target="../slideLayouts/slideLayout2736.xml"/><Relationship Id="rId188" Type="http://schemas.openxmlformats.org/officeDocument/2006/relationships/slideLayout" Target="../slideLayouts/slideLayout2757.xml"/><Relationship Id="rId71" Type="http://schemas.openxmlformats.org/officeDocument/2006/relationships/slideLayout" Target="../slideLayouts/slideLayout2640.xml"/><Relationship Id="rId92" Type="http://schemas.openxmlformats.org/officeDocument/2006/relationships/slideLayout" Target="../slideLayouts/slideLayout2661.xml"/><Relationship Id="rId213" Type="http://schemas.openxmlformats.org/officeDocument/2006/relationships/slideLayout" Target="../slideLayouts/slideLayout2782.xml"/><Relationship Id="rId234" Type="http://schemas.openxmlformats.org/officeDocument/2006/relationships/slideLayout" Target="../slideLayouts/slideLayout2803.xml"/><Relationship Id="rId2" Type="http://schemas.openxmlformats.org/officeDocument/2006/relationships/slideLayout" Target="../slideLayouts/slideLayout2571.xml"/><Relationship Id="rId29" Type="http://schemas.openxmlformats.org/officeDocument/2006/relationships/slideLayout" Target="../slideLayouts/slideLayout2598.xml"/><Relationship Id="rId255" Type="http://schemas.openxmlformats.org/officeDocument/2006/relationships/slideLayout" Target="../slideLayouts/slideLayout2824.xml"/><Relationship Id="rId276" Type="http://schemas.openxmlformats.org/officeDocument/2006/relationships/slideLayout" Target="../slideLayouts/slideLayout2845.xml"/><Relationship Id="rId40" Type="http://schemas.openxmlformats.org/officeDocument/2006/relationships/slideLayout" Target="../slideLayouts/slideLayout2609.xml"/><Relationship Id="rId115" Type="http://schemas.openxmlformats.org/officeDocument/2006/relationships/slideLayout" Target="../slideLayouts/slideLayout2684.xml"/><Relationship Id="rId136" Type="http://schemas.openxmlformats.org/officeDocument/2006/relationships/slideLayout" Target="../slideLayouts/slideLayout2705.xml"/><Relationship Id="rId157" Type="http://schemas.openxmlformats.org/officeDocument/2006/relationships/slideLayout" Target="../slideLayouts/slideLayout2726.xml"/><Relationship Id="rId178" Type="http://schemas.openxmlformats.org/officeDocument/2006/relationships/slideLayout" Target="../slideLayouts/slideLayout2747.xml"/><Relationship Id="rId61" Type="http://schemas.openxmlformats.org/officeDocument/2006/relationships/slideLayout" Target="../slideLayouts/slideLayout2630.xml"/><Relationship Id="rId82" Type="http://schemas.openxmlformats.org/officeDocument/2006/relationships/slideLayout" Target="../slideLayouts/slideLayout2651.xml"/><Relationship Id="rId199" Type="http://schemas.openxmlformats.org/officeDocument/2006/relationships/slideLayout" Target="../slideLayouts/slideLayout2768.xml"/><Relationship Id="rId203" Type="http://schemas.openxmlformats.org/officeDocument/2006/relationships/slideLayout" Target="../slideLayouts/slideLayout2772.xml"/><Relationship Id="rId19" Type="http://schemas.openxmlformats.org/officeDocument/2006/relationships/slideLayout" Target="../slideLayouts/slideLayout2588.xml"/><Relationship Id="rId224" Type="http://schemas.openxmlformats.org/officeDocument/2006/relationships/slideLayout" Target="../slideLayouts/slideLayout2793.xml"/><Relationship Id="rId245" Type="http://schemas.openxmlformats.org/officeDocument/2006/relationships/slideLayout" Target="../slideLayouts/slideLayout2814.xml"/><Relationship Id="rId266" Type="http://schemas.openxmlformats.org/officeDocument/2006/relationships/slideLayout" Target="../slideLayouts/slideLayout2835.xml"/><Relationship Id="rId287" Type="http://schemas.openxmlformats.org/officeDocument/2006/relationships/theme" Target="../theme/theme19.xml"/><Relationship Id="rId30" Type="http://schemas.openxmlformats.org/officeDocument/2006/relationships/slideLayout" Target="../slideLayouts/slideLayout2599.xml"/><Relationship Id="rId105" Type="http://schemas.openxmlformats.org/officeDocument/2006/relationships/slideLayout" Target="../slideLayouts/slideLayout2674.xml"/><Relationship Id="rId126" Type="http://schemas.openxmlformats.org/officeDocument/2006/relationships/slideLayout" Target="../slideLayouts/slideLayout2695.xml"/><Relationship Id="rId147" Type="http://schemas.openxmlformats.org/officeDocument/2006/relationships/slideLayout" Target="../slideLayouts/slideLayout2716.xml"/><Relationship Id="rId168" Type="http://schemas.openxmlformats.org/officeDocument/2006/relationships/slideLayout" Target="../slideLayouts/slideLayout2737.xml"/><Relationship Id="rId51" Type="http://schemas.openxmlformats.org/officeDocument/2006/relationships/slideLayout" Target="../slideLayouts/slideLayout2620.xml"/><Relationship Id="rId72" Type="http://schemas.openxmlformats.org/officeDocument/2006/relationships/slideLayout" Target="../slideLayouts/slideLayout2641.xml"/><Relationship Id="rId93" Type="http://schemas.openxmlformats.org/officeDocument/2006/relationships/slideLayout" Target="../slideLayouts/slideLayout2662.xml"/><Relationship Id="rId189" Type="http://schemas.openxmlformats.org/officeDocument/2006/relationships/slideLayout" Target="../slideLayouts/slideLayout2758.xml"/><Relationship Id="rId3" Type="http://schemas.openxmlformats.org/officeDocument/2006/relationships/slideLayout" Target="../slideLayouts/slideLayout2572.xml"/><Relationship Id="rId214" Type="http://schemas.openxmlformats.org/officeDocument/2006/relationships/slideLayout" Target="../slideLayouts/slideLayout2783.xml"/><Relationship Id="rId235" Type="http://schemas.openxmlformats.org/officeDocument/2006/relationships/slideLayout" Target="../slideLayouts/slideLayout2804.xml"/><Relationship Id="rId256" Type="http://schemas.openxmlformats.org/officeDocument/2006/relationships/slideLayout" Target="../slideLayouts/slideLayout2825.xml"/><Relationship Id="rId277" Type="http://schemas.openxmlformats.org/officeDocument/2006/relationships/slideLayout" Target="../slideLayouts/slideLayout2846.xml"/><Relationship Id="rId116" Type="http://schemas.openxmlformats.org/officeDocument/2006/relationships/slideLayout" Target="../slideLayouts/slideLayout2685.xml"/><Relationship Id="rId137" Type="http://schemas.openxmlformats.org/officeDocument/2006/relationships/slideLayout" Target="../slideLayouts/slideLayout2706.xml"/><Relationship Id="rId158" Type="http://schemas.openxmlformats.org/officeDocument/2006/relationships/slideLayout" Target="../slideLayouts/slideLayout2727.xml"/><Relationship Id="rId20" Type="http://schemas.openxmlformats.org/officeDocument/2006/relationships/slideLayout" Target="../slideLayouts/slideLayout2589.xml"/><Relationship Id="rId41" Type="http://schemas.openxmlformats.org/officeDocument/2006/relationships/slideLayout" Target="../slideLayouts/slideLayout2610.xml"/><Relationship Id="rId62" Type="http://schemas.openxmlformats.org/officeDocument/2006/relationships/slideLayout" Target="../slideLayouts/slideLayout2631.xml"/><Relationship Id="rId83" Type="http://schemas.openxmlformats.org/officeDocument/2006/relationships/slideLayout" Target="../slideLayouts/slideLayout2652.xml"/><Relationship Id="rId179" Type="http://schemas.openxmlformats.org/officeDocument/2006/relationships/slideLayout" Target="../slideLayouts/slideLayout2748.xml"/><Relationship Id="rId190" Type="http://schemas.openxmlformats.org/officeDocument/2006/relationships/slideLayout" Target="../slideLayouts/slideLayout2759.xml"/><Relationship Id="rId204" Type="http://schemas.openxmlformats.org/officeDocument/2006/relationships/slideLayout" Target="../slideLayouts/slideLayout2773.xml"/><Relationship Id="rId225" Type="http://schemas.openxmlformats.org/officeDocument/2006/relationships/slideLayout" Target="../slideLayouts/slideLayout2794.xml"/><Relationship Id="rId246" Type="http://schemas.openxmlformats.org/officeDocument/2006/relationships/slideLayout" Target="../slideLayouts/slideLayout2815.xml"/><Relationship Id="rId267" Type="http://schemas.openxmlformats.org/officeDocument/2006/relationships/slideLayout" Target="../slideLayouts/slideLayout2836.xml"/><Relationship Id="rId106" Type="http://schemas.openxmlformats.org/officeDocument/2006/relationships/slideLayout" Target="../slideLayouts/slideLayout2675.xml"/><Relationship Id="rId127" Type="http://schemas.openxmlformats.org/officeDocument/2006/relationships/slideLayout" Target="../slideLayouts/slideLayout2696.xml"/><Relationship Id="rId10" Type="http://schemas.openxmlformats.org/officeDocument/2006/relationships/slideLayout" Target="../slideLayouts/slideLayout2579.xml"/><Relationship Id="rId31" Type="http://schemas.openxmlformats.org/officeDocument/2006/relationships/slideLayout" Target="../slideLayouts/slideLayout2600.xml"/><Relationship Id="rId52" Type="http://schemas.openxmlformats.org/officeDocument/2006/relationships/slideLayout" Target="../slideLayouts/slideLayout2621.xml"/><Relationship Id="rId73" Type="http://schemas.openxmlformats.org/officeDocument/2006/relationships/slideLayout" Target="../slideLayouts/slideLayout2642.xml"/><Relationship Id="rId94" Type="http://schemas.openxmlformats.org/officeDocument/2006/relationships/slideLayout" Target="../slideLayouts/slideLayout2663.xml"/><Relationship Id="rId148" Type="http://schemas.openxmlformats.org/officeDocument/2006/relationships/slideLayout" Target="../slideLayouts/slideLayout2717.xml"/><Relationship Id="rId169" Type="http://schemas.openxmlformats.org/officeDocument/2006/relationships/slideLayout" Target="../slideLayouts/slideLayout2738.xml"/><Relationship Id="rId4" Type="http://schemas.openxmlformats.org/officeDocument/2006/relationships/slideLayout" Target="../slideLayouts/slideLayout2573.xml"/><Relationship Id="rId180" Type="http://schemas.openxmlformats.org/officeDocument/2006/relationships/slideLayout" Target="../slideLayouts/slideLayout2749.xml"/><Relationship Id="rId215" Type="http://schemas.openxmlformats.org/officeDocument/2006/relationships/slideLayout" Target="../slideLayouts/slideLayout2784.xml"/><Relationship Id="rId236" Type="http://schemas.openxmlformats.org/officeDocument/2006/relationships/slideLayout" Target="../slideLayouts/slideLayout2805.xml"/><Relationship Id="rId257" Type="http://schemas.openxmlformats.org/officeDocument/2006/relationships/slideLayout" Target="../slideLayouts/slideLayout2826.xml"/><Relationship Id="rId278" Type="http://schemas.openxmlformats.org/officeDocument/2006/relationships/slideLayout" Target="../slideLayouts/slideLayout2847.xml"/><Relationship Id="rId42" Type="http://schemas.openxmlformats.org/officeDocument/2006/relationships/slideLayout" Target="../slideLayouts/slideLayout2611.xml"/><Relationship Id="rId84" Type="http://schemas.openxmlformats.org/officeDocument/2006/relationships/slideLayout" Target="../slideLayouts/slideLayout2653.xml"/><Relationship Id="rId138" Type="http://schemas.openxmlformats.org/officeDocument/2006/relationships/slideLayout" Target="../slideLayouts/slideLayout2707.xml"/><Relationship Id="rId191" Type="http://schemas.openxmlformats.org/officeDocument/2006/relationships/slideLayout" Target="../slideLayouts/slideLayout2760.xml"/><Relationship Id="rId205" Type="http://schemas.openxmlformats.org/officeDocument/2006/relationships/slideLayout" Target="../slideLayouts/slideLayout2774.xml"/><Relationship Id="rId247" Type="http://schemas.openxmlformats.org/officeDocument/2006/relationships/slideLayout" Target="../slideLayouts/slideLayout2816.xml"/><Relationship Id="rId107" Type="http://schemas.openxmlformats.org/officeDocument/2006/relationships/slideLayout" Target="../slideLayouts/slideLayout2676.xml"/><Relationship Id="rId11" Type="http://schemas.openxmlformats.org/officeDocument/2006/relationships/slideLayout" Target="../slideLayouts/slideLayout2580.xml"/><Relationship Id="rId53" Type="http://schemas.openxmlformats.org/officeDocument/2006/relationships/slideLayout" Target="../slideLayouts/slideLayout2622.xml"/><Relationship Id="rId149" Type="http://schemas.openxmlformats.org/officeDocument/2006/relationships/slideLayout" Target="../slideLayouts/slideLayout2718.xml"/><Relationship Id="rId95" Type="http://schemas.openxmlformats.org/officeDocument/2006/relationships/slideLayout" Target="../slideLayouts/slideLayout2664.xml"/><Relationship Id="rId160" Type="http://schemas.openxmlformats.org/officeDocument/2006/relationships/slideLayout" Target="../slideLayouts/slideLayout2729.xml"/><Relationship Id="rId216" Type="http://schemas.openxmlformats.org/officeDocument/2006/relationships/slideLayout" Target="../slideLayouts/slideLayout2785.xml"/><Relationship Id="rId258" Type="http://schemas.openxmlformats.org/officeDocument/2006/relationships/slideLayout" Target="../slideLayouts/slideLayout2827.xml"/><Relationship Id="rId22" Type="http://schemas.openxmlformats.org/officeDocument/2006/relationships/slideLayout" Target="../slideLayouts/slideLayout2591.xml"/><Relationship Id="rId64" Type="http://schemas.openxmlformats.org/officeDocument/2006/relationships/slideLayout" Target="../slideLayouts/slideLayout2633.xml"/><Relationship Id="rId118" Type="http://schemas.openxmlformats.org/officeDocument/2006/relationships/slideLayout" Target="../slideLayouts/slideLayout268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3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94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5" Type="http://schemas.openxmlformats.org/officeDocument/2006/relationships/slideLayout" Target="../slideLayouts/slideLayout292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/Relationships>
</file>

<file path=ppt/slideMasters/_rels/slideMaster20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2972.xml"/><Relationship Id="rId299" Type="http://schemas.openxmlformats.org/officeDocument/2006/relationships/slideLayout" Target="../slideLayouts/slideLayout3154.xml"/><Relationship Id="rId21" Type="http://schemas.openxmlformats.org/officeDocument/2006/relationships/slideLayout" Target="../slideLayouts/slideLayout2876.xml"/><Relationship Id="rId63" Type="http://schemas.openxmlformats.org/officeDocument/2006/relationships/slideLayout" Target="../slideLayouts/slideLayout2918.xml"/><Relationship Id="rId159" Type="http://schemas.openxmlformats.org/officeDocument/2006/relationships/slideLayout" Target="../slideLayouts/slideLayout3014.xml"/><Relationship Id="rId324" Type="http://schemas.openxmlformats.org/officeDocument/2006/relationships/slideLayout" Target="../slideLayouts/slideLayout3179.xml"/><Relationship Id="rId366" Type="http://schemas.openxmlformats.org/officeDocument/2006/relationships/slideLayout" Target="../slideLayouts/slideLayout3221.xml"/><Relationship Id="rId170" Type="http://schemas.openxmlformats.org/officeDocument/2006/relationships/slideLayout" Target="../slideLayouts/slideLayout3025.xml"/><Relationship Id="rId226" Type="http://schemas.openxmlformats.org/officeDocument/2006/relationships/slideLayout" Target="../slideLayouts/slideLayout3081.xml"/><Relationship Id="rId433" Type="http://schemas.openxmlformats.org/officeDocument/2006/relationships/slideLayout" Target="../slideLayouts/slideLayout3288.xml"/><Relationship Id="rId268" Type="http://schemas.openxmlformats.org/officeDocument/2006/relationships/slideLayout" Target="../slideLayouts/slideLayout3123.xml"/><Relationship Id="rId32" Type="http://schemas.openxmlformats.org/officeDocument/2006/relationships/slideLayout" Target="../slideLayouts/slideLayout2887.xml"/><Relationship Id="rId74" Type="http://schemas.openxmlformats.org/officeDocument/2006/relationships/slideLayout" Target="../slideLayouts/slideLayout2929.xml"/><Relationship Id="rId128" Type="http://schemas.openxmlformats.org/officeDocument/2006/relationships/slideLayout" Target="../slideLayouts/slideLayout2983.xml"/><Relationship Id="rId335" Type="http://schemas.openxmlformats.org/officeDocument/2006/relationships/slideLayout" Target="../slideLayouts/slideLayout3190.xml"/><Relationship Id="rId377" Type="http://schemas.openxmlformats.org/officeDocument/2006/relationships/slideLayout" Target="../slideLayouts/slideLayout3232.xml"/><Relationship Id="rId5" Type="http://schemas.openxmlformats.org/officeDocument/2006/relationships/slideLayout" Target="../slideLayouts/slideLayout2860.xml"/><Relationship Id="rId181" Type="http://schemas.openxmlformats.org/officeDocument/2006/relationships/slideLayout" Target="../slideLayouts/slideLayout3036.xml"/><Relationship Id="rId237" Type="http://schemas.openxmlformats.org/officeDocument/2006/relationships/slideLayout" Target="../slideLayouts/slideLayout3092.xml"/><Relationship Id="rId402" Type="http://schemas.openxmlformats.org/officeDocument/2006/relationships/slideLayout" Target="../slideLayouts/slideLayout3257.xml"/><Relationship Id="rId279" Type="http://schemas.openxmlformats.org/officeDocument/2006/relationships/slideLayout" Target="../slideLayouts/slideLayout3134.xml"/><Relationship Id="rId43" Type="http://schemas.openxmlformats.org/officeDocument/2006/relationships/slideLayout" Target="../slideLayouts/slideLayout2898.xml"/><Relationship Id="rId139" Type="http://schemas.openxmlformats.org/officeDocument/2006/relationships/slideLayout" Target="../slideLayouts/slideLayout2994.xml"/><Relationship Id="rId290" Type="http://schemas.openxmlformats.org/officeDocument/2006/relationships/slideLayout" Target="../slideLayouts/slideLayout3145.xml"/><Relationship Id="rId304" Type="http://schemas.openxmlformats.org/officeDocument/2006/relationships/slideLayout" Target="../slideLayouts/slideLayout3159.xml"/><Relationship Id="rId346" Type="http://schemas.openxmlformats.org/officeDocument/2006/relationships/slideLayout" Target="../slideLayouts/slideLayout3201.xml"/><Relationship Id="rId388" Type="http://schemas.openxmlformats.org/officeDocument/2006/relationships/slideLayout" Target="../slideLayouts/slideLayout3243.xml"/><Relationship Id="rId85" Type="http://schemas.openxmlformats.org/officeDocument/2006/relationships/slideLayout" Target="../slideLayouts/slideLayout2940.xml"/><Relationship Id="rId150" Type="http://schemas.openxmlformats.org/officeDocument/2006/relationships/slideLayout" Target="../slideLayouts/slideLayout3005.xml"/><Relationship Id="rId192" Type="http://schemas.openxmlformats.org/officeDocument/2006/relationships/slideLayout" Target="../slideLayouts/slideLayout3047.xml"/><Relationship Id="rId206" Type="http://schemas.openxmlformats.org/officeDocument/2006/relationships/slideLayout" Target="../slideLayouts/slideLayout3061.xml"/><Relationship Id="rId413" Type="http://schemas.openxmlformats.org/officeDocument/2006/relationships/slideLayout" Target="../slideLayouts/slideLayout3268.xml"/><Relationship Id="rId248" Type="http://schemas.openxmlformats.org/officeDocument/2006/relationships/slideLayout" Target="../slideLayouts/slideLayout3103.xml"/><Relationship Id="rId12" Type="http://schemas.openxmlformats.org/officeDocument/2006/relationships/slideLayout" Target="../slideLayouts/slideLayout2867.xml"/><Relationship Id="rId108" Type="http://schemas.openxmlformats.org/officeDocument/2006/relationships/slideLayout" Target="../slideLayouts/slideLayout2963.xml"/><Relationship Id="rId315" Type="http://schemas.openxmlformats.org/officeDocument/2006/relationships/slideLayout" Target="../slideLayouts/slideLayout3170.xml"/><Relationship Id="rId357" Type="http://schemas.openxmlformats.org/officeDocument/2006/relationships/slideLayout" Target="../slideLayouts/slideLayout3212.xml"/><Relationship Id="rId54" Type="http://schemas.openxmlformats.org/officeDocument/2006/relationships/slideLayout" Target="../slideLayouts/slideLayout2909.xml"/><Relationship Id="rId96" Type="http://schemas.openxmlformats.org/officeDocument/2006/relationships/slideLayout" Target="../slideLayouts/slideLayout2951.xml"/><Relationship Id="rId161" Type="http://schemas.openxmlformats.org/officeDocument/2006/relationships/slideLayout" Target="../slideLayouts/slideLayout3016.xml"/><Relationship Id="rId217" Type="http://schemas.openxmlformats.org/officeDocument/2006/relationships/slideLayout" Target="../slideLayouts/slideLayout3072.xml"/><Relationship Id="rId399" Type="http://schemas.openxmlformats.org/officeDocument/2006/relationships/slideLayout" Target="../slideLayouts/slideLayout3254.xml"/><Relationship Id="rId259" Type="http://schemas.openxmlformats.org/officeDocument/2006/relationships/slideLayout" Target="../slideLayouts/slideLayout3114.xml"/><Relationship Id="rId424" Type="http://schemas.openxmlformats.org/officeDocument/2006/relationships/slideLayout" Target="../slideLayouts/slideLayout3279.xml"/><Relationship Id="rId23" Type="http://schemas.openxmlformats.org/officeDocument/2006/relationships/slideLayout" Target="../slideLayouts/slideLayout2878.xml"/><Relationship Id="rId119" Type="http://schemas.openxmlformats.org/officeDocument/2006/relationships/slideLayout" Target="../slideLayouts/slideLayout2974.xml"/><Relationship Id="rId270" Type="http://schemas.openxmlformats.org/officeDocument/2006/relationships/slideLayout" Target="../slideLayouts/slideLayout3125.xml"/><Relationship Id="rId326" Type="http://schemas.openxmlformats.org/officeDocument/2006/relationships/slideLayout" Target="../slideLayouts/slideLayout3181.xml"/><Relationship Id="rId65" Type="http://schemas.openxmlformats.org/officeDocument/2006/relationships/slideLayout" Target="../slideLayouts/slideLayout2920.xml"/><Relationship Id="rId130" Type="http://schemas.openxmlformats.org/officeDocument/2006/relationships/slideLayout" Target="../slideLayouts/slideLayout2985.xml"/><Relationship Id="rId368" Type="http://schemas.openxmlformats.org/officeDocument/2006/relationships/slideLayout" Target="../slideLayouts/slideLayout3223.xml"/><Relationship Id="rId172" Type="http://schemas.openxmlformats.org/officeDocument/2006/relationships/slideLayout" Target="../slideLayouts/slideLayout3027.xml"/><Relationship Id="rId228" Type="http://schemas.openxmlformats.org/officeDocument/2006/relationships/slideLayout" Target="../slideLayouts/slideLayout3083.xml"/><Relationship Id="rId435" Type="http://schemas.openxmlformats.org/officeDocument/2006/relationships/slideLayout" Target="../slideLayouts/slideLayout3290.xml"/><Relationship Id="rId281" Type="http://schemas.openxmlformats.org/officeDocument/2006/relationships/slideLayout" Target="../slideLayouts/slideLayout3136.xml"/><Relationship Id="rId337" Type="http://schemas.openxmlformats.org/officeDocument/2006/relationships/slideLayout" Target="../slideLayouts/slideLayout3192.xml"/><Relationship Id="rId34" Type="http://schemas.openxmlformats.org/officeDocument/2006/relationships/slideLayout" Target="../slideLayouts/slideLayout2889.xml"/><Relationship Id="rId76" Type="http://schemas.openxmlformats.org/officeDocument/2006/relationships/slideLayout" Target="../slideLayouts/slideLayout2931.xml"/><Relationship Id="rId141" Type="http://schemas.openxmlformats.org/officeDocument/2006/relationships/slideLayout" Target="../slideLayouts/slideLayout2996.xml"/><Relationship Id="rId379" Type="http://schemas.openxmlformats.org/officeDocument/2006/relationships/slideLayout" Target="../slideLayouts/slideLayout3234.xml"/><Relationship Id="rId7" Type="http://schemas.openxmlformats.org/officeDocument/2006/relationships/slideLayout" Target="../slideLayouts/slideLayout2862.xml"/><Relationship Id="rId183" Type="http://schemas.openxmlformats.org/officeDocument/2006/relationships/slideLayout" Target="../slideLayouts/slideLayout3038.xml"/><Relationship Id="rId239" Type="http://schemas.openxmlformats.org/officeDocument/2006/relationships/slideLayout" Target="../slideLayouts/slideLayout3094.xml"/><Relationship Id="rId390" Type="http://schemas.openxmlformats.org/officeDocument/2006/relationships/slideLayout" Target="../slideLayouts/slideLayout3245.xml"/><Relationship Id="rId404" Type="http://schemas.openxmlformats.org/officeDocument/2006/relationships/slideLayout" Target="../slideLayouts/slideLayout3259.xml"/><Relationship Id="rId250" Type="http://schemas.openxmlformats.org/officeDocument/2006/relationships/slideLayout" Target="../slideLayouts/slideLayout3105.xml"/><Relationship Id="rId292" Type="http://schemas.openxmlformats.org/officeDocument/2006/relationships/slideLayout" Target="../slideLayouts/slideLayout3147.xml"/><Relationship Id="rId306" Type="http://schemas.openxmlformats.org/officeDocument/2006/relationships/slideLayout" Target="../slideLayouts/slideLayout3161.xml"/><Relationship Id="rId45" Type="http://schemas.openxmlformats.org/officeDocument/2006/relationships/slideLayout" Target="../slideLayouts/slideLayout2900.xml"/><Relationship Id="rId87" Type="http://schemas.openxmlformats.org/officeDocument/2006/relationships/slideLayout" Target="../slideLayouts/slideLayout2942.xml"/><Relationship Id="rId110" Type="http://schemas.openxmlformats.org/officeDocument/2006/relationships/slideLayout" Target="../slideLayouts/slideLayout2965.xml"/><Relationship Id="rId348" Type="http://schemas.openxmlformats.org/officeDocument/2006/relationships/slideLayout" Target="../slideLayouts/slideLayout3203.xml"/><Relationship Id="rId152" Type="http://schemas.openxmlformats.org/officeDocument/2006/relationships/slideLayout" Target="../slideLayouts/slideLayout3007.xml"/><Relationship Id="rId194" Type="http://schemas.openxmlformats.org/officeDocument/2006/relationships/slideLayout" Target="../slideLayouts/slideLayout3049.xml"/><Relationship Id="rId208" Type="http://schemas.openxmlformats.org/officeDocument/2006/relationships/slideLayout" Target="../slideLayouts/slideLayout3063.xml"/><Relationship Id="rId415" Type="http://schemas.openxmlformats.org/officeDocument/2006/relationships/slideLayout" Target="../slideLayouts/slideLayout3270.xml"/><Relationship Id="rId261" Type="http://schemas.openxmlformats.org/officeDocument/2006/relationships/slideLayout" Target="../slideLayouts/slideLayout3116.xml"/><Relationship Id="rId14" Type="http://schemas.openxmlformats.org/officeDocument/2006/relationships/slideLayout" Target="../slideLayouts/slideLayout2869.xml"/><Relationship Id="rId56" Type="http://schemas.openxmlformats.org/officeDocument/2006/relationships/slideLayout" Target="../slideLayouts/slideLayout2911.xml"/><Relationship Id="rId317" Type="http://schemas.openxmlformats.org/officeDocument/2006/relationships/slideLayout" Target="../slideLayouts/slideLayout3172.xml"/><Relationship Id="rId359" Type="http://schemas.openxmlformats.org/officeDocument/2006/relationships/slideLayout" Target="../slideLayouts/slideLayout3214.xml"/><Relationship Id="rId98" Type="http://schemas.openxmlformats.org/officeDocument/2006/relationships/slideLayout" Target="../slideLayouts/slideLayout2953.xml"/><Relationship Id="rId121" Type="http://schemas.openxmlformats.org/officeDocument/2006/relationships/slideLayout" Target="../slideLayouts/slideLayout2976.xml"/><Relationship Id="rId163" Type="http://schemas.openxmlformats.org/officeDocument/2006/relationships/slideLayout" Target="../slideLayouts/slideLayout3018.xml"/><Relationship Id="rId219" Type="http://schemas.openxmlformats.org/officeDocument/2006/relationships/slideLayout" Target="../slideLayouts/slideLayout3074.xml"/><Relationship Id="rId370" Type="http://schemas.openxmlformats.org/officeDocument/2006/relationships/slideLayout" Target="../slideLayouts/slideLayout3225.xml"/><Relationship Id="rId426" Type="http://schemas.openxmlformats.org/officeDocument/2006/relationships/slideLayout" Target="../slideLayouts/slideLayout3281.xml"/><Relationship Id="rId230" Type="http://schemas.openxmlformats.org/officeDocument/2006/relationships/slideLayout" Target="../slideLayouts/slideLayout3085.xml"/><Relationship Id="rId25" Type="http://schemas.openxmlformats.org/officeDocument/2006/relationships/slideLayout" Target="../slideLayouts/slideLayout2880.xml"/><Relationship Id="rId67" Type="http://schemas.openxmlformats.org/officeDocument/2006/relationships/slideLayout" Target="../slideLayouts/slideLayout2922.xml"/><Relationship Id="rId272" Type="http://schemas.openxmlformats.org/officeDocument/2006/relationships/slideLayout" Target="../slideLayouts/slideLayout3127.xml"/><Relationship Id="rId328" Type="http://schemas.openxmlformats.org/officeDocument/2006/relationships/slideLayout" Target="../slideLayouts/slideLayout3183.xml"/><Relationship Id="rId132" Type="http://schemas.openxmlformats.org/officeDocument/2006/relationships/slideLayout" Target="../slideLayouts/slideLayout2987.xml"/><Relationship Id="rId174" Type="http://schemas.openxmlformats.org/officeDocument/2006/relationships/slideLayout" Target="../slideLayouts/slideLayout3029.xml"/><Relationship Id="rId381" Type="http://schemas.openxmlformats.org/officeDocument/2006/relationships/slideLayout" Target="../slideLayouts/slideLayout3236.xml"/><Relationship Id="rId241" Type="http://schemas.openxmlformats.org/officeDocument/2006/relationships/slideLayout" Target="../slideLayouts/slideLayout3096.xml"/><Relationship Id="rId437" Type="http://schemas.openxmlformats.org/officeDocument/2006/relationships/slideLayout" Target="../slideLayouts/slideLayout3292.xml"/><Relationship Id="rId36" Type="http://schemas.openxmlformats.org/officeDocument/2006/relationships/slideLayout" Target="../slideLayouts/slideLayout2891.xml"/><Relationship Id="rId283" Type="http://schemas.openxmlformats.org/officeDocument/2006/relationships/slideLayout" Target="../slideLayouts/slideLayout3138.xml"/><Relationship Id="rId339" Type="http://schemas.openxmlformats.org/officeDocument/2006/relationships/slideLayout" Target="../slideLayouts/slideLayout3194.xml"/><Relationship Id="rId78" Type="http://schemas.openxmlformats.org/officeDocument/2006/relationships/slideLayout" Target="../slideLayouts/slideLayout2933.xml"/><Relationship Id="rId101" Type="http://schemas.openxmlformats.org/officeDocument/2006/relationships/slideLayout" Target="../slideLayouts/slideLayout2956.xml"/><Relationship Id="rId143" Type="http://schemas.openxmlformats.org/officeDocument/2006/relationships/slideLayout" Target="../slideLayouts/slideLayout2998.xml"/><Relationship Id="rId185" Type="http://schemas.openxmlformats.org/officeDocument/2006/relationships/slideLayout" Target="../slideLayouts/slideLayout3040.xml"/><Relationship Id="rId350" Type="http://schemas.openxmlformats.org/officeDocument/2006/relationships/slideLayout" Target="../slideLayouts/slideLayout3205.xml"/><Relationship Id="rId406" Type="http://schemas.openxmlformats.org/officeDocument/2006/relationships/slideLayout" Target="../slideLayouts/slideLayout3261.xml"/><Relationship Id="rId9" Type="http://schemas.openxmlformats.org/officeDocument/2006/relationships/slideLayout" Target="../slideLayouts/slideLayout2864.xml"/><Relationship Id="rId210" Type="http://schemas.openxmlformats.org/officeDocument/2006/relationships/slideLayout" Target="../slideLayouts/slideLayout3065.xml"/><Relationship Id="rId392" Type="http://schemas.openxmlformats.org/officeDocument/2006/relationships/slideLayout" Target="../slideLayouts/slideLayout3247.xml"/><Relationship Id="rId252" Type="http://schemas.openxmlformats.org/officeDocument/2006/relationships/slideLayout" Target="../slideLayouts/slideLayout3107.xml"/><Relationship Id="rId294" Type="http://schemas.openxmlformats.org/officeDocument/2006/relationships/slideLayout" Target="../slideLayouts/slideLayout3149.xml"/><Relationship Id="rId308" Type="http://schemas.openxmlformats.org/officeDocument/2006/relationships/slideLayout" Target="../slideLayouts/slideLayout3163.xml"/><Relationship Id="rId47" Type="http://schemas.openxmlformats.org/officeDocument/2006/relationships/slideLayout" Target="../slideLayouts/slideLayout2902.xml"/><Relationship Id="rId89" Type="http://schemas.openxmlformats.org/officeDocument/2006/relationships/slideLayout" Target="../slideLayouts/slideLayout2944.xml"/><Relationship Id="rId112" Type="http://schemas.openxmlformats.org/officeDocument/2006/relationships/slideLayout" Target="../slideLayouts/slideLayout2967.xml"/><Relationship Id="rId154" Type="http://schemas.openxmlformats.org/officeDocument/2006/relationships/slideLayout" Target="../slideLayouts/slideLayout3009.xml"/><Relationship Id="rId361" Type="http://schemas.openxmlformats.org/officeDocument/2006/relationships/slideLayout" Target="../slideLayouts/slideLayout3216.xml"/><Relationship Id="rId196" Type="http://schemas.openxmlformats.org/officeDocument/2006/relationships/slideLayout" Target="../slideLayouts/slideLayout3051.xml"/><Relationship Id="rId417" Type="http://schemas.openxmlformats.org/officeDocument/2006/relationships/slideLayout" Target="../slideLayouts/slideLayout3272.xml"/><Relationship Id="rId16" Type="http://schemas.openxmlformats.org/officeDocument/2006/relationships/slideLayout" Target="../slideLayouts/slideLayout2871.xml"/><Relationship Id="rId221" Type="http://schemas.openxmlformats.org/officeDocument/2006/relationships/slideLayout" Target="../slideLayouts/slideLayout3076.xml"/><Relationship Id="rId263" Type="http://schemas.openxmlformats.org/officeDocument/2006/relationships/slideLayout" Target="../slideLayouts/slideLayout3118.xml"/><Relationship Id="rId319" Type="http://schemas.openxmlformats.org/officeDocument/2006/relationships/slideLayout" Target="../slideLayouts/slideLayout3174.xml"/><Relationship Id="rId58" Type="http://schemas.openxmlformats.org/officeDocument/2006/relationships/slideLayout" Target="../slideLayouts/slideLayout2913.xml"/><Relationship Id="rId123" Type="http://schemas.openxmlformats.org/officeDocument/2006/relationships/slideLayout" Target="../slideLayouts/slideLayout2978.xml"/><Relationship Id="rId330" Type="http://schemas.openxmlformats.org/officeDocument/2006/relationships/slideLayout" Target="../slideLayouts/slideLayout3185.xml"/><Relationship Id="rId165" Type="http://schemas.openxmlformats.org/officeDocument/2006/relationships/slideLayout" Target="../slideLayouts/slideLayout3020.xml"/><Relationship Id="rId372" Type="http://schemas.openxmlformats.org/officeDocument/2006/relationships/slideLayout" Target="../slideLayouts/slideLayout3227.xml"/><Relationship Id="rId428" Type="http://schemas.openxmlformats.org/officeDocument/2006/relationships/slideLayout" Target="../slideLayouts/slideLayout3283.xml"/><Relationship Id="rId232" Type="http://schemas.openxmlformats.org/officeDocument/2006/relationships/slideLayout" Target="../slideLayouts/slideLayout3087.xml"/><Relationship Id="rId274" Type="http://schemas.openxmlformats.org/officeDocument/2006/relationships/slideLayout" Target="../slideLayouts/slideLayout3129.xml"/><Relationship Id="rId27" Type="http://schemas.openxmlformats.org/officeDocument/2006/relationships/slideLayout" Target="../slideLayouts/slideLayout2882.xml"/><Relationship Id="rId69" Type="http://schemas.openxmlformats.org/officeDocument/2006/relationships/slideLayout" Target="../slideLayouts/slideLayout2924.xml"/><Relationship Id="rId134" Type="http://schemas.openxmlformats.org/officeDocument/2006/relationships/slideLayout" Target="../slideLayouts/slideLayout2989.xml"/><Relationship Id="rId80" Type="http://schemas.openxmlformats.org/officeDocument/2006/relationships/slideLayout" Target="../slideLayouts/slideLayout2935.xml"/><Relationship Id="rId176" Type="http://schemas.openxmlformats.org/officeDocument/2006/relationships/slideLayout" Target="../slideLayouts/slideLayout3031.xml"/><Relationship Id="rId341" Type="http://schemas.openxmlformats.org/officeDocument/2006/relationships/slideLayout" Target="../slideLayouts/slideLayout3196.xml"/><Relationship Id="rId383" Type="http://schemas.openxmlformats.org/officeDocument/2006/relationships/slideLayout" Target="../slideLayouts/slideLayout3238.xml"/><Relationship Id="rId439" Type="http://schemas.openxmlformats.org/officeDocument/2006/relationships/theme" Target="../theme/theme20.xml"/><Relationship Id="rId201" Type="http://schemas.openxmlformats.org/officeDocument/2006/relationships/slideLayout" Target="../slideLayouts/slideLayout3056.xml"/><Relationship Id="rId243" Type="http://schemas.openxmlformats.org/officeDocument/2006/relationships/slideLayout" Target="../slideLayouts/slideLayout3098.xml"/><Relationship Id="rId285" Type="http://schemas.openxmlformats.org/officeDocument/2006/relationships/slideLayout" Target="../slideLayouts/slideLayout3140.xml"/><Relationship Id="rId38" Type="http://schemas.openxmlformats.org/officeDocument/2006/relationships/slideLayout" Target="../slideLayouts/slideLayout2893.xml"/><Relationship Id="rId103" Type="http://schemas.openxmlformats.org/officeDocument/2006/relationships/slideLayout" Target="../slideLayouts/slideLayout2958.xml"/><Relationship Id="rId310" Type="http://schemas.openxmlformats.org/officeDocument/2006/relationships/slideLayout" Target="../slideLayouts/slideLayout3165.xml"/><Relationship Id="rId91" Type="http://schemas.openxmlformats.org/officeDocument/2006/relationships/slideLayout" Target="../slideLayouts/slideLayout2946.xml"/><Relationship Id="rId145" Type="http://schemas.openxmlformats.org/officeDocument/2006/relationships/slideLayout" Target="../slideLayouts/slideLayout3000.xml"/><Relationship Id="rId187" Type="http://schemas.openxmlformats.org/officeDocument/2006/relationships/slideLayout" Target="../slideLayouts/slideLayout3042.xml"/><Relationship Id="rId352" Type="http://schemas.openxmlformats.org/officeDocument/2006/relationships/slideLayout" Target="../slideLayouts/slideLayout3207.xml"/><Relationship Id="rId394" Type="http://schemas.openxmlformats.org/officeDocument/2006/relationships/slideLayout" Target="../slideLayouts/slideLayout3249.xml"/><Relationship Id="rId408" Type="http://schemas.openxmlformats.org/officeDocument/2006/relationships/slideLayout" Target="../slideLayouts/slideLayout3263.xml"/><Relationship Id="rId212" Type="http://schemas.openxmlformats.org/officeDocument/2006/relationships/slideLayout" Target="../slideLayouts/slideLayout3067.xml"/><Relationship Id="rId254" Type="http://schemas.openxmlformats.org/officeDocument/2006/relationships/slideLayout" Target="../slideLayouts/slideLayout3109.xml"/><Relationship Id="rId49" Type="http://schemas.openxmlformats.org/officeDocument/2006/relationships/slideLayout" Target="../slideLayouts/slideLayout2904.xml"/><Relationship Id="rId114" Type="http://schemas.openxmlformats.org/officeDocument/2006/relationships/slideLayout" Target="../slideLayouts/slideLayout2969.xml"/><Relationship Id="rId296" Type="http://schemas.openxmlformats.org/officeDocument/2006/relationships/slideLayout" Target="../slideLayouts/slideLayout3151.xml"/><Relationship Id="rId60" Type="http://schemas.openxmlformats.org/officeDocument/2006/relationships/slideLayout" Target="../slideLayouts/slideLayout2915.xml"/><Relationship Id="rId81" Type="http://schemas.openxmlformats.org/officeDocument/2006/relationships/slideLayout" Target="../slideLayouts/slideLayout2936.xml"/><Relationship Id="rId135" Type="http://schemas.openxmlformats.org/officeDocument/2006/relationships/slideLayout" Target="../slideLayouts/slideLayout2990.xml"/><Relationship Id="rId156" Type="http://schemas.openxmlformats.org/officeDocument/2006/relationships/slideLayout" Target="../slideLayouts/slideLayout3011.xml"/><Relationship Id="rId177" Type="http://schemas.openxmlformats.org/officeDocument/2006/relationships/slideLayout" Target="../slideLayouts/slideLayout3032.xml"/><Relationship Id="rId198" Type="http://schemas.openxmlformats.org/officeDocument/2006/relationships/slideLayout" Target="../slideLayouts/slideLayout3053.xml"/><Relationship Id="rId321" Type="http://schemas.openxmlformats.org/officeDocument/2006/relationships/slideLayout" Target="../slideLayouts/slideLayout3176.xml"/><Relationship Id="rId342" Type="http://schemas.openxmlformats.org/officeDocument/2006/relationships/slideLayout" Target="../slideLayouts/slideLayout3197.xml"/><Relationship Id="rId363" Type="http://schemas.openxmlformats.org/officeDocument/2006/relationships/slideLayout" Target="../slideLayouts/slideLayout3218.xml"/><Relationship Id="rId384" Type="http://schemas.openxmlformats.org/officeDocument/2006/relationships/slideLayout" Target="../slideLayouts/slideLayout3239.xml"/><Relationship Id="rId419" Type="http://schemas.openxmlformats.org/officeDocument/2006/relationships/slideLayout" Target="../slideLayouts/slideLayout3274.xml"/><Relationship Id="rId202" Type="http://schemas.openxmlformats.org/officeDocument/2006/relationships/slideLayout" Target="../slideLayouts/slideLayout3057.xml"/><Relationship Id="rId223" Type="http://schemas.openxmlformats.org/officeDocument/2006/relationships/slideLayout" Target="../slideLayouts/slideLayout3078.xml"/><Relationship Id="rId244" Type="http://schemas.openxmlformats.org/officeDocument/2006/relationships/slideLayout" Target="../slideLayouts/slideLayout3099.xml"/><Relationship Id="rId430" Type="http://schemas.openxmlformats.org/officeDocument/2006/relationships/slideLayout" Target="../slideLayouts/slideLayout3285.xml"/><Relationship Id="rId18" Type="http://schemas.openxmlformats.org/officeDocument/2006/relationships/slideLayout" Target="../slideLayouts/slideLayout2873.xml"/><Relationship Id="rId39" Type="http://schemas.openxmlformats.org/officeDocument/2006/relationships/slideLayout" Target="../slideLayouts/slideLayout2894.xml"/><Relationship Id="rId265" Type="http://schemas.openxmlformats.org/officeDocument/2006/relationships/slideLayout" Target="../slideLayouts/slideLayout3120.xml"/><Relationship Id="rId286" Type="http://schemas.openxmlformats.org/officeDocument/2006/relationships/slideLayout" Target="../slideLayouts/slideLayout3141.xml"/><Relationship Id="rId50" Type="http://schemas.openxmlformats.org/officeDocument/2006/relationships/slideLayout" Target="../slideLayouts/slideLayout2905.xml"/><Relationship Id="rId104" Type="http://schemas.openxmlformats.org/officeDocument/2006/relationships/slideLayout" Target="../slideLayouts/slideLayout2959.xml"/><Relationship Id="rId125" Type="http://schemas.openxmlformats.org/officeDocument/2006/relationships/slideLayout" Target="../slideLayouts/slideLayout2980.xml"/><Relationship Id="rId146" Type="http://schemas.openxmlformats.org/officeDocument/2006/relationships/slideLayout" Target="../slideLayouts/slideLayout3001.xml"/><Relationship Id="rId167" Type="http://schemas.openxmlformats.org/officeDocument/2006/relationships/slideLayout" Target="../slideLayouts/slideLayout3022.xml"/><Relationship Id="rId188" Type="http://schemas.openxmlformats.org/officeDocument/2006/relationships/slideLayout" Target="../slideLayouts/slideLayout3043.xml"/><Relationship Id="rId311" Type="http://schemas.openxmlformats.org/officeDocument/2006/relationships/slideLayout" Target="../slideLayouts/slideLayout3166.xml"/><Relationship Id="rId332" Type="http://schemas.openxmlformats.org/officeDocument/2006/relationships/slideLayout" Target="../slideLayouts/slideLayout3187.xml"/><Relationship Id="rId353" Type="http://schemas.openxmlformats.org/officeDocument/2006/relationships/slideLayout" Target="../slideLayouts/slideLayout3208.xml"/><Relationship Id="rId374" Type="http://schemas.openxmlformats.org/officeDocument/2006/relationships/slideLayout" Target="../slideLayouts/slideLayout3229.xml"/><Relationship Id="rId395" Type="http://schemas.openxmlformats.org/officeDocument/2006/relationships/slideLayout" Target="../slideLayouts/slideLayout3250.xml"/><Relationship Id="rId409" Type="http://schemas.openxmlformats.org/officeDocument/2006/relationships/slideLayout" Target="../slideLayouts/slideLayout3264.xml"/><Relationship Id="rId71" Type="http://schemas.openxmlformats.org/officeDocument/2006/relationships/slideLayout" Target="../slideLayouts/slideLayout2926.xml"/><Relationship Id="rId92" Type="http://schemas.openxmlformats.org/officeDocument/2006/relationships/slideLayout" Target="../slideLayouts/slideLayout2947.xml"/><Relationship Id="rId213" Type="http://schemas.openxmlformats.org/officeDocument/2006/relationships/slideLayout" Target="../slideLayouts/slideLayout3068.xml"/><Relationship Id="rId234" Type="http://schemas.openxmlformats.org/officeDocument/2006/relationships/slideLayout" Target="../slideLayouts/slideLayout3089.xml"/><Relationship Id="rId420" Type="http://schemas.openxmlformats.org/officeDocument/2006/relationships/slideLayout" Target="../slideLayouts/slideLayout3275.xml"/><Relationship Id="rId2" Type="http://schemas.openxmlformats.org/officeDocument/2006/relationships/slideLayout" Target="../slideLayouts/slideLayout2857.xml"/><Relationship Id="rId29" Type="http://schemas.openxmlformats.org/officeDocument/2006/relationships/slideLayout" Target="../slideLayouts/slideLayout2884.xml"/><Relationship Id="rId255" Type="http://schemas.openxmlformats.org/officeDocument/2006/relationships/slideLayout" Target="../slideLayouts/slideLayout3110.xml"/><Relationship Id="rId276" Type="http://schemas.openxmlformats.org/officeDocument/2006/relationships/slideLayout" Target="../slideLayouts/slideLayout3131.xml"/><Relationship Id="rId297" Type="http://schemas.openxmlformats.org/officeDocument/2006/relationships/slideLayout" Target="../slideLayouts/slideLayout3152.xml"/><Relationship Id="rId40" Type="http://schemas.openxmlformats.org/officeDocument/2006/relationships/slideLayout" Target="../slideLayouts/slideLayout2895.xml"/><Relationship Id="rId115" Type="http://schemas.openxmlformats.org/officeDocument/2006/relationships/slideLayout" Target="../slideLayouts/slideLayout2970.xml"/><Relationship Id="rId136" Type="http://schemas.openxmlformats.org/officeDocument/2006/relationships/slideLayout" Target="../slideLayouts/slideLayout2991.xml"/><Relationship Id="rId157" Type="http://schemas.openxmlformats.org/officeDocument/2006/relationships/slideLayout" Target="../slideLayouts/slideLayout3012.xml"/><Relationship Id="rId178" Type="http://schemas.openxmlformats.org/officeDocument/2006/relationships/slideLayout" Target="../slideLayouts/slideLayout3033.xml"/><Relationship Id="rId301" Type="http://schemas.openxmlformats.org/officeDocument/2006/relationships/slideLayout" Target="../slideLayouts/slideLayout3156.xml"/><Relationship Id="rId322" Type="http://schemas.openxmlformats.org/officeDocument/2006/relationships/slideLayout" Target="../slideLayouts/slideLayout3177.xml"/><Relationship Id="rId343" Type="http://schemas.openxmlformats.org/officeDocument/2006/relationships/slideLayout" Target="../slideLayouts/slideLayout3198.xml"/><Relationship Id="rId364" Type="http://schemas.openxmlformats.org/officeDocument/2006/relationships/slideLayout" Target="../slideLayouts/slideLayout3219.xml"/><Relationship Id="rId61" Type="http://schemas.openxmlformats.org/officeDocument/2006/relationships/slideLayout" Target="../slideLayouts/slideLayout2916.xml"/><Relationship Id="rId82" Type="http://schemas.openxmlformats.org/officeDocument/2006/relationships/slideLayout" Target="../slideLayouts/slideLayout2937.xml"/><Relationship Id="rId199" Type="http://schemas.openxmlformats.org/officeDocument/2006/relationships/slideLayout" Target="../slideLayouts/slideLayout3054.xml"/><Relationship Id="rId203" Type="http://schemas.openxmlformats.org/officeDocument/2006/relationships/slideLayout" Target="../slideLayouts/slideLayout3058.xml"/><Relationship Id="rId385" Type="http://schemas.openxmlformats.org/officeDocument/2006/relationships/slideLayout" Target="../slideLayouts/slideLayout3240.xml"/><Relationship Id="rId19" Type="http://schemas.openxmlformats.org/officeDocument/2006/relationships/slideLayout" Target="../slideLayouts/slideLayout2874.xml"/><Relationship Id="rId224" Type="http://schemas.openxmlformats.org/officeDocument/2006/relationships/slideLayout" Target="../slideLayouts/slideLayout3079.xml"/><Relationship Id="rId245" Type="http://schemas.openxmlformats.org/officeDocument/2006/relationships/slideLayout" Target="../slideLayouts/slideLayout3100.xml"/><Relationship Id="rId266" Type="http://schemas.openxmlformats.org/officeDocument/2006/relationships/slideLayout" Target="../slideLayouts/slideLayout3121.xml"/><Relationship Id="rId287" Type="http://schemas.openxmlformats.org/officeDocument/2006/relationships/slideLayout" Target="../slideLayouts/slideLayout3142.xml"/><Relationship Id="rId410" Type="http://schemas.openxmlformats.org/officeDocument/2006/relationships/slideLayout" Target="../slideLayouts/slideLayout3265.xml"/><Relationship Id="rId431" Type="http://schemas.openxmlformats.org/officeDocument/2006/relationships/slideLayout" Target="../slideLayouts/slideLayout3286.xml"/><Relationship Id="rId30" Type="http://schemas.openxmlformats.org/officeDocument/2006/relationships/slideLayout" Target="../slideLayouts/slideLayout2885.xml"/><Relationship Id="rId105" Type="http://schemas.openxmlformats.org/officeDocument/2006/relationships/slideLayout" Target="../slideLayouts/slideLayout2960.xml"/><Relationship Id="rId126" Type="http://schemas.openxmlformats.org/officeDocument/2006/relationships/slideLayout" Target="../slideLayouts/slideLayout2981.xml"/><Relationship Id="rId147" Type="http://schemas.openxmlformats.org/officeDocument/2006/relationships/slideLayout" Target="../slideLayouts/slideLayout3002.xml"/><Relationship Id="rId168" Type="http://schemas.openxmlformats.org/officeDocument/2006/relationships/slideLayout" Target="../slideLayouts/slideLayout3023.xml"/><Relationship Id="rId312" Type="http://schemas.openxmlformats.org/officeDocument/2006/relationships/slideLayout" Target="../slideLayouts/slideLayout3167.xml"/><Relationship Id="rId333" Type="http://schemas.openxmlformats.org/officeDocument/2006/relationships/slideLayout" Target="../slideLayouts/slideLayout3188.xml"/><Relationship Id="rId354" Type="http://schemas.openxmlformats.org/officeDocument/2006/relationships/slideLayout" Target="../slideLayouts/slideLayout3209.xml"/><Relationship Id="rId51" Type="http://schemas.openxmlformats.org/officeDocument/2006/relationships/slideLayout" Target="../slideLayouts/slideLayout2906.xml"/><Relationship Id="rId72" Type="http://schemas.openxmlformats.org/officeDocument/2006/relationships/slideLayout" Target="../slideLayouts/slideLayout2927.xml"/><Relationship Id="rId93" Type="http://schemas.openxmlformats.org/officeDocument/2006/relationships/slideLayout" Target="../slideLayouts/slideLayout2948.xml"/><Relationship Id="rId189" Type="http://schemas.openxmlformats.org/officeDocument/2006/relationships/slideLayout" Target="../slideLayouts/slideLayout3044.xml"/><Relationship Id="rId375" Type="http://schemas.openxmlformats.org/officeDocument/2006/relationships/slideLayout" Target="../slideLayouts/slideLayout3230.xml"/><Relationship Id="rId396" Type="http://schemas.openxmlformats.org/officeDocument/2006/relationships/slideLayout" Target="../slideLayouts/slideLayout3251.xml"/><Relationship Id="rId3" Type="http://schemas.openxmlformats.org/officeDocument/2006/relationships/slideLayout" Target="../slideLayouts/slideLayout2858.xml"/><Relationship Id="rId214" Type="http://schemas.openxmlformats.org/officeDocument/2006/relationships/slideLayout" Target="../slideLayouts/slideLayout3069.xml"/><Relationship Id="rId235" Type="http://schemas.openxmlformats.org/officeDocument/2006/relationships/slideLayout" Target="../slideLayouts/slideLayout3090.xml"/><Relationship Id="rId256" Type="http://schemas.openxmlformats.org/officeDocument/2006/relationships/slideLayout" Target="../slideLayouts/slideLayout3111.xml"/><Relationship Id="rId277" Type="http://schemas.openxmlformats.org/officeDocument/2006/relationships/slideLayout" Target="../slideLayouts/slideLayout3132.xml"/><Relationship Id="rId298" Type="http://schemas.openxmlformats.org/officeDocument/2006/relationships/slideLayout" Target="../slideLayouts/slideLayout3153.xml"/><Relationship Id="rId400" Type="http://schemas.openxmlformats.org/officeDocument/2006/relationships/slideLayout" Target="../slideLayouts/slideLayout3255.xml"/><Relationship Id="rId421" Type="http://schemas.openxmlformats.org/officeDocument/2006/relationships/slideLayout" Target="../slideLayouts/slideLayout3276.xml"/><Relationship Id="rId116" Type="http://schemas.openxmlformats.org/officeDocument/2006/relationships/slideLayout" Target="../slideLayouts/slideLayout2971.xml"/><Relationship Id="rId137" Type="http://schemas.openxmlformats.org/officeDocument/2006/relationships/slideLayout" Target="../slideLayouts/slideLayout2992.xml"/><Relationship Id="rId158" Type="http://schemas.openxmlformats.org/officeDocument/2006/relationships/slideLayout" Target="../slideLayouts/slideLayout3013.xml"/><Relationship Id="rId302" Type="http://schemas.openxmlformats.org/officeDocument/2006/relationships/slideLayout" Target="../slideLayouts/slideLayout3157.xml"/><Relationship Id="rId323" Type="http://schemas.openxmlformats.org/officeDocument/2006/relationships/slideLayout" Target="../slideLayouts/slideLayout3178.xml"/><Relationship Id="rId344" Type="http://schemas.openxmlformats.org/officeDocument/2006/relationships/slideLayout" Target="../slideLayouts/slideLayout3199.xml"/><Relationship Id="rId20" Type="http://schemas.openxmlformats.org/officeDocument/2006/relationships/slideLayout" Target="../slideLayouts/slideLayout2875.xml"/><Relationship Id="rId41" Type="http://schemas.openxmlformats.org/officeDocument/2006/relationships/slideLayout" Target="../slideLayouts/slideLayout2896.xml"/><Relationship Id="rId62" Type="http://schemas.openxmlformats.org/officeDocument/2006/relationships/slideLayout" Target="../slideLayouts/slideLayout2917.xml"/><Relationship Id="rId83" Type="http://schemas.openxmlformats.org/officeDocument/2006/relationships/slideLayout" Target="../slideLayouts/slideLayout2938.xml"/><Relationship Id="rId179" Type="http://schemas.openxmlformats.org/officeDocument/2006/relationships/slideLayout" Target="../slideLayouts/slideLayout3034.xml"/><Relationship Id="rId365" Type="http://schemas.openxmlformats.org/officeDocument/2006/relationships/slideLayout" Target="../slideLayouts/slideLayout3220.xml"/><Relationship Id="rId386" Type="http://schemas.openxmlformats.org/officeDocument/2006/relationships/slideLayout" Target="../slideLayouts/slideLayout3241.xml"/><Relationship Id="rId190" Type="http://schemas.openxmlformats.org/officeDocument/2006/relationships/slideLayout" Target="../slideLayouts/slideLayout3045.xml"/><Relationship Id="rId204" Type="http://schemas.openxmlformats.org/officeDocument/2006/relationships/slideLayout" Target="../slideLayouts/slideLayout3059.xml"/><Relationship Id="rId225" Type="http://schemas.openxmlformats.org/officeDocument/2006/relationships/slideLayout" Target="../slideLayouts/slideLayout3080.xml"/><Relationship Id="rId246" Type="http://schemas.openxmlformats.org/officeDocument/2006/relationships/slideLayout" Target="../slideLayouts/slideLayout3101.xml"/><Relationship Id="rId267" Type="http://schemas.openxmlformats.org/officeDocument/2006/relationships/slideLayout" Target="../slideLayouts/slideLayout3122.xml"/><Relationship Id="rId288" Type="http://schemas.openxmlformats.org/officeDocument/2006/relationships/slideLayout" Target="../slideLayouts/slideLayout3143.xml"/><Relationship Id="rId411" Type="http://schemas.openxmlformats.org/officeDocument/2006/relationships/slideLayout" Target="../slideLayouts/slideLayout3266.xml"/><Relationship Id="rId432" Type="http://schemas.openxmlformats.org/officeDocument/2006/relationships/slideLayout" Target="../slideLayouts/slideLayout3287.xml"/><Relationship Id="rId106" Type="http://schemas.openxmlformats.org/officeDocument/2006/relationships/slideLayout" Target="../slideLayouts/slideLayout2961.xml"/><Relationship Id="rId127" Type="http://schemas.openxmlformats.org/officeDocument/2006/relationships/slideLayout" Target="../slideLayouts/slideLayout2982.xml"/><Relationship Id="rId313" Type="http://schemas.openxmlformats.org/officeDocument/2006/relationships/slideLayout" Target="../slideLayouts/slideLayout3168.xml"/><Relationship Id="rId10" Type="http://schemas.openxmlformats.org/officeDocument/2006/relationships/slideLayout" Target="../slideLayouts/slideLayout2865.xml"/><Relationship Id="rId31" Type="http://schemas.openxmlformats.org/officeDocument/2006/relationships/slideLayout" Target="../slideLayouts/slideLayout2886.xml"/><Relationship Id="rId52" Type="http://schemas.openxmlformats.org/officeDocument/2006/relationships/slideLayout" Target="../slideLayouts/slideLayout2907.xml"/><Relationship Id="rId73" Type="http://schemas.openxmlformats.org/officeDocument/2006/relationships/slideLayout" Target="../slideLayouts/slideLayout2928.xml"/><Relationship Id="rId94" Type="http://schemas.openxmlformats.org/officeDocument/2006/relationships/slideLayout" Target="../slideLayouts/slideLayout2949.xml"/><Relationship Id="rId148" Type="http://schemas.openxmlformats.org/officeDocument/2006/relationships/slideLayout" Target="../slideLayouts/slideLayout3003.xml"/><Relationship Id="rId169" Type="http://schemas.openxmlformats.org/officeDocument/2006/relationships/slideLayout" Target="../slideLayouts/slideLayout3024.xml"/><Relationship Id="rId334" Type="http://schemas.openxmlformats.org/officeDocument/2006/relationships/slideLayout" Target="../slideLayouts/slideLayout3189.xml"/><Relationship Id="rId355" Type="http://schemas.openxmlformats.org/officeDocument/2006/relationships/slideLayout" Target="../slideLayouts/slideLayout3210.xml"/><Relationship Id="rId376" Type="http://schemas.openxmlformats.org/officeDocument/2006/relationships/slideLayout" Target="../slideLayouts/slideLayout3231.xml"/><Relationship Id="rId397" Type="http://schemas.openxmlformats.org/officeDocument/2006/relationships/slideLayout" Target="../slideLayouts/slideLayout3252.xml"/><Relationship Id="rId4" Type="http://schemas.openxmlformats.org/officeDocument/2006/relationships/slideLayout" Target="../slideLayouts/slideLayout2859.xml"/><Relationship Id="rId180" Type="http://schemas.openxmlformats.org/officeDocument/2006/relationships/slideLayout" Target="../slideLayouts/slideLayout3035.xml"/><Relationship Id="rId215" Type="http://schemas.openxmlformats.org/officeDocument/2006/relationships/slideLayout" Target="../slideLayouts/slideLayout3070.xml"/><Relationship Id="rId236" Type="http://schemas.openxmlformats.org/officeDocument/2006/relationships/slideLayout" Target="../slideLayouts/slideLayout3091.xml"/><Relationship Id="rId257" Type="http://schemas.openxmlformats.org/officeDocument/2006/relationships/slideLayout" Target="../slideLayouts/slideLayout3112.xml"/><Relationship Id="rId278" Type="http://schemas.openxmlformats.org/officeDocument/2006/relationships/slideLayout" Target="../slideLayouts/slideLayout3133.xml"/><Relationship Id="rId401" Type="http://schemas.openxmlformats.org/officeDocument/2006/relationships/slideLayout" Target="../slideLayouts/slideLayout3256.xml"/><Relationship Id="rId422" Type="http://schemas.openxmlformats.org/officeDocument/2006/relationships/slideLayout" Target="../slideLayouts/slideLayout3277.xml"/><Relationship Id="rId303" Type="http://schemas.openxmlformats.org/officeDocument/2006/relationships/slideLayout" Target="../slideLayouts/slideLayout3158.xml"/><Relationship Id="rId42" Type="http://schemas.openxmlformats.org/officeDocument/2006/relationships/slideLayout" Target="../slideLayouts/slideLayout2897.xml"/><Relationship Id="rId84" Type="http://schemas.openxmlformats.org/officeDocument/2006/relationships/slideLayout" Target="../slideLayouts/slideLayout2939.xml"/><Relationship Id="rId138" Type="http://schemas.openxmlformats.org/officeDocument/2006/relationships/slideLayout" Target="../slideLayouts/slideLayout2993.xml"/><Relationship Id="rId345" Type="http://schemas.openxmlformats.org/officeDocument/2006/relationships/slideLayout" Target="../slideLayouts/slideLayout3200.xml"/><Relationship Id="rId387" Type="http://schemas.openxmlformats.org/officeDocument/2006/relationships/slideLayout" Target="../slideLayouts/slideLayout3242.xml"/><Relationship Id="rId191" Type="http://schemas.openxmlformats.org/officeDocument/2006/relationships/slideLayout" Target="../slideLayouts/slideLayout3046.xml"/><Relationship Id="rId205" Type="http://schemas.openxmlformats.org/officeDocument/2006/relationships/slideLayout" Target="../slideLayouts/slideLayout3060.xml"/><Relationship Id="rId247" Type="http://schemas.openxmlformats.org/officeDocument/2006/relationships/slideLayout" Target="../slideLayouts/slideLayout3102.xml"/><Relationship Id="rId412" Type="http://schemas.openxmlformats.org/officeDocument/2006/relationships/slideLayout" Target="../slideLayouts/slideLayout3267.xml"/><Relationship Id="rId107" Type="http://schemas.openxmlformats.org/officeDocument/2006/relationships/slideLayout" Target="../slideLayouts/slideLayout2962.xml"/><Relationship Id="rId289" Type="http://schemas.openxmlformats.org/officeDocument/2006/relationships/slideLayout" Target="../slideLayouts/slideLayout3144.xml"/><Relationship Id="rId11" Type="http://schemas.openxmlformats.org/officeDocument/2006/relationships/slideLayout" Target="../slideLayouts/slideLayout2866.xml"/><Relationship Id="rId53" Type="http://schemas.openxmlformats.org/officeDocument/2006/relationships/slideLayout" Target="../slideLayouts/slideLayout2908.xml"/><Relationship Id="rId149" Type="http://schemas.openxmlformats.org/officeDocument/2006/relationships/slideLayout" Target="../slideLayouts/slideLayout3004.xml"/><Relationship Id="rId314" Type="http://schemas.openxmlformats.org/officeDocument/2006/relationships/slideLayout" Target="../slideLayouts/slideLayout3169.xml"/><Relationship Id="rId356" Type="http://schemas.openxmlformats.org/officeDocument/2006/relationships/slideLayout" Target="../slideLayouts/slideLayout3211.xml"/><Relationship Id="rId398" Type="http://schemas.openxmlformats.org/officeDocument/2006/relationships/slideLayout" Target="../slideLayouts/slideLayout3253.xml"/><Relationship Id="rId95" Type="http://schemas.openxmlformats.org/officeDocument/2006/relationships/slideLayout" Target="../slideLayouts/slideLayout2950.xml"/><Relationship Id="rId160" Type="http://schemas.openxmlformats.org/officeDocument/2006/relationships/slideLayout" Target="../slideLayouts/slideLayout3015.xml"/><Relationship Id="rId216" Type="http://schemas.openxmlformats.org/officeDocument/2006/relationships/slideLayout" Target="../slideLayouts/slideLayout3071.xml"/><Relationship Id="rId423" Type="http://schemas.openxmlformats.org/officeDocument/2006/relationships/slideLayout" Target="../slideLayouts/slideLayout3278.xml"/><Relationship Id="rId258" Type="http://schemas.openxmlformats.org/officeDocument/2006/relationships/slideLayout" Target="../slideLayouts/slideLayout3113.xml"/><Relationship Id="rId22" Type="http://schemas.openxmlformats.org/officeDocument/2006/relationships/slideLayout" Target="../slideLayouts/slideLayout2877.xml"/><Relationship Id="rId64" Type="http://schemas.openxmlformats.org/officeDocument/2006/relationships/slideLayout" Target="../slideLayouts/slideLayout2919.xml"/><Relationship Id="rId118" Type="http://schemas.openxmlformats.org/officeDocument/2006/relationships/slideLayout" Target="../slideLayouts/slideLayout2973.xml"/><Relationship Id="rId325" Type="http://schemas.openxmlformats.org/officeDocument/2006/relationships/slideLayout" Target="../slideLayouts/slideLayout3180.xml"/><Relationship Id="rId367" Type="http://schemas.openxmlformats.org/officeDocument/2006/relationships/slideLayout" Target="../slideLayouts/slideLayout3222.xml"/><Relationship Id="rId171" Type="http://schemas.openxmlformats.org/officeDocument/2006/relationships/slideLayout" Target="../slideLayouts/slideLayout3026.xml"/><Relationship Id="rId227" Type="http://schemas.openxmlformats.org/officeDocument/2006/relationships/slideLayout" Target="../slideLayouts/slideLayout3082.xml"/><Relationship Id="rId269" Type="http://schemas.openxmlformats.org/officeDocument/2006/relationships/slideLayout" Target="../slideLayouts/slideLayout3124.xml"/><Relationship Id="rId434" Type="http://schemas.openxmlformats.org/officeDocument/2006/relationships/slideLayout" Target="../slideLayouts/slideLayout3289.xml"/><Relationship Id="rId33" Type="http://schemas.openxmlformats.org/officeDocument/2006/relationships/slideLayout" Target="../slideLayouts/slideLayout2888.xml"/><Relationship Id="rId129" Type="http://schemas.openxmlformats.org/officeDocument/2006/relationships/slideLayout" Target="../slideLayouts/slideLayout2984.xml"/><Relationship Id="rId280" Type="http://schemas.openxmlformats.org/officeDocument/2006/relationships/slideLayout" Target="../slideLayouts/slideLayout3135.xml"/><Relationship Id="rId336" Type="http://schemas.openxmlformats.org/officeDocument/2006/relationships/slideLayout" Target="../slideLayouts/slideLayout3191.xml"/><Relationship Id="rId75" Type="http://schemas.openxmlformats.org/officeDocument/2006/relationships/slideLayout" Target="../slideLayouts/slideLayout2930.xml"/><Relationship Id="rId140" Type="http://schemas.openxmlformats.org/officeDocument/2006/relationships/slideLayout" Target="../slideLayouts/slideLayout2995.xml"/><Relationship Id="rId182" Type="http://schemas.openxmlformats.org/officeDocument/2006/relationships/slideLayout" Target="../slideLayouts/slideLayout3037.xml"/><Relationship Id="rId378" Type="http://schemas.openxmlformats.org/officeDocument/2006/relationships/slideLayout" Target="../slideLayouts/slideLayout3233.xml"/><Relationship Id="rId403" Type="http://schemas.openxmlformats.org/officeDocument/2006/relationships/slideLayout" Target="../slideLayouts/slideLayout3258.xml"/><Relationship Id="rId6" Type="http://schemas.openxmlformats.org/officeDocument/2006/relationships/slideLayout" Target="../slideLayouts/slideLayout2861.xml"/><Relationship Id="rId238" Type="http://schemas.openxmlformats.org/officeDocument/2006/relationships/slideLayout" Target="../slideLayouts/slideLayout3093.xml"/><Relationship Id="rId291" Type="http://schemas.openxmlformats.org/officeDocument/2006/relationships/slideLayout" Target="../slideLayouts/slideLayout3146.xml"/><Relationship Id="rId305" Type="http://schemas.openxmlformats.org/officeDocument/2006/relationships/slideLayout" Target="../slideLayouts/slideLayout3160.xml"/><Relationship Id="rId347" Type="http://schemas.openxmlformats.org/officeDocument/2006/relationships/slideLayout" Target="../slideLayouts/slideLayout3202.xml"/><Relationship Id="rId44" Type="http://schemas.openxmlformats.org/officeDocument/2006/relationships/slideLayout" Target="../slideLayouts/slideLayout2899.xml"/><Relationship Id="rId86" Type="http://schemas.openxmlformats.org/officeDocument/2006/relationships/slideLayout" Target="../slideLayouts/slideLayout2941.xml"/><Relationship Id="rId151" Type="http://schemas.openxmlformats.org/officeDocument/2006/relationships/slideLayout" Target="../slideLayouts/slideLayout3006.xml"/><Relationship Id="rId389" Type="http://schemas.openxmlformats.org/officeDocument/2006/relationships/slideLayout" Target="../slideLayouts/slideLayout3244.xml"/><Relationship Id="rId193" Type="http://schemas.openxmlformats.org/officeDocument/2006/relationships/slideLayout" Target="../slideLayouts/slideLayout3048.xml"/><Relationship Id="rId207" Type="http://schemas.openxmlformats.org/officeDocument/2006/relationships/slideLayout" Target="../slideLayouts/slideLayout3062.xml"/><Relationship Id="rId249" Type="http://schemas.openxmlformats.org/officeDocument/2006/relationships/slideLayout" Target="../slideLayouts/slideLayout3104.xml"/><Relationship Id="rId414" Type="http://schemas.openxmlformats.org/officeDocument/2006/relationships/slideLayout" Target="../slideLayouts/slideLayout3269.xml"/><Relationship Id="rId13" Type="http://schemas.openxmlformats.org/officeDocument/2006/relationships/slideLayout" Target="../slideLayouts/slideLayout2868.xml"/><Relationship Id="rId109" Type="http://schemas.openxmlformats.org/officeDocument/2006/relationships/slideLayout" Target="../slideLayouts/slideLayout2964.xml"/><Relationship Id="rId260" Type="http://schemas.openxmlformats.org/officeDocument/2006/relationships/slideLayout" Target="../slideLayouts/slideLayout3115.xml"/><Relationship Id="rId316" Type="http://schemas.openxmlformats.org/officeDocument/2006/relationships/slideLayout" Target="../slideLayouts/slideLayout3171.xml"/><Relationship Id="rId55" Type="http://schemas.openxmlformats.org/officeDocument/2006/relationships/slideLayout" Target="../slideLayouts/slideLayout2910.xml"/><Relationship Id="rId97" Type="http://schemas.openxmlformats.org/officeDocument/2006/relationships/slideLayout" Target="../slideLayouts/slideLayout2952.xml"/><Relationship Id="rId120" Type="http://schemas.openxmlformats.org/officeDocument/2006/relationships/slideLayout" Target="../slideLayouts/slideLayout2975.xml"/><Relationship Id="rId358" Type="http://schemas.openxmlformats.org/officeDocument/2006/relationships/slideLayout" Target="../slideLayouts/slideLayout3213.xml"/><Relationship Id="rId162" Type="http://schemas.openxmlformats.org/officeDocument/2006/relationships/slideLayout" Target="../slideLayouts/slideLayout3017.xml"/><Relationship Id="rId218" Type="http://schemas.openxmlformats.org/officeDocument/2006/relationships/slideLayout" Target="../slideLayouts/slideLayout3073.xml"/><Relationship Id="rId425" Type="http://schemas.openxmlformats.org/officeDocument/2006/relationships/slideLayout" Target="../slideLayouts/slideLayout3280.xml"/><Relationship Id="rId271" Type="http://schemas.openxmlformats.org/officeDocument/2006/relationships/slideLayout" Target="../slideLayouts/slideLayout3126.xml"/><Relationship Id="rId24" Type="http://schemas.openxmlformats.org/officeDocument/2006/relationships/slideLayout" Target="../slideLayouts/slideLayout2879.xml"/><Relationship Id="rId66" Type="http://schemas.openxmlformats.org/officeDocument/2006/relationships/slideLayout" Target="../slideLayouts/slideLayout2921.xml"/><Relationship Id="rId131" Type="http://schemas.openxmlformats.org/officeDocument/2006/relationships/slideLayout" Target="../slideLayouts/slideLayout2986.xml"/><Relationship Id="rId327" Type="http://schemas.openxmlformats.org/officeDocument/2006/relationships/slideLayout" Target="../slideLayouts/slideLayout3182.xml"/><Relationship Id="rId369" Type="http://schemas.openxmlformats.org/officeDocument/2006/relationships/slideLayout" Target="../slideLayouts/slideLayout3224.xml"/><Relationship Id="rId173" Type="http://schemas.openxmlformats.org/officeDocument/2006/relationships/slideLayout" Target="../slideLayouts/slideLayout3028.xml"/><Relationship Id="rId229" Type="http://schemas.openxmlformats.org/officeDocument/2006/relationships/slideLayout" Target="../slideLayouts/slideLayout3084.xml"/><Relationship Id="rId380" Type="http://schemas.openxmlformats.org/officeDocument/2006/relationships/slideLayout" Target="../slideLayouts/slideLayout3235.xml"/><Relationship Id="rId436" Type="http://schemas.openxmlformats.org/officeDocument/2006/relationships/slideLayout" Target="../slideLayouts/slideLayout3291.xml"/><Relationship Id="rId240" Type="http://schemas.openxmlformats.org/officeDocument/2006/relationships/slideLayout" Target="../slideLayouts/slideLayout3095.xml"/><Relationship Id="rId35" Type="http://schemas.openxmlformats.org/officeDocument/2006/relationships/slideLayout" Target="../slideLayouts/slideLayout2890.xml"/><Relationship Id="rId77" Type="http://schemas.openxmlformats.org/officeDocument/2006/relationships/slideLayout" Target="../slideLayouts/slideLayout2932.xml"/><Relationship Id="rId100" Type="http://schemas.openxmlformats.org/officeDocument/2006/relationships/slideLayout" Target="../slideLayouts/slideLayout2955.xml"/><Relationship Id="rId282" Type="http://schemas.openxmlformats.org/officeDocument/2006/relationships/slideLayout" Target="../slideLayouts/slideLayout3137.xml"/><Relationship Id="rId338" Type="http://schemas.openxmlformats.org/officeDocument/2006/relationships/slideLayout" Target="../slideLayouts/slideLayout3193.xml"/><Relationship Id="rId8" Type="http://schemas.openxmlformats.org/officeDocument/2006/relationships/slideLayout" Target="../slideLayouts/slideLayout2863.xml"/><Relationship Id="rId142" Type="http://schemas.openxmlformats.org/officeDocument/2006/relationships/slideLayout" Target="../slideLayouts/slideLayout2997.xml"/><Relationship Id="rId184" Type="http://schemas.openxmlformats.org/officeDocument/2006/relationships/slideLayout" Target="../slideLayouts/slideLayout3039.xml"/><Relationship Id="rId391" Type="http://schemas.openxmlformats.org/officeDocument/2006/relationships/slideLayout" Target="../slideLayouts/slideLayout3246.xml"/><Relationship Id="rId405" Type="http://schemas.openxmlformats.org/officeDocument/2006/relationships/slideLayout" Target="../slideLayouts/slideLayout3260.xml"/><Relationship Id="rId251" Type="http://schemas.openxmlformats.org/officeDocument/2006/relationships/slideLayout" Target="../slideLayouts/slideLayout3106.xml"/><Relationship Id="rId46" Type="http://schemas.openxmlformats.org/officeDocument/2006/relationships/slideLayout" Target="../slideLayouts/slideLayout2901.xml"/><Relationship Id="rId293" Type="http://schemas.openxmlformats.org/officeDocument/2006/relationships/slideLayout" Target="../slideLayouts/slideLayout3148.xml"/><Relationship Id="rId307" Type="http://schemas.openxmlformats.org/officeDocument/2006/relationships/slideLayout" Target="../slideLayouts/slideLayout3162.xml"/><Relationship Id="rId349" Type="http://schemas.openxmlformats.org/officeDocument/2006/relationships/slideLayout" Target="../slideLayouts/slideLayout3204.xml"/><Relationship Id="rId88" Type="http://schemas.openxmlformats.org/officeDocument/2006/relationships/slideLayout" Target="../slideLayouts/slideLayout2943.xml"/><Relationship Id="rId111" Type="http://schemas.openxmlformats.org/officeDocument/2006/relationships/slideLayout" Target="../slideLayouts/slideLayout2966.xml"/><Relationship Id="rId153" Type="http://schemas.openxmlformats.org/officeDocument/2006/relationships/slideLayout" Target="../slideLayouts/slideLayout3008.xml"/><Relationship Id="rId195" Type="http://schemas.openxmlformats.org/officeDocument/2006/relationships/slideLayout" Target="../slideLayouts/slideLayout3050.xml"/><Relationship Id="rId209" Type="http://schemas.openxmlformats.org/officeDocument/2006/relationships/slideLayout" Target="../slideLayouts/slideLayout3064.xml"/><Relationship Id="rId360" Type="http://schemas.openxmlformats.org/officeDocument/2006/relationships/slideLayout" Target="../slideLayouts/slideLayout3215.xml"/><Relationship Id="rId416" Type="http://schemas.openxmlformats.org/officeDocument/2006/relationships/slideLayout" Target="../slideLayouts/slideLayout3271.xml"/><Relationship Id="rId220" Type="http://schemas.openxmlformats.org/officeDocument/2006/relationships/slideLayout" Target="../slideLayouts/slideLayout3075.xml"/><Relationship Id="rId15" Type="http://schemas.openxmlformats.org/officeDocument/2006/relationships/slideLayout" Target="../slideLayouts/slideLayout2870.xml"/><Relationship Id="rId57" Type="http://schemas.openxmlformats.org/officeDocument/2006/relationships/slideLayout" Target="../slideLayouts/slideLayout2912.xml"/><Relationship Id="rId262" Type="http://schemas.openxmlformats.org/officeDocument/2006/relationships/slideLayout" Target="../slideLayouts/slideLayout3117.xml"/><Relationship Id="rId318" Type="http://schemas.openxmlformats.org/officeDocument/2006/relationships/slideLayout" Target="../slideLayouts/slideLayout3173.xml"/><Relationship Id="rId99" Type="http://schemas.openxmlformats.org/officeDocument/2006/relationships/slideLayout" Target="../slideLayouts/slideLayout2954.xml"/><Relationship Id="rId122" Type="http://schemas.openxmlformats.org/officeDocument/2006/relationships/slideLayout" Target="../slideLayouts/slideLayout2977.xml"/><Relationship Id="rId164" Type="http://schemas.openxmlformats.org/officeDocument/2006/relationships/slideLayout" Target="../slideLayouts/slideLayout3019.xml"/><Relationship Id="rId371" Type="http://schemas.openxmlformats.org/officeDocument/2006/relationships/slideLayout" Target="../slideLayouts/slideLayout3226.xml"/><Relationship Id="rId427" Type="http://schemas.openxmlformats.org/officeDocument/2006/relationships/slideLayout" Target="../slideLayouts/slideLayout3282.xml"/><Relationship Id="rId26" Type="http://schemas.openxmlformats.org/officeDocument/2006/relationships/slideLayout" Target="../slideLayouts/slideLayout2881.xml"/><Relationship Id="rId231" Type="http://schemas.openxmlformats.org/officeDocument/2006/relationships/slideLayout" Target="../slideLayouts/slideLayout3086.xml"/><Relationship Id="rId273" Type="http://schemas.openxmlformats.org/officeDocument/2006/relationships/slideLayout" Target="../slideLayouts/slideLayout3128.xml"/><Relationship Id="rId329" Type="http://schemas.openxmlformats.org/officeDocument/2006/relationships/slideLayout" Target="../slideLayouts/slideLayout3184.xml"/><Relationship Id="rId68" Type="http://schemas.openxmlformats.org/officeDocument/2006/relationships/slideLayout" Target="../slideLayouts/slideLayout2923.xml"/><Relationship Id="rId133" Type="http://schemas.openxmlformats.org/officeDocument/2006/relationships/slideLayout" Target="../slideLayouts/slideLayout2988.xml"/><Relationship Id="rId175" Type="http://schemas.openxmlformats.org/officeDocument/2006/relationships/slideLayout" Target="../slideLayouts/slideLayout3030.xml"/><Relationship Id="rId340" Type="http://schemas.openxmlformats.org/officeDocument/2006/relationships/slideLayout" Target="../slideLayouts/slideLayout3195.xml"/><Relationship Id="rId200" Type="http://schemas.openxmlformats.org/officeDocument/2006/relationships/slideLayout" Target="../slideLayouts/slideLayout3055.xml"/><Relationship Id="rId382" Type="http://schemas.openxmlformats.org/officeDocument/2006/relationships/slideLayout" Target="../slideLayouts/slideLayout3237.xml"/><Relationship Id="rId438" Type="http://schemas.openxmlformats.org/officeDocument/2006/relationships/slideLayout" Target="../slideLayouts/slideLayout3293.xml"/><Relationship Id="rId242" Type="http://schemas.openxmlformats.org/officeDocument/2006/relationships/slideLayout" Target="../slideLayouts/slideLayout3097.xml"/><Relationship Id="rId284" Type="http://schemas.openxmlformats.org/officeDocument/2006/relationships/slideLayout" Target="../slideLayouts/slideLayout3139.xml"/><Relationship Id="rId37" Type="http://schemas.openxmlformats.org/officeDocument/2006/relationships/slideLayout" Target="../slideLayouts/slideLayout2892.xml"/><Relationship Id="rId79" Type="http://schemas.openxmlformats.org/officeDocument/2006/relationships/slideLayout" Target="../slideLayouts/slideLayout2934.xml"/><Relationship Id="rId102" Type="http://schemas.openxmlformats.org/officeDocument/2006/relationships/slideLayout" Target="../slideLayouts/slideLayout2957.xml"/><Relationship Id="rId144" Type="http://schemas.openxmlformats.org/officeDocument/2006/relationships/slideLayout" Target="../slideLayouts/slideLayout2999.xml"/><Relationship Id="rId90" Type="http://schemas.openxmlformats.org/officeDocument/2006/relationships/slideLayout" Target="../slideLayouts/slideLayout2945.xml"/><Relationship Id="rId186" Type="http://schemas.openxmlformats.org/officeDocument/2006/relationships/slideLayout" Target="../slideLayouts/slideLayout3041.xml"/><Relationship Id="rId351" Type="http://schemas.openxmlformats.org/officeDocument/2006/relationships/slideLayout" Target="../slideLayouts/slideLayout3206.xml"/><Relationship Id="rId393" Type="http://schemas.openxmlformats.org/officeDocument/2006/relationships/slideLayout" Target="../slideLayouts/slideLayout3248.xml"/><Relationship Id="rId407" Type="http://schemas.openxmlformats.org/officeDocument/2006/relationships/slideLayout" Target="../slideLayouts/slideLayout3262.xml"/><Relationship Id="rId211" Type="http://schemas.openxmlformats.org/officeDocument/2006/relationships/slideLayout" Target="../slideLayouts/slideLayout3066.xml"/><Relationship Id="rId253" Type="http://schemas.openxmlformats.org/officeDocument/2006/relationships/slideLayout" Target="../slideLayouts/slideLayout3108.xml"/><Relationship Id="rId295" Type="http://schemas.openxmlformats.org/officeDocument/2006/relationships/slideLayout" Target="../slideLayouts/slideLayout3150.xml"/><Relationship Id="rId309" Type="http://schemas.openxmlformats.org/officeDocument/2006/relationships/slideLayout" Target="../slideLayouts/slideLayout3164.xml"/><Relationship Id="rId48" Type="http://schemas.openxmlformats.org/officeDocument/2006/relationships/slideLayout" Target="../slideLayouts/slideLayout2903.xml"/><Relationship Id="rId113" Type="http://schemas.openxmlformats.org/officeDocument/2006/relationships/slideLayout" Target="../slideLayouts/slideLayout2968.xml"/><Relationship Id="rId320" Type="http://schemas.openxmlformats.org/officeDocument/2006/relationships/slideLayout" Target="../slideLayouts/slideLayout3175.xml"/><Relationship Id="rId155" Type="http://schemas.openxmlformats.org/officeDocument/2006/relationships/slideLayout" Target="../slideLayouts/slideLayout3010.xml"/><Relationship Id="rId197" Type="http://schemas.openxmlformats.org/officeDocument/2006/relationships/slideLayout" Target="../slideLayouts/slideLayout3052.xml"/><Relationship Id="rId362" Type="http://schemas.openxmlformats.org/officeDocument/2006/relationships/slideLayout" Target="../slideLayouts/slideLayout3217.xml"/><Relationship Id="rId418" Type="http://schemas.openxmlformats.org/officeDocument/2006/relationships/slideLayout" Target="../slideLayouts/slideLayout3273.xml"/><Relationship Id="rId222" Type="http://schemas.openxmlformats.org/officeDocument/2006/relationships/slideLayout" Target="../slideLayouts/slideLayout3077.xml"/><Relationship Id="rId264" Type="http://schemas.openxmlformats.org/officeDocument/2006/relationships/slideLayout" Target="../slideLayouts/slideLayout3119.xml"/><Relationship Id="rId17" Type="http://schemas.openxmlformats.org/officeDocument/2006/relationships/slideLayout" Target="../slideLayouts/slideLayout2872.xml"/><Relationship Id="rId59" Type="http://schemas.openxmlformats.org/officeDocument/2006/relationships/slideLayout" Target="../slideLayouts/slideLayout2914.xml"/><Relationship Id="rId124" Type="http://schemas.openxmlformats.org/officeDocument/2006/relationships/slideLayout" Target="../slideLayouts/slideLayout2979.xml"/><Relationship Id="rId70" Type="http://schemas.openxmlformats.org/officeDocument/2006/relationships/slideLayout" Target="../slideLayouts/slideLayout2925.xml"/><Relationship Id="rId166" Type="http://schemas.openxmlformats.org/officeDocument/2006/relationships/slideLayout" Target="../slideLayouts/slideLayout3021.xml"/><Relationship Id="rId331" Type="http://schemas.openxmlformats.org/officeDocument/2006/relationships/slideLayout" Target="../slideLayouts/slideLayout3186.xml"/><Relationship Id="rId373" Type="http://schemas.openxmlformats.org/officeDocument/2006/relationships/slideLayout" Target="../slideLayouts/slideLayout3228.xml"/><Relationship Id="rId429" Type="http://schemas.openxmlformats.org/officeDocument/2006/relationships/slideLayout" Target="../slideLayouts/slideLayout3284.xml"/><Relationship Id="rId1" Type="http://schemas.openxmlformats.org/officeDocument/2006/relationships/slideLayout" Target="../slideLayouts/slideLayout2856.xml"/><Relationship Id="rId233" Type="http://schemas.openxmlformats.org/officeDocument/2006/relationships/slideLayout" Target="../slideLayouts/slideLayout3088.xml"/><Relationship Id="rId28" Type="http://schemas.openxmlformats.org/officeDocument/2006/relationships/slideLayout" Target="../slideLayouts/slideLayout2883.xml"/><Relationship Id="rId275" Type="http://schemas.openxmlformats.org/officeDocument/2006/relationships/slideLayout" Target="../slideLayouts/slideLayout3130.xml"/><Relationship Id="rId300" Type="http://schemas.openxmlformats.org/officeDocument/2006/relationships/slideLayout" Target="../slideLayouts/slideLayout315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3" Type="http://schemas.openxmlformats.org/officeDocument/2006/relationships/slideLayout" Target="../slideLayouts/slideLayout299.xml"/><Relationship Id="rId7" Type="http://schemas.openxmlformats.org/officeDocument/2006/relationships/slideLayout" Target="../slideLayouts/slideLayout30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98.xml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slideLayout" Target="../slideLayouts/slideLayout307.xml"/><Relationship Id="rId5" Type="http://schemas.openxmlformats.org/officeDocument/2006/relationships/slideLayout" Target="../slideLayouts/slideLayout301.xml"/><Relationship Id="rId10" Type="http://schemas.openxmlformats.org/officeDocument/2006/relationships/slideLayout" Target="../slideLayouts/slideLayout306.xml"/><Relationship Id="rId4" Type="http://schemas.openxmlformats.org/officeDocument/2006/relationships/slideLayout" Target="../slideLayouts/slideLayout300.xml"/><Relationship Id="rId9" Type="http://schemas.openxmlformats.org/officeDocument/2006/relationships/slideLayout" Target="../slideLayouts/slideLayout30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5.xml"/><Relationship Id="rId3" Type="http://schemas.openxmlformats.org/officeDocument/2006/relationships/slideLayout" Target="../slideLayouts/slideLayout310.xml"/><Relationship Id="rId7" Type="http://schemas.openxmlformats.org/officeDocument/2006/relationships/slideLayout" Target="../slideLayouts/slideLayout31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09.xml"/><Relationship Id="rId1" Type="http://schemas.openxmlformats.org/officeDocument/2006/relationships/slideLayout" Target="../slideLayouts/slideLayout308.xml"/><Relationship Id="rId6" Type="http://schemas.openxmlformats.org/officeDocument/2006/relationships/slideLayout" Target="../slideLayouts/slideLayout313.xml"/><Relationship Id="rId11" Type="http://schemas.openxmlformats.org/officeDocument/2006/relationships/slideLayout" Target="../slideLayouts/slideLayout318.xml"/><Relationship Id="rId5" Type="http://schemas.openxmlformats.org/officeDocument/2006/relationships/slideLayout" Target="../slideLayouts/slideLayout312.xml"/><Relationship Id="rId10" Type="http://schemas.openxmlformats.org/officeDocument/2006/relationships/slideLayout" Target="../slideLayouts/slideLayout317.xml"/><Relationship Id="rId4" Type="http://schemas.openxmlformats.org/officeDocument/2006/relationships/slideLayout" Target="../slideLayouts/slideLayout311.xml"/><Relationship Id="rId9" Type="http://schemas.openxmlformats.org/officeDocument/2006/relationships/slideLayout" Target="../slideLayouts/slideLayout316.xml"/></Relationships>
</file>

<file path=ppt/slideMasters/_rels/slideMaster5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435.xml"/><Relationship Id="rId299" Type="http://schemas.openxmlformats.org/officeDocument/2006/relationships/slideLayout" Target="../slideLayouts/slideLayout617.xml"/><Relationship Id="rId21" Type="http://schemas.openxmlformats.org/officeDocument/2006/relationships/slideLayout" Target="../slideLayouts/slideLayout339.xml"/><Relationship Id="rId63" Type="http://schemas.openxmlformats.org/officeDocument/2006/relationships/slideLayout" Target="../slideLayouts/slideLayout381.xml"/><Relationship Id="rId159" Type="http://schemas.openxmlformats.org/officeDocument/2006/relationships/slideLayout" Target="../slideLayouts/slideLayout477.xml"/><Relationship Id="rId324" Type="http://schemas.openxmlformats.org/officeDocument/2006/relationships/slideLayout" Target="../slideLayouts/slideLayout642.xml"/><Relationship Id="rId366" Type="http://schemas.openxmlformats.org/officeDocument/2006/relationships/slideLayout" Target="../slideLayouts/slideLayout684.xml"/><Relationship Id="rId170" Type="http://schemas.openxmlformats.org/officeDocument/2006/relationships/slideLayout" Target="../slideLayouts/slideLayout488.xml"/><Relationship Id="rId226" Type="http://schemas.openxmlformats.org/officeDocument/2006/relationships/slideLayout" Target="../slideLayouts/slideLayout544.xml"/><Relationship Id="rId433" Type="http://schemas.openxmlformats.org/officeDocument/2006/relationships/slideLayout" Target="../slideLayouts/slideLayout751.xml"/><Relationship Id="rId268" Type="http://schemas.openxmlformats.org/officeDocument/2006/relationships/slideLayout" Target="../slideLayouts/slideLayout586.xml"/><Relationship Id="rId32" Type="http://schemas.openxmlformats.org/officeDocument/2006/relationships/slideLayout" Target="../slideLayouts/slideLayout350.xml"/><Relationship Id="rId74" Type="http://schemas.openxmlformats.org/officeDocument/2006/relationships/slideLayout" Target="../slideLayouts/slideLayout392.xml"/><Relationship Id="rId128" Type="http://schemas.openxmlformats.org/officeDocument/2006/relationships/slideLayout" Target="../slideLayouts/slideLayout446.xml"/><Relationship Id="rId335" Type="http://schemas.openxmlformats.org/officeDocument/2006/relationships/slideLayout" Target="../slideLayouts/slideLayout653.xml"/><Relationship Id="rId377" Type="http://schemas.openxmlformats.org/officeDocument/2006/relationships/slideLayout" Target="../slideLayouts/slideLayout695.xml"/><Relationship Id="rId5" Type="http://schemas.openxmlformats.org/officeDocument/2006/relationships/slideLayout" Target="../slideLayouts/slideLayout323.xml"/><Relationship Id="rId181" Type="http://schemas.openxmlformats.org/officeDocument/2006/relationships/slideLayout" Target="../slideLayouts/slideLayout499.xml"/><Relationship Id="rId237" Type="http://schemas.openxmlformats.org/officeDocument/2006/relationships/slideLayout" Target="../slideLayouts/slideLayout555.xml"/><Relationship Id="rId402" Type="http://schemas.openxmlformats.org/officeDocument/2006/relationships/slideLayout" Target="../slideLayouts/slideLayout720.xml"/><Relationship Id="rId279" Type="http://schemas.openxmlformats.org/officeDocument/2006/relationships/slideLayout" Target="../slideLayouts/slideLayout597.xml"/><Relationship Id="rId444" Type="http://schemas.openxmlformats.org/officeDocument/2006/relationships/slideLayout" Target="../slideLayouts/slideLayout762.xml"/><Relationship Id="rId43" Type="http://schemas.openxmlformats.org/officeDocument/2006/relationships/slideLayout" Target="../slideLayouts/slideLayout361.xml"/><Relationship Id="rId139" Type="http://schemas.openxmlformats.org/officeDocument/2006/relationships/slideLayout" Target="../slideLayouts/slideLayout457.xml"/><Relationship Id="rId290" Type="http://schemas.openxmlformats.org/officeDocument/2006/relationships/slideLayout" Target="../slideLayouts/slideLayout608.xml"/><Relationship Id="rId304" Type="http://schemas.openxmlformats.org/officeDocument/2006/relationships/slideLayout" Target="../slideLayouts/slideLayout622.xml"/><Relationship Id="rId346" Type="http://schemas.openxmlformats.org/officeDocument/2006/relationships/slideLayout" Target="../slideLayouts/slideLayout664.xml"/><Relationship Id="rId388" Type="http://schemas.openxmlformats.org/officeDocument/2006/relationships/slideLayout" Target="../slideLayouts/slideLayout706.xml"/><Relationship Id="rId85" Type="http://schemas.openxmlformats.org/officeDocument/2006/relationships/slideLayout" Target="../slideLayouts/slideLayout403.xml"/><Relationship Id="rId150" Type="http://schemas.openxmlformats.org/officeDocument/2006/relationships/slideLayout" Target="../slideLayouts/slideLayout468.xml"/><Relationship Id="rId192" Type="http://schemas.openxmlformats.org/officeDocument/2006/relationships/slideLayout" Target="../slideLayouts/slideLayout510.xml"/><Relationship Id="rId206" Type="http://schemas.openxmlformats.org/officeDocument/2006/relationships/slideLayout" Target="../slideLayouts/slideLayout524.xml"/><Relationship Id="rId413" Type="http://schemas.openxmlformats.org/officeDocument/2006/relationships/slideLayout" Target="../slideLayouts/slideLayout731.xml"/><Relationship Id="rId248" Type="http://schemas.openxmlformats.org/officeDocument/2006/relationships/slideLayout" Target="../slideLayouts/slideLayout566.xml"/><Relationship Id="rId455" Type="http://schemas.openxmlformats.org/officeDocument/2006/relationships/slideLayout" Target="../slideLayouts/slideLayout773.xml"/><Relationship Id="rId12" Type="http://schemas.openxmlformats.org/officeDocument/2006/relationships/slideLayout" Target="../slideLayouts/slideLayout330.xml"/><Relationship Id="rId108" Type="http://schemas.openxmlformats.org/officeDocument/2006/relationships/slideLayout" Target="../slideLayouts/slideLayout426.xml"/><Relationship Id="rId315" Type="http://schemas.openxmlformats.org/officeDocument/2006/relationships/slideLayout" Target="../slideLayouts/slideLayout633.xml"/><Relationship Id="rId357" Type="http://schemas.openxmlformats.org/officeDocument/2006/relationships/slideLayout" Target="../slideLayouts/slideLayout675.xml"/><Relationship Id="rId54" Type="http://schemas.openxmlformats.org/officeDocument/2006/relationships/slideLayout" Target="../slideLayouts/slideLayout372.xml"/><Relationship Id="rId96" Type="http://schemas.openxmlformats.org/officeDocument/2006/relationships/slideLayout" Target="../slideLayouts/slideLayout414.xml"/><Relationship Id="rId161" Type="http://schemas.openxmlformats.org/officeDocument/2006/relationships/slideLayout" Target="../slideLayouts/slideLayout479.xml"/><Relationship Id="rId217" Type="http://schemas.openxmlformats.org/officeDocument/2006/relationships/slideLayout" Target="../slideLayouts/slideLayout535.xml"/><Relationship Id="rId399" Type="http://schemas.openxmlformats.org/officeDocument/2006/relationships/slideLayout" Target="../slideLayouts/slideLayout717.xml"/><Relationship Id="rId259" Type="http://schemas.openxmlformats.org/officeDocument/2006/relationships/slideLayout" Target="../slideLayouts/slideLayout577.xml"/><Relationship Id="rId424" Type="http://schemas.openxmlformats.org/officeDocument/2006/relationships/slideLayout" Target="../slideLayouts/slideLayout742.xml"/><Relationship Id="rId23" Type="http://schemas.openxmlformats.org/officeDocument/2006/relationships/slideLayout" Target="../slideLayouts/slideLayout341.xml"/><Relationship Id="rId119" Type="http://schemas.openxmlformats.org/officeDocument/2006/relationships/slideLayout" Target="../slideLayouts/slideLayout437.xml"/><Relationship Id="rId270" Type="http://schemas.openxmlformats.org/officeDocument/2006/relationships/slideLayout" Target="../slideLayouts/slideLayout588.xml"/><Relationship Id="rId326" Type="http://schemas.openxmlformats.org/officeDocument/2006/relationships/slideLayout" Target="../slideLayouts/slideLayout644.xml"/><Relationship Id="rId65" Type="http://schemas.openxmlformats.org/officeDocument/2006/relationships/slideLayout" Target="../slideLayouts/slideLayout383.xml"/><Relationship Id="rId130" Type="http://schemas.openxmlformats.org/officeDocument/2006/relationships/slideLayout" Target="../slideLayouts/slideLayout448.xml"/><Relationship Id="rId368" Type="http://schemas.openxmlformats.org/officeDocument/2006/relationships/slideLayout" Target="../slideLayouts/slideLayout686.xml"/><Relationship Id="rId172" Type="http://schemas.openxmlformats.org/officeDocument/2006/relationships/slideLayout" Target="../slideLayouts/slideLayout490.xml"/><Relationship Id="rId228" Type="http://schemas.openxmlformats.org/officeDocument/2006/relationships/slideLayout" Target="../slideLayouts/slideLayout546.xml"/><Relationship Id="rId435" Type="http://schemas.openxmlformats.org/officeDocument/2006/relationships/slideLayout" Target="../slideLayouts/slideLayout753.xml"/><Relationship Id="rId281" Type="http://schemas.openxmlformats.org/officeDocument/2006/relationships/slideLayout" Target="../slideLayouts/slideLayout599.xml"/><Relationship Id="rId337" Type="http://schemas.openxmlformats.org/officeDocument/2006/relationships/slideLayout" Target="../slideLayouts/slideLayout655.xml"/><Relationship Id="rId34" Type="http://schemas.openxmlformats.org/officeDocument/2006/relationships/slideLayout" Target="../slideLayouts/slideLayout352.xml"/><Relationship Id="rId76" Type="http://schemas.openxmlformats.org/officeDocument/2006/relationships/slideLayout" Target="../slideLayouts/slideLayout394.xml"/><Relationship Id="rId141" Type="http://schemas.openxmlformats.org/officeDocument/2006/relationships/slideLayout" Target="../slideLayouts/slideLayout459.xml"/><Relationship Id="rId379" Type="http://schemas.openxmlformats.org/officeDocument/2006/relationships/slideLayout" Target="../slideLayouts/slideLayout697.xml"/><Relationship Id="rId7" Type="http://schemas.openxmlformats.org/officeDocument/2006/relationships/slideLayout" Target="../slideLayouts/slideLayout325.xml"/><Relationship Id="rId183" Type="http://schemas.openxmlformats.org/officeDocument/2006/relationships/slideLayout" Target="../slideLayouts/slideLayout501.xml"/><Relationship Id="rId239" Type="http://schemas.openxmlformats.org/officeDocument/2006/relationships/slideLayout" Target="../slideLayouts/slideLayout557.xml"/><Relationship Id="rId390" Type="http://schemas.openxmlformats.org/officeDocument/2006/relationships/slideLayout" Target="../slideLayouts/slideLayout708.xml"/><Relationship Id="rId404" Type="http://schemas.openxmlformats.org/officeDocument/2006/relationships/slideLayout" Target="../slideLayouts/slideLayout722.xml"/><Relationship Id="rId446" Type="http://schemas.openxmlformats.org/officeDocument/2006/relationships/slideLayout" Target="../slideLayouts/slideLayout764.xml"/><Relationship Id="rId250" Type="http://schemas.openxmlformats.org/officeDocument/2006/relationships/slideLayout" Target="../slideLayouts/slideLayout568.xml"/><Relationship Id="rId292" Type="http://schemas.openxmlformats.org/officeDocument/2006/relationships/slideLayout" Target="../slideLayouts/slideLayout610.xml"/><Relationship Id="rId306" Type="http://schemas.openxmlformats.org/officeDocument/2006/relationships/slideLayout" Target="../slideLayouts/slideLayout624.xml"/><Relationship Id="rId45" Type="http://schemas.openxmlformats.org/officeDocument/2006/relationships/slideLayout" Target="../slideLayouts/slideLayout363.xml"/><Relationship Id="rId87" Type="http://schemas.openxmlformats.org/officeDocument/2006/relationships/slideLayout" Target="../slideLayouts/slideLayout405.xml"/><Relationship Id="rId110" Type="http://schemas.openxmlformats.org/officeDocument/2006/relationships/slideLayout" Target="../slideLayouts/slideLayout428.xml"/><Relationship Id="rId348" Type="http://schemas.openxmlformats.org/officeDocument/2006/relationships/slideLayout" Target="../slideLayouts/slideLayout666.xml"/><Relationship Id="rId152" Type="http://schemas.openxmlformats.org/officeDocument/2006/relationships/slideLayout" Target="../slideLayouts/slideLayout470.xml"/><Relationship Id="rId194" Type="http://schemas.openxmlformats.org/officeDocument/2006/relationships/slideLayout" Target="../slideLayouts/slideLayout512.xml"/><Relationship Id="rId208" Type="http://schemas.openxmlformats.org/officeDocument/2006/relationships/slideLayout" Target="../slideLayouts/slideLayout526.xml"/><Relationship Id="rId415" Type="http://schemas.openxmlformats.org/officeDocument/2006/relationships/slideLayout" Target="../slideLayouts/slideLayout733.xml"/><Relationship Id="rId457" Type="http://schemas.openxmlformats.org/officeDocument/2006/relationships/slideLayout" Target="../slideLayouts/slideLayout775.xml"/><Relationship Id="rId261" Type="http://schemas.openxmlformats.org/officeDocument/2006/relationships/slideLayout" Target="../slideLayouts/slideLayout579.xml"/><Relationship Id="rId14" Type="http://schemas.openxmlformats.org/officeDocument/2006/relationships/slideLayout" Target="../slideLayouts/slideLayout332.xml"/><Relationship Id="rId56" Type="http://schemas.openxmlformats.org/officeDocument/2006/relationships/slideLayout" Target="../slideLayouts/slideLayout374.xml"/><Relationship Id="rId317" Type="http://schemas.openxmlformats.org/officeDocument/2006/relationships/slideLayout" Target="../slideLayouts/slideLayout635.xml"/><Relationship Id="rId359" Type="http://schemas.openxmlformats.org/officeDocument/2006/relationships/slideLayout" Target="../slideLayouts/slideLayout677.xml"/><Relationship Id="rId98" Type="http://schemas.openxmlformats.org/officeDocument/2006/relationships/slideLayout" Target="../slideLayouts/slideLayout416.xml"/><Relationship Id="rId121" Type="http://schemas.openxmlformats.org/officeDocument/2006/relationships/slideLayout" Target="../slideLayouts/slideLayout439.xml"/><Relationship Id="rId163" Type="http://schemas.openxmlformats.org/officeDocument/2006/relationships/slideLayout" Target="../slideLayouts/slideLayout481.xml"/><Relationship Id="rId219" Type="http://schemas.openxmlformats.org/officeDocument/2006/relationships/slideLayout" Target="../slideLayouts/slideLayout537.xml"/><Relationship Id="rId370" Type="http://schemas.openxmlformats.org/officeDocument/2006/relationships/slideLayout" Target="../slideLayouts/slideLayout688.xml"/><Relationship Id="rId426" Type="http://schemas.openxmlformats.org/officeDocument/2006/relationships/slideLayout" Target="../slideLayouts/slideLayout744.xml"/><Relationship Id="rId230" Type="http://schemas.openxmlformats.org/officeDocument/2006/relationships/slideLayout" Target="../slideLayouts/slideLayout548.xml"/><Relationship Id="rId25" Type="http://schemas.openxmlformats.org/officeDocument/2006/relationships/slideLayout" Target="../slideLayouts/slideLayout343.xml"/><Relationship Id="rId67" Type="http://schemas.openxmlformats.org/officeDocument/2006/relationships/slideLayout" Target="../slideLayouts/slideLayout385.xml"/><Relationship Id="rId272" Type="http://schemas.openxmlformats.org/officeDocument/2006/relationships/slideLayout" Target="../slideLayouts/slideLayout590.xml"/><Relationship Id="rId328" Type="http://schemas.openxmlformats.org/officeDocument/2006/relationships/slideLayout" Target="../slideLayouts/slideLayout646.xml"/><Relationship Id="rId132" Type="http://schemas.openxmlformats.org/officeDocument/2006/relationships/slideLayout" Target="../slideLayouts/slideLayout450.xml"/><Relationship Id="rId174" Type="http://schemas.openxmlformats.org/officeDocument/2006/relationships/slideLayout" Target="../slideLayouts/slideLayout492.xml"/><Relationship Id="rId381" Type="http://schemas.openxmlformats.org/officeDocument/2006/relationships/slideLayout" Target="../slideLayouts/slideLayout699.xml"/><Relationship Id="rId241" Type="http://schemas.openxmlformats.org/officeDocument/2006/relationships/slideLayout" Target="../slideLayouts/slideLayout559.xml"/><Relationship Id="rId437" Type="http://schemas.openxmlformats.org/officeDocument/2006/relationships/slideLayout" Target="../slideLayouts/slideLayout755.xml"/><Relationship Id="rId36" Type="http://schemas.openxmlformats.org/officeDocument/2006/relationships/slideLayout" Target="../slideLayouts/slideLayout354.xml"/><Relationship Id="rId283" Type="http://schemas.openxmlformats.org/officeDocument/2006/relationships/slideLayout" Target="../slideLayouts/slideLayout601.xml"/><Relationship Id="rId339" Type="http://schemas.openxmlformats.org/officeDocument/2006/relationships/slideLayout" Target="../slideLayouts/slideLayout657.xml"/><Relationship Id="rId78" Type="http://schemas.openxmlformats.org/officeDocument/2006/relationships/slideLayout" Target="../slideLayouts/slideLayout396.xml"/><Relationship Id="rId101" Type="http://schemas.openxmlformats.org/officeDocument/2006/relationships/slideLayout" Target="../slideLayouts/slideLayout419.xml"/><Relationship Id="rId143" Type="http://schemas.openxmlformats.org/officeDocument/2006/relationships/slideLayout" Target="../slideLayouts/slideLayout461.xml"/><Relationship Id="rId185" Type="http://schemas.openxmlformats.org/officeDocument/2006/relationships/slideLayout" Target="../slideLayouts/slideLayout503.xml"/><Relationship Id="rId350" Type="http://schemas.openxmlformats.org/officeDocument/2006/relationships/slideLayout" Target="../slideLayouts/slideLayout668.xml"/><Relationship Id="rId406" Type="http://schemas.openxmlformats.org/officeDocument/2006/relationships/slideLayout" Target="../slideLayouts/slideLayout724.xml"/><Relationship Id="rId9" Type="http://schemas.openxmlformats.org/officeDocument/2006/relationships/slideLayout" Target="../slideLayouts/slideLayout327.xml"/><Relationship Id="rId210" Type="http://schemas.openxmlformats.org/officeDocument/2006/relationships/slideLayout" Target="../slideLayouts/slideLayout528.xml"/><Relationship Id="rId392" Type="http://schemas.openxmlformats.org/officeDocument/2006/relationships/slideLayout" Target="../slideLayouts/slideLayout710.xml"/><Relationship Id="rId448" Type="http://schemas.openxmlformats.org/officeDocument/2006/relationships/slideLayout" Target="../slideLayouts/slideLayout766.xml"/><Relationship Id="rId252" Type="http://schemas.openxmlformats.org/officeDocument/2006/relationships/slideLayout" Target="../slideLayouts/slideLayout570.xml"/><Relationship Id="rId294" Type="http://schemas.openxmlformats.org/officeDocument/2006/relationships/slideLayout" Target="../slideLayouts/slideLayout612.xml"/><Relationship Id="rId308" Type="http://schemas.openxmlformats.org/officeDocument/2006/relationships/slideLayout" Target="../slideLayouts/slideLayout626.xml"/><Relationship Id="rId47" Type="http://schemas.openxmlformats.org/officeDocument/2006/relationships/slideLayout" Target="../slideLayouts/slideLayout365.xml"/><Relationship Id="rId89" Type="http://schemas.openxmlformats.org/officeDocument/2006/relationships/slideLayout" Target="../slideLayouts/slideLayout407.xml"/><Relationship Id="rId112" Type="http://schemas.openxmlformats.org/officeDocument/2006/relationships/slideLayout" Target="../slideLayouts/slideLayout430.xml"/><Relationship Id="rId154" Type="http://schemas.openxmlformats.org/officeDocument/2006/relationships/slideLayout" Target="../slideLayouts/slideLayout472.xml"/><Relationship Id="rId361" Type="http://schemas.openxmlformats.org/officeDocument/2006/relationships/slideLayout" Target="../slideLayouts/slideLayout679.xml"/><Relationship Id="rId196" Type="http://schemas.openxmlformats.org/officeDocument/2006/relationships/slideLayout" Target="../slideLayouts/slideLayout514.xml"/><Relationship Id="rId417" Type="http://schemas.openxmlformats.org/officeDocument/2006/relationships/slideLayout" Target="../slideLayouts/slideLayout735.xml"/><Relationship Id="rId459" Type="http://schemas.openxmlformats.org/officeDocument/2006/relationships/slideLayout" Target="../slideLayouts/slideLayout777.xml"/><Relationship Id="rId16" Type="http://schemas.openxmlformats.org/officeDocument/2006/relationships/slideLayout" Target="../slideLayouts/slideLayout334.xml"/><Relationship Id="rId221" Type="http://schemas.openxmlformats.org/officeDocument/2006/relationships/slideLayout" Target="../slideLayouts/slideLayout539.xml"/><Relationship Id="rId263" Type="http://schemas.openxmlformats.org/officeDocument/2006/relationships/slideLayout" Target="../slideLayouts/slideLayout581.xml"/><Relationship Id="rId319" Type="http://schemas.openxmlformats.org/officeDocument/2006/relationships/slideLayout" Target="../slideLayouts/slideLayout637.xml"/><Relationship Id="rId58" Type="http://schemas.openxmlformats.org/officeDocument/2006/relationships/slideLayout" Target="../slideLayouts/slideLayout376.xml"/><Relationship Id="rId123" Type="http://schemas.openxmlformats.org/officeDocument/2006/relationships/slideLayout" Target="../slideLayouts/slideLayout441.xml"/><Relationship Id="rId330" Type="http://schemas.openxmlformats.org/officeDocument/2006/relationships/slideLayout" Target="../slideLayouts/slideLayout648.xml"/><Relationship Id="rId165" Type="http://schemas.openxmlformats.org/officeDocument/2006/relationships/slideLayout" Target="../slideLayouts/slideLayout483.xml"/><Relationship Id="rId372" Type="http://schemas.openxmlformats.org/officeDocument/2006/relationships/slideLayout" Target="../slideLayouts/slideLayout690.xml"/><Relationship Id="rId428" Type="http://schemas.openxmlformats.org/officeDocument/2006/relationships/slideLayout" Target="../slideLayouts/slideLayout746.xml"/><Relationship Id="rId232" Type="http://schemas.openxmlformats.org/officeDocument/2006/relationships/slideLayout" Target="../slideLayouts/slideLayout550.xml"/><Relationship Id="rId274" Type="http://schemas.openxmlformats.org/officeDocument/2006/relationships/slideLayout" Target="../slideLayouts/slideLayout592.xml"/><Relationship Id="rId27" Type="http://schemas.openxmlformats.org/officeDocument/2006/relationships/slideLayout" Target="../slideLayouts/slideLayout345.xml"/><Relationship Id="rId69" Type="http://schemas.openxmlformats.org/officeDocument/2006/relationships/slideLayout" Target="../slideLayouts/slideLayout387.xml"/><Relationship Id="rId134" Type="http://schemas.openxmlformats.org/officeDocument/2006/relationships/slideLayout" Target="../slideLayouts/slideLayout452.xml"/><Relationship Id="rId80" Type="http://schemas.openxmlformats.org/officeDocument/2006/relationships/slideLayout" Target="../slideLayouts/slideLayout398.xml"/><Relationship Id="rId176" Type="http://schemas.openxmlformats.org/officeDocument/2006/relationships/slideLayout" Target="../slideLayouts/slideLayout494.xml"/><Relationship Id="rId341" Type="http://schemas.openxmlformats.org/officeDocument/2006/relationships/slideLayout" Target="../slideLayouts/slideLayout659.xml"/><Relationship Id="rId383" Type="http://schemas.openxmlformats.org/officeDocument/2006/relationships/slideLayout" Target="../slideLayouts/slideLayout701.xml"/><Relationship Id="rId439" Type="http://schemas.openxmlformats.org/officeDocument/2006/relationships/slideLayout" Target="../slideLayouts/slideLayout757.xml"/><Relationship Id="rId201" Type="http://schemas.openxmlformats.org/officeDocument/2006/relationships/slideLayout" Target="../slideLayouts/slideLayout519.xml"/><Relationship Id="rId243" Type="http://schemas.openxmlformats.org/officeDocument/2006/relationships/slideLayout" Target="../slideLayouts/slideLayout561.xml"/><Relationship Id="rId285" Type="http://schemas.openxmlformats.org/officeDocument/2006/relationships/slideLayout" Target="../slideLayouts/slideLayout603.xml"/><Relationship Id="rId450" Type="http://schemas.openxmlformats.org/officeDocument/2006/relationships/slideLayout" Target="../slideLayouts/slideLayout768.xml"/><Relationship Id="rId38" Type="http://schemas.openxmlformats.org/officeDocument/2006/relationships/slideLayout" Target="../slideLayouts/slideLayout356.xml"/><Relationship Id="rId103" Type="http://schemas.openxmlformats.org/officeDocument/2006/relationships/slideLayout" Target="../slideLayouts/slideLayout421.xml"/><Relationship Id="rId310" Type="http://schemas.openxmlformats.org/officeDocument/2006/relationships/slideLayout" Target="../slideLayouts/slideLayout628.xml"/><Relationship Id="rId91" Type="http://schemas.openxmlformats.org/officeDocument/2006/relationships/slideLayout" Target="../slideLayouts/slideLayout409.xml"/><Relationship Id="rId145" Type="http://schemas.openxmlformats.org/officeDocument/2006/relationships/slideLayout" Target="../slideLayouts/slideLayout463.xml"/><Relationship Id="rId187" Type="http://schemas.openxmlformats.org/officeDocument/2006/relationships/slideLayout" Target="../slideLayouts/slideLayout505.xml"/><Relationship Id="rId352" Type="http://schemas.openxmlformats.org/officeDocument/2006/relationships/slideLayout" Target="../slideLayouts/slideLayout670.xml"/><Relationship Id="rId394" Type="http://schemas.openxmlformats.org/officeDocument/2006/relationships/slideLayout" Target="../slideLayouts/slideLayout712.xml"/><Relationship Id="rId408" Type="http://schemas.openxmlformats.org/officeDocument/2006/relationships/slideLayout" Target="../slideLayouts/slideLayout726.xml"/><Relationship Id="rId212" Type="http://schemas.openxmlformats.org/officeDocument/2006/relationships/slideLayout" Target="../slideLayouts/slideLayout530.xml"/><Relationship Id="rId254" Type="http://schemas.openxmlformats.org/officeDocument/2006/relationships/slideLayout" Target="../slideLayouts/slideLayout572.xml"/><Relationship Id="rId49" Type="http://schemas.openxmlformats.org/officeDocument/2006/relationships/slideLayout" Target="../slideLayouts/slideLayout367.xml"/><Relationship Id="rId114" Type="http://schemas.openxmlformats.org/officeDocument/2006/relationships/slideLayout" Target="../slideLayouts/slideLayout432.xml"/><Relationship Id="rId296" Type="http://schemas.openxmlformats.org/officeDocument/2006/relationships/slideLayout" Target="../slideLayouts/slideLayout614.xml"/><Relationship Id="rId461" Type="http://schemas.openxmlformats.org/officeDocument/2006/relationships/slideLayout" Target="../slideLayouts/slideLayout779.xml"/><Relationship Id="rId60" Type="http://schemas.openxmlformats.org/officeDocument/2006/relationships/slideLayout" Target="../slideLayouts/slideLayout378.xml"/><Relationship Id="rId156" Type="http://schemas.openxmlformats.org/officeDocument/2006/relationships/slideLayout" Target="../slideLayouts/slideLayout474.xml"/><Relationship Id="rId198" Type="http://schemas.openxmlformats.org/officeDocument/2006/relationships/slideLayout" Target="../slideLayouts/slideLayout516.xml"/><Relationship Id="rId321" Type="http://schemas.openxmlformats.org/officeDocument/2006/relationships/slideLayout" Target="../slideLayouts/slideLayout639.xml"/><Relationship Id="rId363" Type="http://schemas.openxmlformats.org/officeDocument/2006/relationships/slideLayout" Target="../slideLayouts/slideLayout681.xml"/><Relationship Id="rId419" Type="http://schemas.openxmlformats.org/officeDocument/2006/relationships/slideLayout" Target="../slideLayouts/slideLayout737.xml"/><Relationship Id="rId223" Type="http://schemas.openxmlformats.org/officeDocument/2006/relationships/slideLayout" Target="../slideLayouts/slideLayout541.xml"/><Relationship Id="rId430" Type="http://schemas.openxmlformats.org/officeDocument/2006/relationships/slideLayout" Target="../slideLayouts/slideLayout748.xml"/><Relationship Id="rId18" Type="http://schemas.openxmlformats.org/officeDocument/2006/relationships/slideLayout" Target="../slideLayouts/slideLayout336.xml"/><Relationship Id="rId265" Type="http://schemas.openxmlformats.org/officeDocument/2006/relationships/slideLayout" Target="../slideLayouts/slideLayout583.xml"/><Relationship Id="rId125" Type="http://schemas.openxmlformats.org/officeDocument/2006/relationships/slideLayout" Target="../slideLayouts/slideLayout443.xml"/><Relationship Id="rId167" Type="http://schemas.openxmlformats.org/officeDocument/2006/relationships/slideLayout" Target="../slideLayouts/slideLayout485.xml"/><Relationship Id="rId332" Type="http://schemas.openxmlformats.org/officeDocument/2006/relationships/slideLayout" Target="../slideLayouts/slideLayout650.xml"/><Relationship Id="rId374" Type="http://schemas.openxmlformats.org/officeDocument/2006/relationships/slideLayout" Target="../slideLayouts/slideLayout692.xml"/><Relationship Id="rId71" Type="http://schemas.openxmlformats.org/officeDocument/2006/relationships/slideLayout" Target="../slideLayouts/slideLayout389.xml"/><Relationship Id="rId234" Type="http://schemas.openxmlformats.org/officeDocument/2006/relationships/slideLayout" Target="../slideLayouts/slideLayout552.xml"/><Relationship Id="rId2" Type="http://schemas.openxmlformats.org/officeDocument/2006/relationships/slideLayout" Target="../slideLayouts/slideLayout320.xml"/><Relationship Id="rId29" Type="http://schemas.openxmlformats.org/officeDocument/2006/relationships/slideLayout" Target="../slideLayouts/slideLayout347.xml"/><Relationship Id="rId276" Type="http://schemas.openxmlformats.org/officeDocument/2006/relationships/slideLayout" Target="../slideLayouts/slideLayout594.xml"/><Relationship Id="rId441" Type="http://schemas.openxmlformats.org/officeDocument/2006/relationships/slideLayout" Target="../slideLayouts/slideLayout759.xml"/><Relationship Id="rId40" Type="http://schemas.openxmlformats.org/officeDocument/2006/relationships/slideLayout" Target="../slideLayouts/slideLayout358.xml"/><Relationship Id="rId115" Type="http://schemas.openxmlformats.org/officeDocument/2006/relationships/slideLayout" Target="../slideLayouts/slideLayout433.xml"/><Relationship Id="rId136" Type="http://schemas.openxmlformats.org/officeDocument/2006/relationships/slideLayout" Target="../slideLayouts/slideLayout454.xml"/><Relationship Id="rId157" Type="http://schemas.openxmlformats.org/officeDocument/2006/relationships/slideLayout" Target="../slideLayouts/slideLayout475.xml"/><Relationship Id="rId178" Type="http://schemas.openxmlformats.org/officeDocument/2006/relationships/slideLayout" Target="../slideLayouts/slideLayout496.xml"/><Relationship Id="rId301" Type="http://schemas.openxmlformats.org/officeDocument/2006/relationships/slideLayout" Target="../slideLayouts/slideLayout619.xml"/><Relationship Id="rId322" Type="http://schemas.openxmlformats.org/officeDocument/2006/relationships/slideLayout" Target="../slideLayouts/slideLayout640.xml"/><Relationship Id="rId343" Type="http://schemas.openxmlformats.org/officeDocument/2006/relationships/slideLayout" Target="../slideLayouts/slideLayout661.xml"/><Relationship Id="rId364" Type="http://schemas.openxmlformats.org/officeDocument/2006/relationships/slideLayout" Target="../slideLayouts/slideLayout682.xml"/><Relationship Id="rId61" Type="http://schemas.openxmlformats.org/officeDocument/2006/relationships/slideLayout" Target="../slideLayouts/slideLayout379.xml"/><Relationship Id="rId82" Type="http://schemas.openxmlformats.org/officeDocument/2006/relationships/slideLayout" Target="../slideLayouts/slideLayout400.xml"/><Relationship Id="rId199" Type="http://schemas.openxmlformats.org/officeDocument/2006/relationships/slideLayout" Target="../slideLayouts/slideLayout517.xml"/><Relationship Id="rId203" Type="http://schemas.openxmlformats.org/officeDocument/2006/relationships/slideLayout" Target="../slideLayouts/slideLayout521.xml"/><Relationship Id="rId385" Type="http://schemas.openxmlformats.org/officeDocument/2006/relationships/slideLayout" Target="../slideLayouts/slideLayout703.xml"/><Relationship Id="rId19" Type="http://schemas.openxmlformats.org/officeDocument/2006/relationships/slideLayout" Target="../slideLayouts/slideLayout337.xml"/><Relationship Id="rId224" Type="http://schemas.openxmlformats.org/officeDocument/2006/relationships/slideLayout" Target="../slideLayouts/slideLayout542.xml"/><Relationship Id="rId245" Type="http://schemas.openxmlformats.org/officeDocument/2006/relationships/slideLayout" Target="../slideLayouts/slideLayout563.xml"/><Relationship Id="rId266" Type="http://schemas.openxmlformats.org/officeDocument/2006/relationships/slideLayout" Target="../slideLayouts/slideLayout584.xml"/><Relationship Id="rId287" Type="http://schemas.openxmlformats.org/officeDocument/2006/relationships/slideLayout" Target="../slideLayouts/slideLayout605.xml"/><Relationship Id="rId410" Type="http://schemas.openxmlformats.org/officeDocument/2006/relationships/slideLayout" Target="../slideLayouts/slideLayout728.xml"/><Relationship Id="rId431" Type="http://schemas.openxmlformats.org/officeDocument/2006/relationships/slideLayout" Target="../slideLayouts/slideLayout749.xml"/><Relationship Id="rId452" Type="http://schemas.openxmlformats.org/officeDocument/2006/relationships/slideLayout" Target="../slideLayouts/slideLayout770.xml"/><Relationship Id="rId30" Type="http://schemas.openxmlformats.org/officeDocument/2006/relationships/slideLayout" Target="../slideLayouts/slideLayout348.xml"/><Relationship Id="rId105" Type="http://schemas.openxmlformats.org/officeDocument/2006/relationships/slideLayout" Target="../slideLayouts/slideLayout423.xml"/><Relationship Id="rId126" Type="http://schemas.openxmlformats.org/officeDocument/2006/relationships/slideLayout" Target="../slideLayouts/slideLayout444.xml"/><Relationship Id="rId147" Type="http://schemas.openxmlformats.org/officeDocument/2006/relationships/slideLayout" Target="../slideLayouts/slideLayout465.xml"/><Relationship Id="rId168" Type="http://schemas.openxmlformats.org/officeDocument/2006/relationships/slideLayout" Target="../slideLayouts/slideLayout486.xml"/><Relationship Id="rId312" Type="http://schemas.openxmlformats.org/officeDocument/2006/relationships/slideLayout" Target="../slideLayouts/slideLayout630.xml"/><Relationship Id="rId333" Type="http://schemas.openxmlformats.org/officeDocument/2006/relationships/slideLayout" Target="../slideLayouts/slideLayout651.xml"/><Relationship Id="rId354" Type="http://schemas.openxmlformats.org/officeDocument/2006/relationships/slideLayout" Target="../slideLayouts/slideLayout672.xml"/><Relationship Id="rId51" Type="http://schemas.openxmlformats.org/officeDocument/2006/relationships/slideLayout" Target="../slideLayouts/slideLayout369.xml"/><Relationship Id="rId72" Type="http://schemas.openxmlformats.org/officeDocument/2006/relationships/slideLayout" Target="../slideLayouts/slideLayout390.xml"/><Relationship Id="rId93" Type="http://schemas.openxmlformats.org/officeDocument/2006/relationships/slideLayout" Target="../slideLayouts/slideLayout411.xml"/><Relationship Id="rId189" Type="http://schemas.openxmlformats.org/officeDocument/2006/relationships/slideLayout" Target="../slideLayouts/slideLayout507.xml"/><Relationship Id="rId375" Type="http://schemas.openxmlformats.org/officeDocument/2006/relationships/slideLayout" Target="../slideLayouts/slideLayout693.xml"/><Relationship Id="rId396" Type="http://schemas.openxmlformats.org/officeDocument/2006/relationships/slideLayout" Target="../slideLayouts/slideLayout714.xml"/><Relationship Id="rId3" Type="http://schemas.openxmlformats.org/officeDocument/2006/relationships/slideLayout" Target="../slideLayouts/slideLayout321.xml"/><Relationship Id="rId214" Type="http://schemas.openxmlformats.org/officeDocument/2006/relationships/slideLayout" Target="../slideLayouts/slideLayout532.xml"/><Relationship Id="rId235" Type="http://schemas.openxmlformats.org/officeDocument/2006/relationships/slideLayout" Target="../slideLayouts/slideLayout553.xml"/><Relationship Id="rId256" Type="http://schemas.openxmlformats.org/officeDocument/2006/relationships/slideLayout" Target="../slideLayouts/slideLayout574.xml"/><Relationship Id="rId277" Type="http://schemas.openxmlformats.org/officeDocument/2006/relationships/slideLayout" Target="../slideLayouts/slideLayout595.xml"/><Relationship Id="rId298" Type="http://schemas.openxmlformats.org/officeDocument/2006/relationships/slideLayout" Target="../slideLayouts/slideLayout616.xml"/><Relationship Id="rId400" Type="http://schemas.openxmlformats.org/officeDocument/2006/relationships/slideLayout" Target="../slideLayouts/slideLayout718.xml"/><Relationship Id="rId421" Type="http://schemas.openxmlformats.org/officeDocument/2006/relationships/slideLayout" Target="../slideLayouts/slideLayout739.xml"/><Relationship Id="rId442" Type="http://schemas.openxmlformats.org/officeDocument/2006/relationships/slideLayout" Target="../slideLayouts/slideLayout760.xml"/><Relationship Id="rId116" Type="http://schemas.openxmlformats.org/officeDocument/2006/relationships/slideLayout" Target="../slideLayouts/slideLayout434.xml"/><Relationship Id="rId137" Type="http://schemas.openxmlformats.org/officeDocument/2006/relationships/slideLayout" Target="../slideLayouts/slideLayout455.xml"/><Relationship Id="rId158" Type="http://schemas.openxmlformats.org/officeDocument/2006/relationships/slideLayout" Target="../slideLayouts/slideLayout476.xml"/><Relationship Id="rId302" Type="http://schemas.openxmlformats.org/officeDocument/2006/relationships/slideLayout" Target="../slideLayouts/slideLayout620.xml"/><Relationship Id="rId323" Type="http://schemas.openxmlformats.org/officeDocument/2006/relationships/slideLayout" Target="../slideLayouts/slideLayout641.xml"/><Relationship Id="rId344" Type="http://schemas.openxmlformats.org/officeDocument/2006/relationships/slideLayout" Target="../slideLayouts/slideLayout662.xml"/><Relationship Id="rId20" Type="http://schemas.openxmlformats.org/officeDocument/2006/relationships/slideLayout" Target="../slideLayouts/slideLayout338.xml"/><Relationship Id="rId41" Type="http://schemas.openxmlformats.org/officeDocument/2006/relationships/slideLayout" Target="../slideLayouts/slideLayout359.xml"/><Relationship Id="rId62" Type="http://schemas.openxmlformats.org/officeDocument/2006/relationships/slideLayout" Target="../slideLayouts/slideLayout380.xml"/><Relationship Id="rId83" Type="http://schemas.openxmlformats.org/officeDocument/2006/relationships/slideLayout" Target="../slideLayouts/slideLayout401.xml"/><Relationship Id="rId179" Type="http://schemas.openxmlformats.org/officeDocument/2006/relationships/slideLayout" Target="../slideLayouts/slideLayout497.xml"/><Relationship Id="rId365" Type="http://schemas.openxmlformats.org/officeDocument/2006/relationships/slideLayout" Target="../slideLayouts/slideLayout683.xml"/><Relationship Id="rId386" Type="http://schemas.openxmlformats.org/officeDocument/2006/relationships/slideLayout" Target="../slideLayouts/slideLayout704.xml"/><Relationship Id="rId190" Type="http://schemas.openxmlformats.org/officeDocument/2006/relationships/slideLayout" Target="../slideLayouts/slideLayout508.xml"/><Relationship Id="rId204" Type="http://schemas.openxmlformats.org/officeDocument/2006/relationships/slideLayout" Target="../slideLayouts/slideLayout522.xml"/><Relationship Id="rId225" Type="http://schemas.openxmlformats.org/officeDocument/2006/relationships/slideLayout" Target="../slideLayouts/slideLayout543.xml"/><Relationship Id="rId246" Type="http://schemas.openxmlformats.org/officeDocument/2006/relationships/slideLayout" Target="../slideLayouts/slideLayout564.xml"/><Relationship Id="rId267" Type="http://schemas.openxmlformats.org/officeDocument/2006/relationships/slideLayout" Target="../slideLayouts/slideLayout585.xml"/><Relationship Id="rId288" Type="http://schemas.openxmlformats.org/officeDocument/2006/relationships/slideLayout" Target="../slideLayouts/slideLayout606.xml"/><Relationship Id="rId411" Type="http://schemas.openxmlformats.org/officeDocument/2006/relationships/slideLayout" Target="../slideLayouts/slideLayout729.xml"/><Relationship Id="rId432" Type="http://schemas.openxmlformats.org/officeDocument/2006/relationships/slideLayout" Target="../slideLayouts/slideLayout750.xml"/><Relationship Id="rId453" Type="http://schemas.openxmlformats.org/officeDocument/2006/relationships/slideLayout" Target="../slideLayouts/slideLayout771.xml"/><Relationship Id="rId106" Type="http://schemas.openxmlformats.org/officeDocument/2006/relationships/slideLayout" Target="../slideLayouts/slideLayout424.xml"/><Relationship Id="rId127" Type="http://schemas.openxmlformats.org/officeDocument/2006/relationships/slideLayout" Target="../slideLayouts/slideLayout445.xml"/><Relationship Id="rId313" Type="http://schemas.openxmlformats.org/officeDocument/2006/relationships/slideLayout" Target="../slideLayouts/slideLayout631.xml"/><Relationship Id="rId10" Type="http://schemas.openxmlformats.org/officeDocument/2006/relationships/slideLayout" Target="../slideLayouts/slideLayout328.xml"/><Relationship Id="rId31" Type="http://schemas.openxmlformats.org/officeDocument/2006/relationships/slideLayout" Target="../slideLayouts/slideLayout349.xml"/><Relationship Id="rId52" Type="http://schemas.openxmlformats.org/officeDocument/2006/relationships/slideLayout" Target="../slideLayouts/slideLayout370.xml"/><Relationship Id="rId73" Type="http://schemas.openxmlformats.org/officeDocument/2006/relationships/slideLayout" Target="../slideLayouts/slideLayout391.xml"/><Relationship Id="rId94" Type="http://schemas.openxmlformats.org/officeDocument/2006/relationships/slideLayout" Target="../slideLayouts/slideLayout412.xml"/><Relationship Id="rId148" Type="http://schemas.openxmlformats.org/officeDocument/2006/relationships/slideLayout" Target="../slideLayouts/slideLayout466.xml"/><Relationship Id="rId169" Type="http://schemas.openxmlformats.org/officeDocument/2006/relationships/slideLayout" Target="../slideLayouts/slideLayout487.xml"/><Relationship Id="rId334" Type="http://schemas.openxmlformats.org/officeDocument/2006/relationships/slideLayout" Target="../slideLayouts/slideLayout652.xml"/><Relationship Id="rId355" Type="http://schemas.openxmlformats.org/officeDocument/2006/relationships/slideLayout" Target="../slideLayouts/slideLayout673.xml"/><Relationship Id="rId376" Type="http://schemas.openxmlformats.org/officeDocument/2006/relationships/slideLayout" Target="../slideLayouts/slideLayout694.xml"/><Relationship Id="rId397" Type="http://schemas.openxmlformats.org/officeDocument/2006/relationships/slideLayout" Target="../slideLayouts/slideLayout715.xml"/><Relationship Id="rId4" Type="http://schemas.openxmlformats.org/officeDocument/2006/relationships/slideLayout" Target="../slideLayouts/slideLayout322.xml"/><Relationship Id="rId180" Type="http://schemas.openxmlformats.org/officeDocument/2006/relationships/slideLayout" Target="../slideLayouts/slideLayout498.xml"/><Relationship Id="rId215" Type="http://schemas.openxmlformats.org/officeDocument/2006/relationships/slideLayout" Target="../slideLayouts/slideLayout533.xml"/><Relationship Id="rId236" Type="http://schemas.openxmlformats.org/officeDocument/2006/relationships/slideLayout" Target="../slideLayouts/slideLayout554.xml"/><Relationship Id="rId257" Type="http://schemas.openxmlformats.org/officeDocument/2006/relationships/slideLayout" Target="../slideLayouts/slideLayout575.xml"/><Relationship Id="rId278" Type="http://schemas.openxmlformats.org/officeDocument/2006/relationships/slideLayout" Target="../slideLayouts/slideLayout596.xml"/><Relationship Id="rId401" Type="http://schemas.openxmlformats.org/officeDocument/2006/relationships/slideLayout" Target="../slideLayouts/slideLayout719.xml"/><Relationship Id="rId422" Type="http://schemas.openxmlformats.org/officeDocument/2006/relationships/slideLayout" Target="../slideLayouts/slideLayout740.xml"/><Relationship Id="rId443" Type="http://schemas.openxmlformats.org/officeDocument/2006/relationships/slideLayout" Target="../slideLayouts/slideLayout761.xml"/><Relationship Id="rId303" Type="http://schemas.openxmlformats.org/officeDocument/2006/relationships/slideLayout" Target="../slideLayouts/slideLayout621.xml"/><Relationship Id="rId42" Type="http://schemas.openxmlformats.org/officeDocument/2006/relationships/slideLayout" Target="../slideLayouts/slideLayout360.xml"/><Relationship Id="rId84" Type="http://schemas.openxmlformats.org/officeDocument/2006/relationships/slideLayout" Target="../slideLayouts/slideLayout402.xml"/><Relationship Id="rId138" Type="http://schemas.openxmlformats.org/officeDocument/2006/relationships/slideLayout" Target="../slideLayouts/slideLayout456.xml"/><Relationship Id="rId345" Type="http://schemas.openxmlformats.org/officeDocument/2006/relationships/slideLayout" Target="../slideLayouts/slideLayout663.xml"/><Relationship Id="rId387" Type="http://schemas.openxmlformats.org/officeDocument/2006/relationships/slideLayout" Target="../slideLayouts/slideLayout705.xml"/><Relationship Id="rId191" Type="http://schemas.openxmlformats.org/officeDocument/2006/relationships/slideLayout" Target="../slideLayouts/slideLayout509.xml"/><Relationship Id="rId205" Type="http://schemas.openxmlformats.org/officeDocument/2006/relationships/slideLayout" Target="../slideLayouts/slideLayout523.xml"/><Relationship Id="rId247" Type="http://schemas.openxmlformats.org/officeDocument/2006/relationships/slideLayout" Target="../slideLayouts/slideLayout565.xml"/><Relationship Id="rId412" Type="http://schemas.openxmlformats.org/officeDocument/2006/relationships/slideLayout" Target="../slideLayouts/slideLayout730.xml"/><Relationship Id="rId107" Type="http://schemas.openxmlformats.org/officeDocument/2006/relationships/slideLayout" Target="../slideLayouts/slideLayout425.xml"/><Relationship Id="rId289" Type="http://schemas.openxmlformats.org/officeDocument/2006/relationships/slideLayout" Target="../slideLayouts/slideLayout607.xml"/><Relationship Id="rId454" Type="http://schemas.openxmlformats.org/officeDocument/2006/relationships/slideLayout" Target="../slideLayouts/slideLayout772.xml"/><Relationship Id="rId11" Type="http://schemas.openxmlformats.org/officeDocument/2006/relationships/slideLayout" Target="../slideLayouts/slideLayout329.xml"/><Relationship Id="rId53" Type="http://schemas.openxmlformats.org/officeDocument/2006/relationships/slideLayout" Target="../slideLayouts/slideLayout371.xml"/><Relationship Id="rId149" Type="http://schemas.openxmlformats.org/officeDocument/2006/relationships/slideLayout" Target="../slideLayouts/slideLayout467.xml"/><Relationship Id="rId314" Type="http://schemas.openxmlformats.org/officeDocument/2006/relationships/slideLayout" Target="../slideLayouts/slideLayout632.xml"/><Relationship Id="rId356" Type="http://schemas.openxmlformats.org/officeDocument/2006/relationships/slideLayout" Target="../slideLayouts/slideLayout674.xml"/><Relationship Id="rId398" Type="http://schemas.openxmlformats.org/officeDocument/2006/relationships/slideLayout" Target="../slideLayouts/slideLayout716.xml"/><Relationship Id="rId95" Type="http://schemas.openxmlformats.org/officeDocument/2006/relationships/slideLayout" Target="../slideLayouts/slideLayout413.xml"/><Relationship Id="rId160" Type="http://schemas.openxmlformats.org/officeDocument/2006/relationships/slideLayout" Target="../slideLayouts/slideLayout478.xml"/><Relationship Id="rId216" Type="http://schemas.openxmlformats.org/officeDocument/2006/relationships/slideLayout" Target="../slideLayouts/slideLayout534.xml"/><Relationship Id="rId423" Type="http://schemas.openxmlformats.org/officeDocument/2006/relationships/slideLayout" Target="../slideLayouts/slideLayout741.xml"/><Relationship Id="rId258" Type="http://schemas.openxmlformats.org/officeDocument/2006/relationships/slideLayout" Target="../slideLayouts/slideLayout576.xml"/><Relationship Id="rId22" Type="http://schemas.openxmlformats.org/officeDocument/2006/relationships/slideLayout" Target="../slideLayouts/slideLayout340.xml"/><Relationship Id="rId64" Type="http://schemas.openxmlformats.org/officeDocument/2006/relationships/slideLayout" Target="../slideLayouts/slideLayout382.xml"/><Relationship Id="rId118" Type="http://schemas.openxmlformats.org/officeDocument/2006/relationships/slideLayout" Target="../slideLayouts/slideLayout436.xml"/><Relationship Id="rId325" Type="http://schemas.openxmlformats.org/officeDocument/2006/relationships/slideLayout" Target="../slideLayouts/slideLayout643.xml"/><Relationship Id="rId367" Type="http://schemas.openxmlformats.org/officeDocument/2006/relationships/slideLayout" Target="../slideLayouts/slideLayout685.xml"/><Relationship Id="rId171" Type="http://schemas.openxmlformats.org/officeDocument/2006/relationships/slideLayout" Target="../slideLayouts/slideLayout489.xml"/><Relationship Id="rId227" Type="http://schemas.openxmlformats.org/officeDocument/2006/relationships/slideLayout" Target="../slideLayouts/slideLayout545.xml"/><Relationship Id="rId269" Type="http://schemas.openxmlformats.org/officeDocument/2006/relationships/slideLayout" Target="../slideLayouts/slideLayout587.xml"/><Relationship Id="rId434" Type="http://schemas.openxmlformats.org/officeDocument/2006/relationships/slideLayout" Target="../slideLayouts/slideLayout752.xml"/><Relationship Id="rId33" Type="http://schemas.openxmlformats.org/officeDocument/2006/relationships/slideLayout" Target="../slideLayouts/slideLayout351.xml"/><Relationship Id="rId129" Type="http://schemas.openxmlformats.org/officeDocument/2006/relationships/slideLayout" Target="../slideLayouts/slideLayout447.xml"/><Relationship Id="rId280" Type="http://schemas.openxmlformats.org/officeDocument/2006/relationships/slideLayout" Target="../slideLayouts/slideLayout598.xml"/><Relationship Id="rId336" Type="http://schemas.openxmlformats.org/officeDocument/2006/relationships/slideLayout" Target="../slideLayouts/slideLayout654.xml"/><Relationship Id="rId75" Type="http://schemas.openxmlformats.org/officeDocument/2006/relationships/slideLayout" Target="../slideLayouts/slideLayout393.xml"/><Relationship Id="rId140" Type="http://schemas.openxmlformats.org/officeDocument/2006/relationships/slideLayout" Target="../slideLayouts/slideLayout458.xml"/><Relationship Id="rId182" Type="http://schemas.openxmlformats.org/officeDocument/2006/relationships/slideLayout" Target="../slideLayouts/slideLayout500.xml"/><Relationship Id="rId378" Type="http://schemas.openxmlformats.org/officeDocument/2006/relationships/slideLayout" Target="../slideLayouts/slideLayout696.xml"/><Relationship Id="rId403" Type="http://schemas.openxmlformats.org/officeDocument/2006/relationships/slideLayout" Target="../slideLayouts/slideLayout721.xml"/><Relationship Id="rId6" Type="http://schemas.openxmlformats.org/officeDocument/2006/relationships/slideLayout" Target="../slideLayouts/slideLayout324.xml"/><Relationship Id="rId238" Type="http://schemas.openxmlformats.org/officeDocument/2006/relationships/slideLayout" Target="../slideLayouts/slideLayout556.xml"/><Relationship Id="rId445" Type="http://schemas.openxmlformats.org/officeDocument/2006/relationships/slideLayout" Target="../slideLayouts/slideLayout763.xml"/><Relationship Id="rId291" Type="http://schemas.openxmlformats.org/officeDocument/2006/relationships/slideLayout" Target="../slideLayouts/slideLayout609.xml"/><Relationship Id="rId305" Type="http://schemas.openxmlformats.org/officeDocument/2006/relationships/slideLayout" Target="../slideLayouts/slideLayout623.xml"/><Relationship Id="rId347" Type="http://schemas.openxmlformats.org/officeDocument/2006/relationships/slideLayout" Target="../slideLayouts/slideLayout665.xml"/><Relationship Id="rId44" Type="http://schemas.openxmlformats.org/officeDocument/2006/relationships/slideLayout" Target="../slideLayouts/slideLayout362.xml"/><Relationship Id="rId86" Type="http://schemas.openxmlformats.org/officeDocument/2006/relationships/slideLayout" Target="../slideLayouts/slideLayout404.xml"/><Relationship Id="rId151" Type="http://schemas.openxmlformats.org/officeDocument/2006/relationships/slideLayout" Target="../slideLayouts/slideLayout469.xml"/><Relationship Id="rId389" Type="http://schemas.openxmlformats.org/officeDocument/2006/relationships/slideLayout" Target="../slideLayouts/slideLayout707.xml"/><Relationship Id="rId193" Type="http://schemas.openxmlformats.org/officeDocument/2006/relationships/slideLayout" Target="../slideLayouts/slideLayout511.xml"/><Relationship Id="rId207" Type="http://schemas.openxmlformats.org/officeDocument/2006/relationships/slideLayout" Target="../slideLayouts/slideLayout525.xml"/><Relationship Id="rId249" Type="http://schemas.openxmlformats.org/officeDocument/2006/relationships/slideLayout" Target="../slideLayouts/slideLayout567.xml"/><Relationship Id="rId414" Type="http://schemas.openxmlformats.org/officeDocument/2006/relationships/slideLayout" Target="../slideLayouts/slideLayout732.xml"/><Relationship Id="rId456" Type="http://schemas.openxmlformats.org/officeDocument/2006/relationships/slideLayout" Target="../slideLayouts/slideLayout774.xml"/><Relationship Id="rId13" Type="http://schemas.openxmlformats.org/officeDocument/2006/relationships/slideLayout" Target="../slideLayouts/slideLayout331.xml"/><Relationship Id="rId109" Type="http://schemas.openxmlformats.org/officeDocument/2006/relationships/slideLayout" Target="../slideLayouts/slideLayout427.xml"/><Relationship Id="rId260" Type="http://schemas.openxmlformats.org/officeDocument/2006/relationships/slideLayout" Target="../slideLayouts/slideLayout578.xml"/><Relationship Id="rId316" Type="http://schemas.openxmlformats.org/officeDocument/2006/relationships/slideLayout" Target="../slideLayouts/slideLayout634.xml"/><Relationship Id="rId55" Type="http://schemas.openxmlformats.org/officeDocument/2006/relationships/slideLayout" Target="../slideLayouts/slideLayout373.xml"/><Relationship Id="rId97" Type="http://schemas.openxmlformats.org/officeDocument/2006/relationships/slideLayout" Target="../slideLayouts/slideLayout415.xml"/><Relationship Id="rId120" Type="http://schemas.openxmlformats.org/officeDocument/2006/relationships/slideLayout" Target="../slideLayouts/slideLayout438.xml"/><Relationship Id="rId358" Type="http://schemas.openxmlformats.org/officeDocument/2006/relationships/slideLayout" Target="../slideLayouts/slideLayout676.xml"/><Relationship Id="rId162" Type="http://schemas.openxmlformats.org/officeDocument/2006/relationships/slideLayout" Target="../slideLayouts/slideLayout480.xml"/><Relationship Id="rId218" Type="http://schemas.openxmlformats.org/officeDocument/2006/relationships/slideLayout" Target="../slideLayouts/slideLayout536.xml"/><Relationship Id="rId425" Type="http://schemas.openxmlformats.org/officeDocument/2006/relationships/slideLayout" Target="../slideLayouts/slideLayout743.xml"/><Relationship Id="rId271" Type="http://schemas.openxmlformats.org/officeDocument/2006/relationships/slideLayout" Target="../slideLayouts/slideLayout589.xml"/><Relationship Id="rId24" Type="http://schemas.openxmlformats.org/officeDocument/2006/relationships/slideLayout" Target="../slideLayouts/slideLayout342.xml"/><Relationship Id="rId66" Type="http://schemas.openxmlformats.org/officeDocument/2006/relationships/slideLayout" Target="../slideLayouts/slideLayout384.xml"/><Relationship Id="rId131" Type="http://schemas.openxmlformats.org/officeDocument/2006/relationships/slideLayout" Target="../slideLayouts/slideLayout449.xml"/><Relationship Id="rId327" Type="http://schemas.openxmlformats.org/officeDocument/2006/relationships/slideLayout" Target="../slideLayouts/slideLayout645.xml"/><Relationship Id="rId369" Type="http://schemas.openxmlformats.org/officeDocument/2006/relationships/slideLayout" Target="../slideLayouts/slideLayout687.xml"/><Relationship Id="rId173" Type="http://schemas.openxmlformats.org/officeDocument/2006/relationships/slideLayout" Target="../slideLayouts/slideLayout491.xml"/><Relationship Id="rId229" Type="http://schemas.openxmlformats.org/officeDocument/2006/relationships/slideLayout" Target="../slideLayouts/slideLayout547.xml"/><Relationship Id="rId380" Type="http://schemas.openxmlformats.org/officeDocument/2006/relationships/slideLayout" Target="../slideLayouts/slideLayout698.xml"/><Relationship Id="rId436" Type="http://schemas.openxmlformats.org/officeDocument/2006/relationships/slideLayout" Target="../slideLayouts/slideLayout754.xml"/><Relationship Id="rId240" Type="http://schemas.openxmlformats.org/officeDocument/2006/relationships/slideLayout" Target="../slideLayouts/slideLayout558.xml"/><Relationship Id="rId35" Type="http://schemas.openxmlformats.org/officeDocument/2006/relationships/slideLayout" Target="../slideLayouts/slideLayout353.xml"/><Relationship Id="rId77" Type="http://schemas.openxmlformats.org/officeDocument/2006/relationships/slideLayout" Target="../slideLayouts/slideLayout395.xml"/><Relationship Id="rId100" Type="http://schemas.openxmlformats.org/officeDocument/2006/relationships/slideLayout" Target="../slideLayouts/slideLayout418.xml"/><Relationship Id="rId282" Type="http://schemas.openxmlformats.org/officeDocument/2006/relationships/slideLayout" Target="../slideLayouts/slideLayout600.xml"/><Relationship Id="rId338" Type="http://schemas.openxmlformats.org/officeDocument/2006/relationships/slideLayout" Target="../slideLayouts/slideLayout656.xml"/><Relationship Id="rId8" Type="http://schemas.openxmlformats.org/officeDocument/2006/relationships/slideLayout" Target="../slideLayouts/slideLayout326.xml"/><Relationship Id="rId142" Type="http://schemas.openxmlformats.org/officeDocument/2006/relationships/slideLayout" Target="../slideLayouts/slideLayout460.xml"/><Relationship Id="rId184" Type="http://schemas.openxmlformats.org/officeDocument/2006/relationships/slideLayout" Target="../slideLayouts/slideLayout502.xml"/><Relationship Id="rId391" Type="http://schemas.openxmlformats.org/officeDocument/2006/relationships/slideLayout" Target="../slideLayouts/slideLayout709.xml"/><Relationship Id="rId405" Type="http://schemas.openxmlformats.org/officeDocument/2006/relationships/slideLayout" Target="../slideLayouts/slideLayout723.xml"/><Relationship Id="rId447" Type="http://schemas.openxmlformats.org/officeDocument/2006/relationships/slideLayout" Target="../slideLayouts/slideLayout765.xml"/><Relationship Id="rId251" Type="http://schemas.openxmlformats.org/officeDocument/2006/relationships/slideLayout" Target="../slideLayouts/slideLayout569.xml"/><Relationship Id="rId46" Type="http://schemas.openxmlformats.org/officeDocument/2006/relationships/slideLayout" Target="../slideLayouts/slideLayout364.xml"/><Relationship Id="rId293" Type="http://schemas.openxmlformats.org/officeDocument/2006/relationships/slideLayout" Target="../slideLayouts/slideLayout611.xml"/><Relationship Id="rId307" Type="http://schemas.openxmlformats.org/officeDocument/2006/relationships/slideLayout" Target="../slideLayouts/slideLayout625.xml"/><Relationship Id="rId349" Type="http://schemas.openxmlformats.org/officeDocument/2006/relationships/slideLayout" Target="../slideLayouts/slideLayout667.xml"/><Relationship Id="rId88" Type="http://schemas.openxmlformats.org/officeDocument/2006/relationships/slideLayout" Target="../slideLayouts/slideLayout406.xml"/><Relationship Id="rId111" Type="http://schemas.openxmlformats.org/officeDocument/2006/relationships/slideLayout" Target="../slideLayouts/slideLayout429.xml"/><Relationship Id="rId153" Type="http://schemas.openxmlformats.org/officeDocument/2006/relationships/slideLayout" Target="../slideLayouts/slideLayout471.xml"/><Relationship Id="rId195" Type="http://schemas.openxmlformats.org/officeDocument/2006/relationships/slideLayout" Target="../slideLayouts/slideLayout513.xml"/><Relationship Id="rId209" Type="http://schemas.openxmlformats.org/officeDocument/2006/relationships/slideLayout" Target="../slideLayouts/slideLayout527.xml"/><Relationship Id="rId360" Type="http://schemas.openxmlformats.org/officeDocument/2006/relationships/slideLayout" Target="../slideLayouts/slideLayout678.xml"/><Relationship Id="rId416" Type="http://schemas.openxmlformats.org/officeDocument/2006/relationships/slideLayout" Target="../slideLayouts/slideLayout734.xml"/><Relationship Id="rId220" Type="http://schemas.openxmlformats.org/officeDocument/2006/relationships/slideLayout" Target="../slideLayouts/slideLayout538.xml"/><Relationship Id="rId458" Type="http://schemas.openxmlformats.org/officeDocument/2006/relationships/slideLayout" Target="../slideLayouts/slideLayout776.xml"/><Relationship Id="rId15" Type="http://schemas.openxmlformats.org/officeDocument/2006/relationships/slideLayout" Target="../slideLayouts/slideLayout333.xml"/><Relationship Id="rId57" Type="http://schemas.openxmlformats.org/officeDocument/2006/relationships/slideLayout" Target="../slideLayouts/slideLayout375.xml"/><Relationship Id="rId262" Type="http://schemas.openxmlformats.org/officeDocument/2006/relationships/slideLayout" Target="../slideLayouts/slideLayout580.xml"/><Relationship Id="rId318" Type="http://schemas.openxmlformats.org/officeDocument/2006/relationships/slideLayout" Target="../slideLayouts/slideLayout636.xml"/><Relationship Id="rId99" Type="http://schemas.openxmlformats.org/officeDocument/2006/relationships/slideLayout" Target="../slideLayouts/slideLayout417.xml"/><Relationship Id="rId122" Type="http://schemas.openxmlformats.org/officeDocument/2006/relationships/slideLayout" Target="../slideLayouts/slideLayout440.xml"/><Relationship Id="rId164" Type="http://schemas.openxmlformats.org/officeDocument/2006/relationships/slideLayout" Target="../slideLayouts/slideLayout482.xml"/><Relationship Id="rId371" Type="http://schemas.openxmlformats.org/officeDocument/2006/relationships/slideLayout" Target="../slideLayouts/slideLayout689.xml"/><Relationship Id="rId427" Type="http://schemas.openxmlformats.org/officeDocument/2006/relationships/slideLayout" Target="../slideLayouts/slideLayout745.xml"/><Relationship Id="rId26" Type="http://schemas.openxmlformats.org/officeDocument/2006/relationships/slideLayout" Target="../slideLayouts/slideLayout344.xml"/><Relationship Id="rId231" Type="http://schemas.openxmlformats.org/officeDocument/2006/relationships/slideLayout" Target="../slideLayouts/slideLayout549.xml"/><Relationship Id="rId273" Type="http://schemas.openxmlformats.org/officeDocument/2006/relationships/slideLayout" Target="../slideLayouts/slideLayout591.xml"/><Relationship Id="rId329" Type="http://schemas.openxmlformats.org/officeDocument/2006/relationships/slideLayout" Target="../slideLayouts/slideLayout647.xml"/><Relationship Id="rId68" Type="http://schemas.openxmlformats.org/officeDocument/2006/relationships/slideLayout" Target="../slideLayouts/slideLayout386.xml"/><Relationship Id="rId133" Type="http://schemas.openxmlformats.org/officeDocument/2006/relationships/slideLayout" Target="../slideLayouts/slideLayout451.xml"/><Relationship Id="rId175" Type="http://schemas.openxmlformats.org/officeDocument/2006/relationships/slideLayout" Target="../slideLayouts/slideLayout493.xml"/><Relationship Id="rId340" Type="http://schemas.openxmlformats.org/officeDocument/2006/relationships/slideLayout" Target="../slideLayouts/slideLayout658.xml"/><Relationship Id="rId200" Type="http://schemas.openxmlformats.org/officeDocument/2006/relationships/slideLayout" Target="../slideLayouts/slideLayout518.xml"/><Relationship Id="rId382" Type="http://schemas.openxmlformats.org/officeDocument/2006/relationships/slideLayout" Target="../slideLayouts/slideLayout700.xml"/><Relationship Id="rId438" Type="http://schemas.openxmlformats.org/officeDocument/2006/relationships/slideLayout" Target="../slideLayouts/slideLayout756.xml"/><Relationship Id="rId242" Type="http://schemas.openxmlformats.org/officeDocument/2006/relationships/slideLayout" Target="../slideLayouts/slideLayout560.xml"/><Relationship Id="rId284" Type="http://schemas.openxmlformats.org/officeDocument/2006/relationships/slideLayout" Target="../slideLayouts/slideLayout602.xml"/><Relationship Id="rId37" Type="http://schemas.openxmlformats.org/officeDocument/2006/relationships/slideLayout" Target="../slideLayouts/slideLayout355.xml"/><Relationship Id="rId79" Type="http://schemas.openxmlformats.org/officeDocument/2006/relationships/slideLayout" Target="../slideLayouts/slideLayout397.xml"/><Relationship Id="rId102" Type="http://schemas.openxmlformats.org/officeDocument/2006/relationships/slideLayout" Target="../slideLayouts/slideLayout420.xml"/><Relationship Id="rId144" Type="http://schemas.openxmlformats.org/officeDocument/2006/relationships/slideLayout" Target="../slideLayouts/slideLayout462.xml"/><Relationship Id="rId90" Type="http://schemas.openxmlformats.org/officeDocument/2006/relationships/slideLayout" Target="../slideLayouts/slideLayout408.xml"/><Relationship Id="rId186" Type="http://schemas.openxmlformats.org/officeDocument/2006/relationships/slideLayout" Target="../slideLayouts/slideLayout504.xml"/><Relationship Id="rId351" Type="http://schemas.openxmlformats.org/officeDocument/2006/relationships/slideLayout" Target="../slideLayouts/slideLayout669.xml"/><Relationship Id="rId393" Type="http://schemas.openxmlformats.org/officeDocument/2006/relationships/slideLayout" Target="../slideLayouts/slideLayout711.xml"/><Relationship Id="rId407" Type="http://schemas.openxmlformats.org/officeDocument/2006/relationships/slideLayout" Target="../slideLayouts/slideLayout725.xml"/><Relationship Id="rId449" Type="http://schemas.openxmlformats.org/officeDocument/2006/relationships/slideLayout" Target="../slideLayouts/slideLayout767.xml"/><Relationship Id="rId211" Type="http://schemas.openxmlformats.org/officeDocument/2006/relationships/slideLayout" Target="../slideLayouts/slideLayout529.xml"/><Relationship Id="rId253" Type="http://schemas.openxmlformats.org/officeDocument/2006/relationships/slideLayout" Target="../slideLayouts/slideLayout571.xml"/><Relationship Id="rId295" Type="http://schemas.openxmlformats.org/officeDocument/2006/relationships/slideLayout" Target="../slideLayouts/slideLayout613.xml"/><Relationship Id="rId309" Type="http://schemas.openxmlformats.org/officeDocument/2006/relationships/slideLayout" Target="../slideLayouts/slideLayout627.xml"/><Relationship Id="rId460" Type="http://schemas.openxmlformats.org/officeDocument/2006/relationships/slideLayout" Target="../slideLayouts/slideLayout778.xml"/><Relationship Id="rId48" Type="http://schemas.openxmlformats.org/officeDocument/2006/relationships/slideLayout" Target="../slideLayouts/slideLayout366.xml"/><Relationship Id="rId113" Type="http://schemas.openxmlformats.org/officeDocument/2006/relationships/slideLayout" Target="../slideLayouts/slideLayout431.xml"/><Relationship Id="rId320" Type="http://schemas.openxmlformats.org/officeDocument/2006/relationships/slideLayout" Target="../slideLayouts/slideLayout638.xml"/><Relationship Id="rId155" Type="http://schemas.openxmlformats.org/officeDocument/2006/relationships/slideLayout" Target="../slideLayouts/slideLayout473.xml"/><Relationship Id="rId197" Type="http://schemas.openxmlformats.org/officeDocument/2006/relationships/slideLayout" Target="../slideLayouts/slideLayout515.xml"/><Relationship Id="rId362" Type="http://schemas.openxmlformats.org/officeDocument/2006/relationships/slideLayout" Target="../slideLayouts/slideLayout680.xml"/><Relationship Id="rId418" Type="http://schemas.openxmlformats.org/officeDocument/2006/relationships/slideLayout" Target="../slideLayouts/slideLayout736.xml"/><Relationship Id="rId222" Type="http://schemas.openxmlformats.org/officeDocument/2006/relationships/slideLayout" Target="../slideLayouts/slideLayout540.xml"/><Relationship Id="rId264" Type="http://schemas.openxmlformats.org/officeDocument/2006/relationships/slideLayout" Target="../slideLayouts/slideLayout582.xml"/><Relationship Id="rId17" Type="http://schemas.openxmlformats.org/officeDocument/2006/relationships/slideLayout" Target="../slideLayouts/slideLayout335.xml"/><Relationship Id="rId59" Type="http://schemas.openxmlformats.org/officeDocument/2006/relationships/slideLayout" Target="../slideLayouts/slideLayout377.xml"/><Relationship Id="rId124" Type="http://schemas.openxmlformats.org/officeDocument/2006/relationships/slideLayout" Target="../slideLayouts/slideLayout442.xml"/><Relationship Id="rId70" Type="http://schemas.openxmlformats.org/officeDocument/2006/relationships/slideLayout" Target="../slideLayouts/slideLayout388.xml"/><Relationship Id="rId166" Type="http://schemas.openxmlformats.org/officeDocument/2006/relationships/slideLayout" Target="../slideLayouts/slideLayout484.xml"/><Relationship Id="rId331" Type="http://schemas.openxmlformats.org/officeDocument/2006/relationships/slideLayout" Target="../slideLayouts/slideLayout649.xml"/><Relationship Id="rId373" Type="http://schemas.openxmlformats.org/officeDocument/2006/relationships/slideLayout" Target="../slideLayouts/slideLayout691.xml"/><Relationship Id="rId429" Type="http://schemas.openxmlformats.org/officeDocument/2006/relationships/slideLayout" Target="../slideLayouts/slideLayout747.xml"/><Relationship Id="rId1" Type="http://schemas.openxmlformats.org/officeDocument/2006/relationships/slideLayout" Target="../slideLayouts/slideLayout319.xml"/><Relationship Id="rId233" Type="http://schemas.openxmlformats.org/officeDocument/2006/relationships/slideLayout" Target="../slideLayouts/slideLayout551.xml"/><Relationship Id="rId440" Type="http://schemas.openxmlformats.org/officeDocument/2006/relationships/slideLayout" Target="../slideLayouts/slideLayout758.xml"/><Relationship Id="rId28" Type="http://schemas.openxmlformats.org/officeDocument/2006/relationships/slideLayout" Target="../slideLayouts/slideLayout346.xml"/><Relationship Id="rId275" Type="http://schemas.openxmlformats.org/officeDocument/2006/relationships/slideLayout" Target="../slideLayouts/slideLayout593.xml"/><Relationship Id="rId300" Type="http://schemas.openxmlformats.org/officeDocument/2006/relationships/slideLayout" Target="../slideLayouts/slideLayout618.xml"/><Relationship Id="rId81" Type="http://schemas.openxmlformats.org/officeDocument/2006/relationships/slideLayout" Target="../slideLayouts/slideLayout399.xml"/><Relationship Id="rId135" Type="http://schemas.openxmlformats.org/officeDocument/2006/relationships/slideLayout" Target="../slideLayouts/slideLayout453.xml"/><Relationship Id="rId177" Type="http://schemas.openxmlformats.org/officeDocument/2006/relationships/slideLayout" Target="../slideLayouts/slideLayout495.xml"/><Relationship Id="rId342" Type="http://schemas.openxmlformats.org/officeDocument/2006/relationships/slideLayout" Target="../slideLayouts/slideLayout660.xml"/><Relationship Id="rId384" Type="http://schemas.openxmlformats.org/officeDocument/2006/relationships/slideLayout" Target="../slideLayouts/slideLayout702.xml"/><Relationship Id="rId202" Type="http://schemas.openxmlformats.org/officeDocument/2006/relationships/slideLayout" Target="../slideLayouts/slideLayout520.xml"/><Relationship Id="rId244" Type="http://schemas.openxmlformats.org/officeDocument/2006/relationships/slideLayout" Target="../slideLayouts/slideLayout562.xml"/><Relationship Id="rId39" Type="http://schemas.openxmlformats.org/officeDocument/2006/relationships/slideLayout" Target="../slideLayouts/slideLayout357.xml"/><Relationship Id="rId286" Type="http://schemas.openxmlformats.org/officeDocument/2006/relationships/slideLayout" Target="../slideLayouts/slideLayout604.xml"/><Relationship Id="rId451" Type="http://schemas.openxmlformats.org/officeDocument/2006/relationships/slideLayout" Target="../slideLayouts/slideLayout769.xml"/><Relationship Id="rId50" Type="http://schemas.openxmlformats.org/officeDocument/2006/relationships/slideLayout" Target="../slideLayouts/slideLayout368.xml"/><Relationship Id="rId104" Type="http://schemas.openxmlformats.org/officeDocument/2006/relationships/slideLayout" Target="../slideLayouts/slideLayout422.xml"/><Relationship Id="rId146" Type="http://schemas.openxmlformats.org/officeDocument/2006/relationships/slideLayout" Target="../slideLayouts/slideLayout464.xml"/><Relationship Id="rId188" Type="http://schemas.openxmlformats.org/officeDocument/2006/relationships/slideLayout" Target="../slideLayouts/slideLayout506.xml"/><Relationship Id="rId311" Type="http://schemas.openxmlformats.org/officeDocument/2006/relationships/slideLayout" Target="../slideLayouts/slideLayout629.xml"/><Relationship Id="rId353" Type="http://schemas.openxmlformats.org/officeDocument/2006/relationships/slideLayout" Target="../slideLayouts/slideLayout671.xml"/><Relationship Id="rId395" Type="http://schemas.openxmlformats.org/officeDocument/2006/relationships/slideLayout" Target="../slideLayouts/slideLayout713.xml"/><Relationship Id="rId409" Type="http://schemas.openxmlformats.org/officeDocument/2006/relationships/slideLayout" Target="../slideLayouts/slideLayout727.xml"/><Relationship Id="rId92" Type="http://schemas.openxmlformats.org/officeDocument/2006/relationships/slideLayout" Target="../slideLayouts/slideLayout410.xml"/><Relationship Id="rId213" Type="http://schemas.openxmlformats.org/officeDocument/2006/relationships/slideLayout" Target="../slideLayouts/slideLayout531.xml"/><Relationship Id="rId420" Type="http://schemas.openxmlformats.org/officeDocument/2006/relationships/slideLayout" Target="../slideLayouts/slideLayout738.xml"/><Relationship Id="rId255" Type="http://schemas.openxmlformats.org/officeDocument/2006/relationships/slideLayout" Target="../slideLayouts/slideLayout573.xml"/><Relationship Id="rId297" Type="http://schemas.openxmlformats.org/officeDocument/2006/relationships/slideLayout" Target="../slideLayouts/slideLayout615.xml"/><Relationship Id="rId462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896.xml"/><Relationship Id="rId21" Type="http://schemas.openxmlformats.org/officeDocument/2006/relationships/slideLayout" Target="../slideLayouts/slideLayout800.xml"/><Relationship Id="rId42" Type="http://schemas.openxmlformats.org/officeDocument/2006/relationships/slideLayout" Target="../slideLayouts/slideLayout821.xml"/><Relationship Id="rId63" Type="http://schemas.openxmlformats.org/officeDocument/2006/relationships/slideLayout" Target="../slideLayouts/slideLayout842.xml"/><Relationship Id="rId84" Type="http://schemas.openxmlformats.org/officeDocument/2006/relationships/slideLayout" Target="../slideLayouts/slideLayout863.xml"/><Relationship Id="rId138" Type="http://schemas.openxmlformats.org/officeDocument/2006/relationships/slideLayout" Target="../slideLayouts/slideLayout917.xml"/><Relationship Id="rId159" Type="http://schemas.openxmlformats.org/officeDocument/2006/relationships/slideLayout" Target="../slideLayouts/slideLayout938.xml"/><Relationship Id="rId170" Type="http://schemas.openxmlformats.org/officeDocument/2006/relationships/slideLayout" Target="../slideLayouts/slideLayout949.xml"/><Relationship Id="rId191" Type="http://schemas.openxmlformats.org/officeDocument/2006/relationships/slideLayout" Target="../slideLayouts/slideLayout970.xml"/><Relationship Id="rId107" Type="http://schemas.openxmlformats.org/officeDocument/2006/relationships/slideLayout" Target="../slideLayouts/slideLayout886.xml"/><Relationship Id="rId11" Type="http://schemas.openxmlformats.org/officeDocument/2006/relationships/slideLayout" Target="../slideLayouts/slideLayout790.xml"/><Relationship Id="rId32" Type="http://schemas.openxmlformats.org/officeDocument/2006/relationships/slideLayout" Target="../slideLayouts/slideLayout811.xml"/><Relationship Id="rId53" Type="http://schemas.openxmlformats.org/officeDocument/2006/relationships/slideLayout" Target="../slideLayouts/slideLayout832.xml"/><Relationship Id="rId74" Type="http://schemas.openxmlformats.org/officeDocument/2006/relationships/slideLayout" Target="../slideLayouts/slideLayout853.xml"/><Relationship Id="rId128" Type="http://schemas.openxmlformats.org/officeDocument/2006/relationships/slideLayout" Target="../slideLayouts/slideLayout907.xml"/><Relationship Id="rId149" Type="http://schemas.openxmlformats.org/officeDocument/2006/relationships/slideLayout" Target="../slideLayouts/slideLayout928.xml"/><Relationship Id="rId5" Type="http://schemas.openxmlformats.org/officeDocument/2006/relationships/slideLayout" Target="../slideLayouts/slideLayout784.xml"/><Relationship Id="rId95" Type="http://schemas.openxmlformats.org/officeDocument/2006/relationships/slideLayout" Target="../slideLayouts/slideLayout874.xml"/><Relationship Id="rId160" Type="http://schemas.openxmlformats.org/officeDocument/2006/relationships/slideLayout" Target="../slideLayouts/slideLayout939.xml"/><Relationship Id="rId181" Type="http://schemas.openxmlformats.org/officeDocument/2006/relationships/slideLayout" Target="../slideLayouts/slideLayout960.xml"/><Relationship Id="rId22" Type="http://schemas.openxmlformats.org/officeDocument/2006/relationships/slideLayout" Target="../slideLayouts/slideLayout801.xml"/><Relationship Id="rId43" Type="http://schemas.openxmlformats.org/officeDocument/2006/relationships/slideLayout" Target="../slideLayouts/slideLayout822.xml"/><Relationship Id="rId64" Type="http://schemas.openxmlformats.org/officeDocument/2006/relationships/slideLayout" Target="../slideLayouts/slideLayout843.xml"/><Relationship Id="rId118" Type="http://schemas.openxmlformats.org/officeDocument/2006/relationships/slideLayout" Target="../slideLayouts/slideLayout897.xml"/><Relationship Id="rId139" Type="http://schemas.openxmlformats.org/officeDocument/2006/relationships/slideLayout" Target="../slideLayouts/slideLayout918.xml"/><Relationship Id="rId85" Type="http://schemas.openxmlformats.org/officeDocument/2006/relationships/slideLayout" Target="../slideLayouts/slideLayout864.xml"/><Relationship Id="rId150" Type="http://schemas.openxmlformats.org/officeDocument/2006/relationships/slideLayout" Target="../slideLayouts/slideLayout929.xml"/><Relationship Id="rId171" Type="http://schemas.openxmlformats.org/officeDocument/2006/relationships/slideLayout" Target="../slideLayouts/slideLayout950.xml"/><Relationship Id="rId192" Type="http://schemas.openxmlformats.org/officeDocument/2006/relationships/slideLayout" Target="../slideLayouts/slideLayout971.xml"/><Relationship Id="rId12" Type="http://schemas.openxmlformats.org/officeDocument/2006/relationships/slideLayout" Target="../slideLayouts/slideLayout791.xml"/><Relationship Id="rId33" Type="http://schemas.openxmlformats.org/officeDocument/2006/relationships/slideLayout" Target="../slideLayouts/slideLayout812.xml"/><Relationship Id="rId108" Type="http://schemas.openxmlformats.org/officeDocument/2006/relationships/slideLayout" Target="../slideLayouts/slideLayout887.xml"/><Relationship Id="rId129" Type="http://schemas.openxmlformats.org/officeDocument/2006/relationships/slideLayout" Target="../slideLayouts/slideLayout908.xml"/><Relationship Id="rId54" Type="http://schemas.openxmlformats.org/officeDocument/2006/relationships/slideLayout" Target="../slideLayouts/slideLayout833.xml"/><Relationship Id="rId75" Type="http://schemas.openxmlformats.org/officeDocument/2006/relationships/slideLayout" Target="../slideLayouts/slideLayout854.xml"/><Relationship Id="rId96" Type="http://schemas.openxmlformats.org/officeDocument/2006/relationships/slideLayout" Target="../slideLayouts/slideLayout875.xml"/><Relationship Id="rId140" Type="http://schemas.openxmlformats.org/officeDocument/2006/relationships/slideLayout" Target="../slideLayouts/slideLayout919.xml"/><Relationship Id="rId161" Type="http://schemas.openxmlformats.org/officeDocument/2006/relationships/slideLayout" Target="../slideLayouts/slideLayout940.xml"/><Relationship Id="rId182" Type="http://schemas.openxmlformats.org/officeDocument/2006/relationships/slideLayout" Target="../slideLayouts/slideLayout961.xml"/><Relationship Id="rId6" Type="http://schemas.openxmlformats.org/officeDocument/2006/relationships/slideLayout" Target="../slideLayouts/slideLayout785.xml"/><Relationship Id="rId23" Type="http://schemas.openxmlformats.org/officeDocument/2006/relationships/slideLayout" Target="../slideLayouts/slideLayout802.xml"/><Relationship Id="rId119" Type="http://schemas.openxmlformats.org/officeDocument/2006/relationships/slideLayout" Target="../slideLayouts/slideLayout898.xml"/><Relationship Id="rId44" Type="http://schemas.openxmlformats.org/officeDocument/2006/relationships/slideLayout" Target="../slideLayouts/slideLayout823.xml"/><Relationship Id="rId65" Type="http://schemas.openxmlformats.org/officeDocument/2006/relationships/slideLayout" Target="../slideLayouts/slideLayout844.xml"/><Relationship Id="rId86" Type="http://schemas.openxmlformats.org/officeDocument/2006/relationships/slideLayout" Target="../slideLayouts/slideLayout865.xml"/><Relationship Id="rId130" Type="http://schemas.openxmlformats.org/officeDocument/2006/relationships/slideLayout" Target="../slideLayouts/slideLayout909.xml"/><Relationship Id="rId151" Type="http://schemas.openxmlformats.org/officeDocument/2006/relationships/slideLayout" Target="../slideLayouts/slideLayout930.xml"/><Relationship Id="rId172" Type="http://schemas.openxmlformats.org/officeDocument/2006/relationships/slideLayout" Target="../slideLayouts/slideLayout951.xml"/><Relationship Id="rId193" Type="http://schemas.openxmlformats.org/officeDocument/2006/relationships/slideLayout" Target="../slideLayouts/slideLayout972.xml"/><Relationship Id="rId13" Type="http://schemas.openxmlformats.org/officeDocument/2006/relationships/slideLayout" Target="../slideLayouts/slideLayout792.xml"/><Relationship Id="rId109" Type="http://schemas.openxmlformats.org/officeDocument/2006/relationships/slideLayout" Target="../slideLayouts/slideLayout888.xml"/><Relationship Id="rId34" Type="http://schemas.openxmlformats.org/officeDocument/2006/relationships/slideLayout" Target="../slideLayouts/slideLayout813.xml"/><Relationship Id="rId55" Type="http://schemas.openxmlformats.org/officeDocument/2006/relationships/slideLayout" Target="../slideLayouts/slideLayout834.xml"/><Relationship Id="rId76" Type="http://schemas.openxmlformats.org/officeDocument/2006/relationships/slideLayout" Target="../slideLayouts/slideLayout855.xml"/><Relationship Id="rId97" Type="http://schemas.openxmlformats.org/officeDocument/2006/relationships/slideLayout" Target="../slideLayouts/slideLayout876.xml"/><Relationship Id="rId120" Type="http://schemas.openxmlformats.org/officeDocument/2006/relationships/slideLayout" Target="../slideLayouts/slideLayout899.xml"/><Relationship Id="rId141" Type="http://schemas.openxmlformats.org/officeDocument/2006/relationships/slideLayout" Target="../slideLayouts/slideLayout920.xml"/><Relationship Id="rId7" Type="http://schemas.openxmlformats.org/officeDocument/2006/relationships/slideLayout" Target="../slideLayouts/slideLayout786.xml"/><Relationship Id="rId71" Type="http://schemas.openxmlformats.org/officeDocument/2006/relationships/slideLayout" Target="../slideLayouts/slideLayout850.xml"/><Relationship Id="rId92" Type="http://schemas.openxmlformats.org/officeDocument/2006/relationships/slideLayout" Target="../slideLayouts/slideLayout871.xml"/><Relationship Id="rId162" Type="http://schemas.openxmlformats.org/officeDocument/2006/relationships/slideLayout" Target="../slideLayouts/slideLayout941.xml"/><Relationship Id="rId183" Type="http://schemas.openxmlformats.org/officeDocument/2006/relationships/slideLayout" Target="../slideLayouts/slideLayout962.xml"/><Relationship Id="rId2" Type="http://schemas.openxmlformats.org/officeDocument/2006/relationships/slideLayout" Target="../slideLayouts/slideLayout781.xml"/><Relationship Id="rId29" Type="http://schemas.openxmlformats.org/officeDocument/2006/relationships/slideLayout" Target="../slideLayouts/slideLayout808.xml"/><Relationship Id="rId24" Type="http://schemas.openxmlformats.org/officeDocument/2006/relationships/slideLayout" Target="../slideLayouts/slideLayout803.xml"/><Relationship Id="rId40" Type="http://schemas.openxmlformats.org/officeDocument/2006/relationships/slideLayout" Target="../slideLayouts/slideLayout819.xml"/><Relationship Id="rId45" Type="http://schemas.openxmlformats.org/officeDocument/2006/relationships/slideLayout" Target="../slideLayouts/slideLayout824.xml"/><Relationship Id="rId66" Type="http://schemas.openxmlformats.org/officeDocument/2006/relationships/slideLayout" Target="../slideLayouts/slideLayout845.xml"/><Relationship Id="rId87" Type="http://schemas.openxmlformats.org/officeDocument/2006/relationships/slideLayout" Target="../slideLayouts/slideLayout866.xml"/><Relationship Id="rId110" Type="http://schemas.openxmlformats.org/officeDocument/2006/relationships/slideLayout" Target="../slideLayouts/slideLayout889.xml"/><Relationship Id="rId115" Type="http://schemas.openxmlformats.org/officeDocument/2006/relationships/slideLayout" Target="../slideLayouts/slideLayout894.xml"/><Relationship Id="rId131" Type="http://schemas.openxmlformats.org/officeDocument/2006/relationships/slideLayout" Target="../slideLayouts/slideLayout910.xml"/><Relationship Id="rId136" Type="http://schemas.openxmlformats.org/officeDocument/2006/relationships/slideLayout" Target="../slideLayouts/slideLayout915.xml"/><Relationship Id="rId157" Type="http://schemas.openxmlformats.org/officeDocument/2006/relationships/slideLayout" Target="../slideLayouts/slideLayout936.xml"/><Relationship Id="rId178" Type="http://schemas.openxmlformats.org/officeDocument/2006/relationships/slideLayout" Target="../slideLayouts/slideLayout957.xml"/><Relationship Id="rId61" Type="http://schemas.openxmlformats.org/officeDocument/2006/relationships/slideLayout" Target="../slideLayouts/slideLayout840.xml"/><Relationship Id="rId82" Type="http://schemas.openxmlformats.org/officeDocument/2006/relationships/slideLayout" Target="../slideLayouts/slideLayout861.xml"/><Relationship Id="rId152" Type="http://schemas.openxmlformats.org/officeDocument/2006/relationships/slideLayout" Target="../slideLayouts/slideLayout931.xml"/><Relationship Id="rId173" Type="http://schemas.openxmlformats.org/officeDocument/2006/relationships/slideLayout" Target="../slideLayouts/slideLayout952.xml"/><Relationship Id="rId194" Type="http://schemas.openxmlformats.org/officeDocument/2006/relationships/slideLayout" Target="../slideLayouts/slideLayout973.xml"/><Relationship Id="rId199" Type="http://schemas.openxmlformats.org/officeDocument/2006/relationships/slideLayout" Target="../slideLayouts/slideLayout978.xml"/><Relationship Id="rId19" Type="http://schemas.openxmlformats.org/officeDocument/2006/relationships/slideLayout" Target="../slideLayouts/slideLayout798.xml"/><Relationship Id="rId14" Type="http://schemas.openxmlformats.org/officeDocument/2006/relationships/slideLayout" Target="../slideLayouts/slideLayout793.xml"/><Relationship Id="rId30" Type="http://schemas.openxmlformats.org/officeDocument/2006/relationships/slideLayout" Target="../slideLayouts/slideLayout809.xml"/><Relationship Id="rId35" Type="http://schemas.openxmlformats.org/officeDocument/2006/relationships/slideLayout" Target="../slideLayouts/slideLayout814.xml"/><Relationship Id="rId56" Type="http://schemas.openxmlformats.org/officeDocument/2006/relationships/slideLayout" Target="../slideLayouts/slideLayout835.xml"/><Relationship Id="rId77" Type="http://schemas.openxmlformats.org/officeDocument/2006/relationships/slideLayout" Target="../slideLayouts/slideLayout856.xml"/><Relationship Id="rId100" Type="http://schemas.openxmlformats.org/officeDocument/2006/relationships/slideLayout" Target="../slideLayouts/slideLayout879.xml"/><Relationship Id="rId105" Type="http://schemas.openxmlformats.org/officeDocument/2006/relationships/slideLayout" Target="../slideLayouts/slideLayout884.xml"/><Relationship Id="rId126" Type="http://schemas.openxmlformats.org/officeDocument/2006/relationships/slideLayout" Target="../slideLayouts/slideLayout905.xml"/><Relationship Id="rId147" Type="http://schemas.openxmlformats.org/officeDocument/2006/relationships/slideLayout" Target="../slideLayouts/slideLayout926.xml"/><Relationship Id="rId168" Type="http://schemas.openxmlformats.org/officeDocument/2006/relationships/slideLayout" Target="../slideLayouts/slideLayout947.xml"/><Relationship Id="rId8" Type="http://schemas.openxmlformats.org/officeDocument/2006/relationships/slideLayout" Target="../slideLayouts/slideLayout787.xml"/><Relationship Id="rId51" Type="http://schemas.openxmlformats.org/officeDocument/2006/relationships/slideLayout" Target="../slideLayouts/slideLayout830.xml"/><Relationship Id="rId72" Type="http://schemas.openxmlformats.org/officeDocument/2006/relationships/slideLayout" Target="../slideLayouts/slideLayout851.xml"/><Relationship Id="rId93" Type="http://schemas.openxmlformats.org/officeDocument/2006/relationships/slideLayout" Target="../slideLayouts/slideLayout872.xml"/><Relationship Id="rId98" Type="http://schemas.openxmlformats.org/officeDocument/2006/relationships/slideLayout" Target="../slideLayouts/slideLayout877.xml"/><Relationship Id="rId121" Type="http://schemas.openxmlformats.org/officeDocument/2006/relationships/slideLayout" Target="../slideLayouts/slideLayout900.xml"/><Relationship Id="rId142" Type="http://schemas.openxmlformats.org/officeDocument/2006/relationships/slideLayout" Target="../slideLayouts/slideLayout921.xml"/><Relationship Id="rId163" Type="http://schemas.openxmlformats.org/officeDocument/2006/relationships/slideLayout" Target="../slideLayouts/slideLayout942.xml"/><Relationship Id="rId184" Type="http://schemas.openxmlformats.org/officeDocument/2006/relationships/slideLayout" Target="../slideLayouts/slideLayout963.xml"/><Relationship Id="rId189" Type="http://schemas.openxmlformats.org/officeDocument/2006/relationships/slideLayout" Target="../slideLayouts/slideLayout968.xml"/><Relationship Id="rId3" Type="http://schemas.openxmlformats.org/officeDocument/2006/relationships/slideLayout" Target="../slideLayouts/slideLayout782.xml"/><Relationship Id="rId25" Type="http://schemas.openxmlformats.org/officeDocument/2006/relationships/slideLayout" Target="../slideLayouts/slideLayout804.xml"/><Relationship Id="rId46" Type="http://schemas.openxmlformats.org/officeDocument/2006/relationships/slideLayout" Target="../slideLayouts/slideLayout825.xml"/><Relationship Id="rId67" Type="http://schemas.openxmlformats.org/officeDocument/2006/relationships/slideLayout" Target="../slideLayouts/slideLayout846.xml"/><Relationship Id="rId116" Type="http://schemas.openxmlformats.org/officeDocument/2006/relationships/slideLayout" Target="../slideLayouts/slideLayout895.xml"/><Relationship Id="rId137" Type="http://schemas.openxmlformats.org/officeDocument/2006/relationships/slideLayout" Target="../slideLayouts/slideLayout916.xml"/><Relationship Id="rId158" Type="http://schemas.openxmlformats.org/officeDocument/2006/relationships/slideLayout" Target="../slideLayouts/slideLayout937.xml"/><Relationship Id="rId20" Type="http://schemas.openxmlformats.org/officeDocument/2006/relationships/slideLayout" Target="../slideLayouts/slideLayout799.xml"/><Relationship Id="rId41" Type="http://schemas.openxmlformats.org/officeDocument/2006/relationships/slideLayout" Target="../slideLayouts/slideLayout820.xml"/><Relationship Id="rId62" Type="http://schemas.openxmlformats.org/officeDocument/2006/relationships/slideLayout" Target="../slideLayouts/slideLayout841.xml"/><Relationship Id="rId83" Type="http://schemas.openxmlformats.org/officeDocument/2006/relationships/slideLayout" Target="../slideLayouts/slideLayout862.xml"/><Relationship Id="rId88" Type="http://schemas.openxmlformats.org/officeDocument/2006/relationships/slideLayout" Target="../slideLayouts/slideLayout867.xml"/><Relationship Id="rId111" Type="http://schemas.openxmlformats.org/officeDocument/2006/relationships/slideLayout" Target="../slideLayouts/slideLayout890.xml"/><Relationship Id="rId132" Type="http://schemas.openxmlformats.org/officeDocument/2006/relationships/slideLayout" Target="../slideLayouts/slideLayout911.xml"/><Relationship Id="rId153" Type="http://schemas.openxmlformats.org/officeDocument/2006/relationships/slideLayout" Target="../slideLayouts/slideLayout932.xml"/><Relationship Id="rId174" Type="http://schemas.openxmlformats.org/officeDocument/2006/relationships/slideLayout" Target="../slideLayouts/slideLayout953.xml"/><Relationship Id="rId179" Type="http://schemas.openxmlformats.org/officeDocument/2006/relationships/slideLayout" Target="../slideLayouts/slideLayout958.xml"/><Relationship Id="rId195" Type="http://schemas.openxmlformats.org/officeDocument/2006/relationships/slideLayout" Target="../slideLayouts/slideLayout974.xml"/><Relationship Id="rId190" Type="http://schemas.openxmlformats.org/officeDocument/2006/relationships/slideLayout" Target="../slideLayouts/slideLayout969.xml"/><Relationship Id="rId15" Type="http://schemas.openxmlformats.org/officeDocument/2006/relationships/slideLayout" Target="../slideLayouts/slideLayout794.xml"/><Relationship Id="rId36" Type="http://schemas.openxmlformats.org/officeDocument/2006/relationships/slideLayout" Target="../slideLayouts/slideLayout815.xml"/><Relationship Id="rId57" Type="http://schemas.openxmlformats.org/officeDocument/2006/relationships/slideLayout" Target="../slideLayouts/slideLayout836.xml"/><Relationship Id="rId106" Type="http://schemas.openxmlformats.org/officeDocument/2006/relationships/slideLayout" Target="../slideLayouts/slideLayout885.xml"/><Relationship Id="rId127" Type="http://schemas.openxmlformats.org/officeDocument/2006/relationships/slideLayout" Target="../slideLayouts/slideLayout906.xml"/><Relationship Id="rId10" Type="http://schemas.openxmlformats.org/officeDocument/2006/relationships/slideLayout" Target="../slideLayouts/slideLayout789.xml"/><Relationship Id="rId31" Type="http://schemas.openxmlformats.org/officeDocument/2006/relationships/slideLayout" Target="../slideLayouts/slideLayout810.xml"/><Relationship Id="rId52" Type="http://schemas.openxmlformats.org/officeDocument/2006/relationships/slideLayout" Target="../slideLayouts/slideLayout831.xml"/><Relationship Id="rId73" Type="http://schemas.openxmlformats.org/officeDocument/2006/relationships/slideLayout" Target="../slideLayouts/slideLayout852.xml"/><Relationship Id="rId78" Type="http://schemas.openxmlformats.org/officeDocument/2006/relationships/slideLayout" Target="../slideLayouts/slideLayout857.xml"/><Relationship Id="rId94" Type="http://schemas.openxmlformats.org/officeDocument/2006/relationships/slideLayout" Target="../slideLayouts/slideLayout873.xml"/><Relationship Id="rId99" Type="http://schemas.openxmlformats.org/officeDocument/2006/relationships/slideLayout" Target="../slideLayouts/slideLayout878.xml"/><Relationship Id="rId101" Type="http://schemas.openxmlformats.org/officeDocument/2006/relationships/slideLayout" Target="../slideLayouts/slideLayout880.xml"/><Relationship Id="rId122" Type="http://schemas.openxmlformats.org/officeDocument/2006/relationships/slideLayout" Target="../slideLayouts/slideLayout901.xml"/><Relationship Id="rId143" Type="http://schemas.openxmlformats.org/officeDocument/2006/relationships/slideLayout" Target="../slideLayouts/slideLayout922.xml"/><Relationship Id="rId148" Type="http://schemas.openxmlformats.org/officeDocument/2006/relationships/slideLayout" Target="../slideLayouts/slideLayout927.xml"/><Relationship Id="rId164" Type="http://schemas.openxmlformats.org/officeDocument/2006/relationships/slideLayout" Target="../slideLayouts/slideLayout943.xml"/><Relationship Id="rId169" Type="http://schemas.openxmlformats.org/officeDocument/2006/relationships/slideLayout" Target="../slideLayouts/slideLayout948.xml"/><Relationship Id="rId185" Type="http://schemas.openxmlformats.org/officeDocument/2006/relationships/slideLayout" Target="../slideLayouts/slideLayout964.xml"/><Relationship Id="rId4" Type="http://schemas.openxmlformats.org/officeDocument/2006/relationships/slideLayout" Target="../slideLayouts/slideLayout783.xml"/><Relationship Id="rId9" Type="http://schemas.openxmlformats.org/officeDocument/2006/relationships/slideLayout" Target="../slideLayouts/slideLayout788.xml"/><Relationship Id="rId180" Type="http://schemas.openxmlformats.org/officeDocument/2006/relationships/slideLayout" Target="../slideLayouts/slideLayout959.xml"/><Relationship Id="rId26" Type="http://schemas.openxmlformats.org/officeDocument/2006/relationships/slideLayout" Target="../slideLayouts/slideLayout805.xml"/><Relationship Id="rId47" Type="http://schemas.openxmlformats.org/officeDocument/2006/relationships/slideLayout" Target="../slideLayouts/slideLayout826.xml"/><Relationship Id="rId68" Type="http://schemas.openxmlformats.org/officeDocument/2006/relationships/slideLayout" Target="../slideLayouts/slideLayout847.xml"/><Relationship Id="rId89" Type="http://schemas.openxmlformats.org/officeDocument/2006/relationships/slideLayout" Target="../slideLayouts/slideLayout868.xml"/><Relationship Id="rId112" Type="http://schemas.openxmlformats.org/officeDocument/2006/relationships/slideLayout" Target="../slideLayouts/slideLayout891.xml"/><Relationship Id="rId133" Type="http://schemas.openxmlformats.org/officeDocument/2006/relationships/slideLayout" Target="../slideLayouts/slideLayout912.xml"/><Relationship Id="rId154" Type="http://schemas.openxmlformats.org/officeDocument/2006/relationships/slideLayout" Target="../slideLayouts/slideLayout933.xml"/><Relationship Id="rId175" Type="http://schemas.openxmlformats.org/officeDocument/2006/relationships/slideLayout" Target="../slideLayouts/slideLayout954.xml"/><Relationship Id="rId196" Type="http://schemas.openxmlformats.org/officeDocument/2006/relationships/slideLayout" Target="../slideLayouts/slideLayout975.xml"/><Relationship Id="rId200" Type="http://schemas.openxmlformats.org/officeDocument/2006/relationships/theme" Target="../theme/theme6.xml"/><Relationship Id="rId16" Type="http://schemas.openxmlformats.org/officeDocument/2006/relationships/slideLayout" Target="../slideLayouts/slideLayout795.xml"/><Relationship Id="rId37" Type="http://schemas.openxmlformats.org/officeDocument/2006/relationships/slideLayout" Target="../slideLayouts/slideLayout816.xml"/><Relationship Id="rId58" Type="http://schemas.openxmlformats.org/officeDocument/2006/relationships/slideLayout" Target="../slideLayouts/slideLayout837.xml"/><Relationship Id="rId79" Type="http://schemas.openxmlformats.org/officeDocument/2006/relationships/slideLayout" Target="../slideLayouts/slideLayout858.xml"/><Relationship Id="rId102" Type="http://schemas.openxmlformats.org/officeDocument/2006/relationships/slideLayout" Target="../slideLayouts/slideLayout881.xml"/><Relationship Id="rId123" Type="http://schemas.openxmlformats.org/officeDocument/2006/relationships/slideLayout" Target="../slideLayouts/slideLayout902.xml"/><Relationship Id="rId144" Type="http://schemas.openxmlformats.org/officeDocument/2006/relationships/slideLayout" Target="../slideLayouts/slideLayout923.xml"/><Relationship Id="rId90" Type="http://schemas.openxmlformats.org/officeDocument/2006/relationships/slideLayout" Target="../slideLayouts/slideLayout869.xml"/><Relationship Id="rId165" Type="http://schemas.openxmlformats.org/officeDocument/2006/relationships/slideLayout" Target="../slideLayouts/slideLayout944.xml"/><Relationship Id="rId186" Type="http://schemas.openxmlformats.org/officeDocument/2006/relationships/slideLayout" Target="../slideLayouts/slideLayout965.xml"/><Relationship Id="rId27" Type="http://schemas.openxmlformats.org/officeDocument/2006/relationships/slideLayout" Target="../slideLayouts/slideLayout806.xml"/><Relationship Id="rId48" Type="http://schemas.openxmlformats.org/officeDocument/2006/relationships/slideLayout" Target="../slideLayouts/slideLayout827.xml"/><Relationship Id="rId69" Type="http://schemas.openxmlformats.org/officeDocument/2006/relationships/slideLayout" Target="../slideLayouts/slideLayout848.xml"/><Relationship Id="rId113" Type="http://schemas.openxmlformats.org/officeDocument/2006/relationships/slideLayout" Target="../slideLayouts/slideLayout892.xml"/><Relationship Id="rId134" Type="http://schemas.openxmlformats.org/officeDocument/2006/relationships/slideLayout" Target="../slideLayouts/slideLayout913.xml"/><Relationship Id="rId80" Type="http://schemas.openxmlformats.org/officeDocument/2006/relationships/slideLayout" Target="../slideLayouts/slideLayout859.xml"/><Relationship Id="rId155" Type="http://schemas.openxmlformats.org/officeDocument/2006/relationships/slideLayout" Target="../slideLayouts/slideLayout934.xml"/><Relationship Id="rId176" Type="http://schemas.openxmlformats.org/officeDocument/2006/relationships/slideLayout" Target="../slideLayouts/slideLayout955.xml"/><Relationship Id="rId197" Type="http://schemas.openxmlformats.org/officeDocument/2006/relationships/slideLayout" Target="../slideLayouts/slideLayout976.xml"/><Relationship Id="rId17" Type="http://schemas.openxmlformats.org/officeDocument/2006/relationships/slideLayout" Target="../slideLayouts/slideLayout796.xml"/><Relationship Id="rId38" Type="http://schemas.openxmlformats.org/officeDocument/2006/relationships/slideLayout" Target="../slideLayouts/slideLayout817.xml"/><Relationship Id="rId59" Type="http://schemas.openxmlformats.org/officeDocument/2006/relationships/slideLayout" Target="../slideLayouts/slideLayout838.xml"/><Relationship Id="rId103" Type="http://schemas.openxmlformats.org/officeDocument/2006/relationships/slideLayout" Target="../slideLayouts/slideLayout882.xml"/><Relationship Id="rId124" Type="http://schemas.openxmlformats.org/officeDocument/2006/relationships/slideLayout" Target="../slideLayouts/slideLayout903.xml"/><Relationship Id="rId70" Type="http://schemas.openxmlformats.org/officeDocument/2006/relationships/slideLayout" Target="../slideLayouts/slideLayout849.xml"/><Relationship Id="rId91" Type="http://schemas.openxmlformats.org/officeDocument/2006/relationships/slideLayout" Target="../slideLayouts/slideLayout870.xml"/><Relationship Id="rId145" Type="http://schemas.openxmlformats.org/officeDocument/2006/relationships/slideLayout" Target="../slideLayouts/slideLayout924.xml"/><Relationship Id="rId166" Type="http://schemas.openxmlformats.org/officeDocument/2006/relationships/slideLayout" Target="../slideLayouts/slideLayout945.xml"/><Relationship Id="rId187" Type="http://schemas.openxmlformats.org/officeDocument/2006/relationships/slideLayout" Target="../slideLayouts/slideLayout966.xml"/><Relationship Id="rId1" Type="http://schemas.openxmlformats.org/officeDocument/2006/relationships/slideLayout" Target="../slideLayouts/slideLayout780.xml"/><Relationship Id="rId28" Type="http://schemas.openxmlformats.org/officeDocument/2006/relationships/slideLayout" Target="../slideLayouts/slideLayout807.xml"/><Relationship Id="rId49" Type="http://schemas.openxmlformats.org/officeDocument/2006/relationships/slideLayout" Target="../slideLayouts/slideLayout828.xml"/><Relationship Id="rId114" Type="http://schemas.openxmlformats.org/officeDocument/2006/relationships/slideLayout" Target="../slideLayouts/slideLayout893.xml"/><Relationship Id="rId60" Type="http://schemas.openxmlformats.org/officeDocument/2006/relationships/slideLayout" Target="../slideLayouts/slideLayout839.xml"/><Relationship Id="rId81" Type="http://schemas.openxmlformats.org/officeDocument/2006/relationships/slideLayout" Target="../slideLayouts/slideLayout860.xml"/><Relationship Id="rId135" Type="http://schemas.openxmlformats.org/officeDocument/2006/relationships/slideLayout" Target="../slideLayouts/slideLayout914.xml"/><Relationship Id="rId156" Type="http://schemas.openxmlformats.org/officeDocument/2006/relationships/slideLayout" Target="../slideLayouts/slideLayout935.xml"/><Relationship Id="rId177" Type="http://schemas.openxmlformats.org/officeDocument/2006/relationships/slideLayout" Target="../slideLayouts/slideLayout956.xml"/><Relationship Id="rId198" Type="http://schemas.openxmlformats.org/officeDocument/2006/relationships/slideLayout" Target="../slideLayouts/slideLayout977.xml"/><Relationship Id="rId18" Type="http://schemas.openxmlformats.org/officeDocument/2006/relationships/slideLayout" Target="../slideLayouts/slideLayout797.xml"/><Relationship Id="rId39" Type="http://schemas.openxmlformats.org/officeDocument/2006/relationships/slideLayout" Target="../slideLayouts/slideLayout818.xml"/><Relationship Id="rId50" Type="http://schemas.openxmlformats.org/officeDocument/2006/relationships/slideLayout" Target="../slideLayouts/slideLayout829.xml"/><Relationship Id="rId104" Type="http://schemas.openxmlformats.org/officeDocument/2006/relationships/slideLayout" Target="../slideLayouts/slideLayout883.xml"/><Relationship Id="rId125" Type="http://schemas.openxmlformats.org/officeDocument/2006/relationships/slideLayout" Target="../slideLayouts/slideLayout904.xml"/><Relationship Id="rId146" Type="http://schemas.openxmlformats.org/officeDocument/2006/relationships/slideLayout" Target="../slideLayouts/slideLayout925.xml"/><Relationship Id="rId167" Type="http://schemas.openxmlformats.org/officeDocument/2006/relationships/slideLayout" Target="../slideLayouts/slideLayout946.xml"/><Relationship Id="rId188" Type="http://schemas.openxmlformats.org/officeDocument/2006/relationships/slideLayout" Target="../slideLayouts/slideLayout967.xml"/></Relationships>
</file>

<file path=ppt/slideMasters/_rels/slideMaster7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095.xml"/><Relationship Id="rId21" Type="http://schemas.openxmlformats.org/officeDocument/2006/relationships/slideLayout" Target="../slideLayouts/slideLayout999.xml"/><Relationship Id="rId42" Type="http://schemas.openxmlformats.org/officeDocument/2006/relationships/slideLayout" Target="../slideLayouts/slideLayout1020.xml"/><Relationship Id="rId63" Type="http://schemas.openxmlformats.org/officeDocument/2006/relationships/slideLayout" Target="../slideLayouts/slideLayout1041.xml"/><Relationship Id="rId84" Type="http://schemas.openxmlformats.org/officeDocument/2006/relationships/slideLayout" Target="../slideLayouts/slideLayout1062.xml"/><Relationship Id="rId138" Type="http://schemas.openxmlformats.org/officeDocument/2006/relationships/slideLayout" Target="../slideLayouts/slideLayout1116.xml"/><Relationship Id="rId159" Type="http://schemas.openxmlformats.org/officeDocument/2006/relationships/slideLayout" Target="../slideLayouts/slideLayout1137.xml"/><Relationship Id="rId170" Type="http://schemas.openxmlformats.org/officeDocument/2006/relationships/slideLayout" Target="../slideLayouts/slideLayout1148.xml"/><Relationship Id="rId191" Type="http://schemas.openxmlformats.org/officeDocument/2006/relationships/slideLayout" Target="../slideLayouts/slideLayout1169.xml"/><Relationship Id="rId107" Type="http://schemas.openxmlformats.org/officeDocument/2006/relationships/slideLayout" Target="../slideLayouts/slideLayout1085.xml"/><Relationship Id="rId11" Type="http://schemas.openxmlformats.org/officeDocument/2006/relationships/slideLayout" Target="../slideLayouts/slideLayout989.xml"/><Relationship Id="rId32" Type="http://schemas.openxmlformats.org/officeDocument/2006/relationships/slideLayout" Target="../slideLayouts/slideLayout1010.xml"/><Relationship Id="rId53" Type="http://schemas.openxmlformats.org/officeDocument/2006/relationships/slideLayout" Target="../slideLayouts/slideLayout1031.xml"/><Relationship Id="rId74" Type="http://schemas.openxmlformats.org/officeDocument/2006/relationships/slideLayout" Target="../slideLayouts/slideLayout1052.xml"/><Relationship Id="rId128" Type="http://schemas.openxmlformats.org/officeDocument/2006/relationships/slideLayout" Target="../slideLayouts/slideLayout1106.xml"/><Relationship Id="rId149" Type="http://schemas.openxmlformats.org/officeDocument/2006/relationships/slideLayout" Target="../slideLayouts/slideLayout1127.xml"/><Relationship Id="rId5" Type="http://schemas.openxmlformats.org/officeDocument/2006/relationships/slideLayout" Target="../slideLayouts/slideLayout983.xml"/><Relationship Id="rId95" Type="http://schemas.openxmlformats.org/officeDocument/2006/relationships/slideLayout" Target="../slideLayouts/slideLayout1073.xml"/><Relationship Id="rId160" Type="http://schemas.openxmlformats.org/officeDocument/2006/relationships/slideLayout" Target="../slideLayouts/slideLayout1138.xml"/><Relationship Id="rId181" Type="http://schemas.openxmlformats.org/officeDocument/2006/relationships/slideLayout" Target="../slideLayouts/slideLayout1159.xml"/><Relationship Id="rId22" Type="http://schemas.openxmlformats.org/officeDocument/2006/relationships/slideLayout" Target="../slideLayouts/slideLayout1000.xml"/><Relationship Id="rId43" Type="http://schemas.openxmlformats.org/officeDocument/2006/relationships/slideLayout" Target="../slideLayouts/slideLayout1021.xml"/><Relationship Id="rId64" Type="http://schemas.openxmlformats.org/officeDocument/2006/relationships/slideLayout" Target="../slideLayouts/slideLayout1042.xml"/><Relationship Id="rId118" Type="http://schemas.openxmlformats.org/officeDocument/2006/relationships/slideLayout" Target="../slideLayouts/slideLayout1096.xml"/><Relationship Id="rId139" Type="http://schemas.openxmlformats.org/officeDocument/2006/relationships/slideLayout" Target="../slideLayouts/slideLayout1117.xml"/><Relationship Id="rId85" Type="http://schemas.openxmlformats.org/officeDocument/2006/relationships/slideLayout" Target="../slideLayouts/slideLayout1063.xml"/><Relationship Id="rId150" Type="http://schemas.openxmlformats.org/officeDocument/2006/relationships/slideLayout" Target="../slideLayouts/slideLayout1128.xml"/><Relationship Id="rId171" Type="http://schemas.openxmlformats.org/officeDocument/2006/relationships/slideLayout" Target="../slideLayouts/slideLayout1149.xml"/><Relationship Id="rId192" Type="http://schemas.openxmlformats.org/officeDocument/2006/relationships/slideLayout" Target="../slideLayouts/slideLayout1170.xml"/><Relationship Id="rId12" Type="http://schemas.openxmlformats.org/officeDocument/2006/relationships/slideLayout" Target="../slideLayouts/slideLayout990.xml"/><Relationship Id="rId33" Type="http://schemas.openxmlformats.org/officeDocument/2006/relationships/slideLayout" Target="../slideLayouts/slideLayout1011.xml"/><Relationship Id="rId108" Type="http://schemas.openxmlformats.org/officeDocument/2006/relationships/slideLayout" Target="../slideLayouts/slideLayout1086.xml"/><Relationship Id="rId129" Type="http://schemas.openxmlformats.org/officeDocument/2006/relationships/slideLayout" Target="../slideLayouts/slideLayout1107.xml"/><Relationship Id="rId54" Type="http://schemas.openxmlformats.org/officeDocument/2006/relationships/slideLayout" Target="../slideLayouts/slideLayout1032.xml"/><Relationship Id="rId75" Type="http://schemas.openxmlformats.org/officeDocument/2006/relationships/slideLayout" Target="../slideLayouts/slideLayout1053.xml"/><Relationship Id="rId96" Type="http://schemas.openxmlformats.org/officeDocument/2006/relationships/slideLayout" Target="../slideLayouts/slideLayout1074.xml"/><Relationship Id="rId140" Type="http://schemas.openxmlformats.org/officeDocument/2006/relationships/slideLayout" Target="../slideLayouts/slideLayout1118.xml"/><Relationship Id="rId161" Type="http://schemas.openxmlformats.org/officeDocument/2006/relationships/slideLayout" Target="../slideLayouts/slideLayout1139.xml"/><Relationship Id="rId182" Type="http://schemas.openxmlformats.org/officeDocument/2006/relationships/slideLayout" Target="../slideLayouts/slideLayout1160.xml"/><Relationship Id="rId6" Type="http://schemas.openxmlformats.org/officeDocument/2006/relationships/slideLayout" Target="../slideLayouts/slideLayout984.xml"/><Relationship Id="rId23" Type="http://schemas.openxmlformats.org/officeDocument/2006/relationships/slideLayout" Target="../slideLayouts/slideLayout1001.xml"/><Relationship Id="rId119" Type="http://schemas.openxmlformats.org/officeDocument/2006/relationships/slideLayout" Target="../slideLayouts/slideLayout1097.xml"/><Relationship Id="rId44" Type="http://schemas.openxmlformats.org/officeDocument/2006/relationships/slideLayout" Target="../slideLayouts/slideLayout1022.xml"/><Relationship Id="rId65" Type="http://schemas.openxmlformats.org/officeDocument/2006/relationships/slideLayout" Target="../slideLayouts/slideLayout1043.xml"/><Relationship Id="rId86" Type="http://schemas.openxmlformats.org/officeDocument/2006/relationships/slideLayout" Target="../slideLayouts/slideLayout1064.xml"/><Relationship Id="rId130" Type="http://schemas.openxmlformats.org/officeDocument/2006/relationships/slideLayout" Target="../slideLayouts/slideLayout1108.xml"/><Relationship Id="rId151" Type="http://schemas.openxmlformats.org/officeDocument/2006/relationships/slideLayout" Target="../slideLayouts/slideLayout1129.xml"/><Relationship Id="rId172" Type="http://schemas.openxmlformats.org/officeDocument/2006/relationships/slideLayout" Target="../slideLayouts/slideLayout1150.xml"/><Relationship Id="rId193" Type="http://schemas.openxmlformats.org/officeDocument/2006/relationships/slideLayout" Target="../slideLayouts/slideLayout1171.xml"/><Relationship Id="rId13" Type="http://schemas.openxmlformats.org/officeDocument/2006/relationships/slideLayout" Target="../slideLayouts/slideLayout991.xml"/><Relationship Id="rId109" Type="http://schemas.openxmlformats.org/officeDocument/2006/relationships/slideLayout" Target="../slideLayouts/slideLayout1087.xml"/><Relationship Id="rId34" Type="http://schemas.openxmlformats.org/officeDocument/2006/relationships/slideLayout" Target="../slideLayouts/slideLayout1012.xml"/><Relationship Id="rId55" Type="http://schemas.openxmlformats.org/officeDocument/2006/relationships/slideLayout" Target="../slideLayouts/slideLayout1033.xml"/><Relationship Id="rId76" Type="http://schemas.openxmlformats.org/officeDocument/2006/relationships/slideLayout" Target="../slideLayouts/slideLayout1054.xml"/><Relationship Id="rId97" Type="http://schemas.openxmlformats.org/officeDocument/2006/relationships/slideLayout" Target="../slideLayouts/slideLayout1075.xml"/><Relationship Id="rId120" Type="http://schemas.openxmlformats.org/officeDocument/2006/relationships/slideLayout" Target="../slideLayouts/slideLayout1098.xml"/><Relationship Id="rId141" Type="http://schemas.openxmlformats.org/officeDocument/2006/relationships/slideLayout" Target="../slideLayouts/slideLayout1119.xml"/><Relationship Id="rId7" Type="http://schemas.openxmlformats.org/officeDocument/2006/relationships/slideLayout" Target="../slideLayouts/slideLayout985.xml"/><Relationship Id="rId71" Type="http://schemas.openxmlformats.org/officeDocument/2006/relationships/slideLayout" Target="../slideLayouts/slideLayout1049.xml"/><Relationship Id="rId92" Type="http://schemas.openxmlformats.org/officeDocument/2006/relationships/slideLayout" Target="../slideLayouts/slideLayout1070.xml"/><Relationship Id="rId162" Type="http://schemas.openxmlformats.org/officeDocument/2006/relationships/slideLayout" Target="../slideLayouts/slideLayout1140.xml"/><Relationship Id="rId183" Type="http://schemas.openxmlformats.org/officeDocument/2006/relationships/slideLayout" Target="../slideLayouts/slideLayout1161.xml"/><Relationship Id="rId2" Type="http://schemas.openxmlformats.org/officeDocument/2006/relationships/slideLayout" Target="../slideLayouts/slideLayout980.xml"/><Relationship Id="rId29" Type="http://schemas.openxmlformats.org/officeDocument/2006/relationships/slideLayout" Target="../slideLayouts/slideLayout1007.xml"/><Relationship Id="rId24" Type="http://schemas.openxmlformats.org/officeDocument/2006/relationships/slideLayout" Target="../slideLayouts/slideLayout1002.xml"/><Relationship Id="rId40" Type="http://schemas.openxmlformats.org/officeDocument/2006/relationships/slideLayout" Target="../slideLayouts/slideLayout1018.xml"/><Relationship Id="rId45" Type="http://schemas.openxmlformats.org/officeDocument/2006/relationships/slideLayout" Target="../slideLayouts/slideLayout1023.xml"/><Relationship Id="rId66" Type="http://schemas.openxmlformats.org/officeDocument/2006/relationships/slideLayout" Target="../slideLayouts/slideLayout1044.xml"/><Relationship Id="rId87" Type="http://schemas.openxmlformats.org/officeDocument/2006/relationships/slideLayout" Target="../slideLayouts/slideLayout1065.xml"/><Relationship Id="rId110" Type="http://schemas.openxmlformats.org/officeDocument/2006/relationships/slideLayout" Target="../slideLayouts/slideLayout1088.xml"/><Relationship Id="rId115" Type="http://schemas.openxmlformats.org/officeDocument/2006/relationships/slideLayout" Target="../slideLayouts/slideLayout1093.xml"/><Relationship Id="rId131" Type="http://schemas.openxmlformats.org/officeDocument/2006/relationships/slideLayout" Target="../slideLayouts/slideLayout1109.xml"/><Relationship Id="rId136" Type="http://schemas.openxmlformats.org/officeDocument/2006/relationships/slideLayout" Target="../slideLayouts/slideLayout1114.xml"/><Relationship Id="rId157" Type="http://schemas.openxmlformats.org/officeDocument/2006/relationships/slideLayout" Target="../slideLayouts/slideLayout1135.xml"/><Relationship Id="rId178" Type="http://schemas.openxmlformats.org/officeDocument/2006/relationships/slideLayout" Target="../slideLayouts/slideLayout1156.xml"/><Relationship Id="rId61" Type="http://schemas.openxmlformats.org/officeDocument/2006/relationships/slideLayout" Target="../slideLayouts/slideLayout1039.xml"/><Relationship Id="rId82" Type="http://schemas.openxmlformats.org/officeDocument/2006/relationships/slideLayout" Target="../slideLayouts/slideLayout1060.xml"/><Relationship Id="rId152" Type="http://schemas.openxmlformats.org/officeDocument/2006/relationships/slideLayout" Target="../slideLayouts/slideLayout1130.xml"/><Relationship Id="rId173" Type="http://schemas.openxmlformats.org/officeDocument/2006/relationships/slideLayout" Target="../slideLayouts/slideLayout1151.xml"/><Relationship Id="rId194" Type="http://schemas.openxmlformats.org/officeDocument/2006/relationships/slideLayout" Target="../slideLayouts/slideLayout1172.xml"/><Relationship Id="rId199" Type="http://schemas.openxmlformats.org/officeDocument/2006/relationships/slideLayout" Target="../slideLayouts/slideLayout1177.xml"/><Relationship Id="rId19" Type="http://schemas.openxmlformats.org/officeDocument/2006/relationships/slideLayout" Target="../slideLayouts/slideLayout997.xml"/><Relationship Id="rId14" Type="http://schemas.openxmlformats.org/officeDocument/2006/relationships/slideLayout" Target="../slideLayouts/slideLayout992.xml"/><Relationship Id="rId30" Type="http://schemas.openxmlformats.org/officeDocument/2006/relationships/slideLayout" Target="../slideLayouts/slideLayout1008.xml"/><Relationship Id="rId35" Type="http://schemas.openxmlformats.org/officeDocument/2006/relationships/slideLayout" Target="../slideLayouts/slideLayout1013.xml"/><Relationship Id="rId56" Type="http://schemas.openxmlformats.org/officeDocument/2006/relationships/slideLayout" Target="../slideLayouts/slideLayout1034.xml"/><Relationship Id="rId77" Type="http://schemas.openxmlformats.org/officeDocument/2006/relationships/slideLayout" Target="../slideLayouts/slideLayout1055.xml"/><Relationship Id="rId100" Type="http://schemas.openxmlformats.org/officeDocument/2006/relationships/slideLayout" Target="../slideLayouts/slideLayout1078.xml"/><Relationship Id="rId105" Type="http://schemas.openxmlformats.org/officeDocument/2006/relationships/slideLayout" Target="../slideLayouts/slideLayout1083.xml"/><Relationship Id="rId126" Type="http://schemas.openxmlformats.org/officeDocument/2006/relationships/slideLayout" Target="../slideLayouts/slideLayout1104.xml"/><Relationship Id="rId147" Type="http://schemas.openxmlformats.org/officeDocument/2006/relationships/slideLayout" Target="../slideLayouts/slideLayout1125.xml"/><Relationship Id="rId168" Type="http://schemas.openxmlformats.org/officeDocument/2006/relationships/slideLayout" Target="../slideLayouts/slideLayout1146.xml"/><Relationship Id="rId8" Type="http://schemas.openxmlformats.org/officeDocument/2006/relationships/slideLayout" Target="../slideLayouts/slideLayout986.xml"/><Relationship Id="rId51" Type="http://schemas.openxmlformats.org/officeDocument/2006/relationships/slideLayout" Target="../slideLayouts/slideLayout1029.xml"/><Relationship Id="rId72" Type="http://schemas.openxmlformats.org/officeDocument/2006/relationships/slideLayout" Target="../slideLayouts/slideLayout1050.xml"/><Relationship Id="rId93" Type="http://schemas.openxmlformats.org/officeDocument/2006/relationships/slideLayout" Target="../slideLayouts/slideLayout1071.xml"/><Relationship Id="rId98" Type="http://schemas.openxmlformats.org/officeDocument/2006/relationships/slideLayout" Target="../slideLayouts/slideLayout1076.xml"/><Relationship Id="rId121" Type="http://schemas.openxmlformats.org/officeDocument/2006/relationships/slideLayout" Target="../slideLayouts/slideLayout1099.xml"/><Relationship Id="rId142" Type="http://schemas.openxmlformats.org/officeDocument/2006/relationships/slideLayout" Target="../slideLayouts/slideLayout1120.xml"/><Relationship Id="rId163" Type="http://schemas.openxmlformats.org/officeDocument/2006/relationships/slideLayout" Target="../slideLayouts/slideLayout1141.xml"/><Relationship Id="rId184" Type="http://schemas.openxmlformats.org/officeDocument/2006/relationships/slideLayout" Target="../slideLayouts/slideLayout1162.xml"/><Relationship Id="rId189" Type="http://schemas.openxmlformats.org/officeDocument/2006/relationships/slideLayout" Target="../slideLayouts/slideLayout1167.xml"/><Relationship Id="rId3" Type="http://schemas.openxmlformats.org/officeDocument/2006/relationships/slideLayout" Target="../slideLayouts/slideLayout981.xml"/><Relationship Id="rId25" Type="http://schemas.openxmlformats.org/officeDocument/2006/relationships/slideLayout" Target="../slideLayouts/slideLayout1003.xml"/><Relationship Id="rId46" Type="http://schemas.openxmlformats.org/officeDocument/2006/relationships/slideLayout" Target="../slideLayouts/slideLayout1024.xml"/><Relationship Id="rId67" Type="http://schemas.openxmlformats.org/officeDocument/2006/relationships/slideLayout" Target="../slideLayouts/slideLayout1045.xml"/><Relationship Id="rId116" Type="http://schemas.openxmlformats.org/officeDocument/2006/relationships/slideLayout" Target="../slideLayouts/slideLayout1094.xml"/><Relationship Id="rId137" Type="http://schemas.openxmlformats.org/officeDocument/2006/relationships/slideLayout" Target="../slideLayouts/slideLayout1115.xml"/><Relationship Id="rId158" Type="http://schemas.openxmlformats.org/officeDocument/2006/relationships/slideLayout" Target="../slideLayouts/slideLayout1136.xml"/><Relationship Id="rId20" Type="http://schemas.openxmlformats.org/officeDocument/2006/relationships/slideLayout" Target="../slideLayouts/slideLayout998.xml"/><Relationship Id="rId41" Type="http://schemas.openxmlformats.org/officeDocument/2006/relationships/slideLayout" Target="../slideLayouts/slideLayout1019.xml"/><Relationship Id="rId62" Type="http://schemas.openxmlformats.org/officeDocument/2006/relationships/slideLayout" Target="../slideLayouts/slideLayout1040.xml"/><Relationship Id="rId83" Type="http://schemas.openxmlformats.org/officeDocument/2006/relationships/slideLayout" Target="../slideLayouts/slideLayout1061.xml"/><Relationship Id="rId88" Type="http://schemas.openxmlformats.org/officeDocument/2006/relationships/slideLayout" Target="../slideLayouts/slideLayout1066.xml"/><Relationship Id="rId111" Type="http://schemas.openxmlformats.org/officeDocument/2006/relationships/slideLayout" Target="../slideLayouts/slideLayout1089.xml"/><Relationship Id="rId132" Type="http://schemas.openxmlformats.org/officeDocument/2006/relationships/slideLayout" Target="../slideLayouts/slideLayout1110.xml"/><Relationship Id="rId153" Type="http://schemas.openxmlformats.org/officeDocument/2006/relationships/slideLayout" Target="../slideLayouts/slideLayout1131.xml"/><Relationship Id="rId174" Type="http://schemas.openxmlformats.org/officeDocument/2006/relationships/slideLayout" Target="../slideLayouts/slideLayout1152.xml"/><Relationship Id="rId179" Type="http://schemas.openxmlformats.org/officeDocument/2006/relationships/slideLayout" Target="../slideLayouts/slideLayout1157.xml"/><Relationship Id="rId195" Type="http://schemas.openxmlformats.org/officeDocument/2006/relationships/slideLayout" Target="../slideLayouts/slideLayout1173.xml"/><Relationship Id="rId190" Type="http://schemas.openxmlformats.org/officeDocument/2006/relationships/slideLayout" Target="../slideLayouts/slideLayout1168.xml"/><Relationship Id="rId15" Type="http://schemas.openxmlformats.org/officeDocument/2006/relationships/slideLayout" Target="../slideLayouts/slideLayout993.xml"/><Relationship Id="rId36" Type="http://schemas.openxmlformats.org/officeDocument/2006/relationships/slideLayout" Target="../slideLayouts/slideLayout1014.xml"/><Relationship Id="rId57" Type="http://schemas.openxmlformats.org/officeDocument/2006/relationships/slideLayout" Target="../slideLayouts/slideLayout1035.xml"/><Relationship Id="rId106" Type="http://schemas.openxmlformats.org/officeDocument/2006/relationships/slideLayout" Target="../slideLayouts/slideLayout1084.xml"/><Relationship Id="rId127" Type="http://schemas.openxmlformats.org/officeDocument/2006/relationships/slideLayout" Target="../slideLayouts/slideLayout1105.xml"/><Relationship Id="rId10" Type="http://schemas.openxmlformats.org/officeDocument/2006/relationships/slideLayout" Target="../slideLayouts/slideLayout988.xml"/><Relationship Id="rId31" Type="http://schemas.openxmlformats.org/officeDocument/2006/relationships/slideLayout" Target="../slideLayouts/slideLayout1009.xml"/><Relationship Id="rId52" Type="http://schemas.openxmlformats.org/officeDocument/2006/relationships/slideLayout" Target="../slideLayouts/slideLayout1030.xml"/><Relationship Id="rId73" Type="http://schemas.openxmlformats.org/officeDocument/2006/relationships/slideLayout" Target="../slideLayouts/slideLayout1051.xml"/><Relationship Id="rId78" Type="http://schemas.openxmlformats.org/officeDocument/2006/relationships/slideLayout" Target="../slideLayouts/slideLayout1056.xml"/><Relationship Id="rId94" Type="http://schemas.openxmlformats.org/officeDocument/2006/relationships/slideLayout" Target="../slideLayouts/slideLayout1072.xml"/><Relationship Id="rId99" Type="http://schemas.openxmlformats.org/officeDocument/2006/relationships/slideLayout" Target="../slideLayouts/slideLayout1077.xml"/><Relationship Id="rId101" Type="http://schemas.openxmlformats.org/officeDocument/2006/relationships/slideLayout" Target="../slideLayouts/slideLayout1079.xml"/><Relationship Id="rId122" Type="http://schemas.openxmlformats.org/officeDocument/2006/relationships/slideLayout" Target="../slideLayouts/slideLayout1100.xml"/><Relationship Id="rId143" Type="http://schemas.openxmlformats.org/officeDocument/2006/relationships/slideLayout" Target="../slideLayouts/slideLayout1121.xml"/><Relationship Id="rId148" Type="http://schemas.openxmlformats.org/officeDocument/2006/relationships/slideLayout" Target="../slideLayouts/slideLayout1126.xml"/><Relationship Id="rId164" Type="http://schemas.openxmlformats.org/officeDocument/2006/relationships/slideLayout" Target="../slideLayouts/slideLayout1142.xml"/><Relationship Id="rId169" Type="http://schemas.openxmlformats.org/officeDocument/2006/relationships/slideLayout" Target="../slideLayouts/slideLayout1147.xml"/><Relationship Id="rId185" Type="http://schemas.openxmlformats.org/officeDocument/2006/relationships/slideLayout" Target="../slideLayouts/slideLayout1163.xml"/><Relationship Id="rId4" Type="http://schemas.openxmlformats.org/officeDocument/2006/relationships/slideLayout" Target="../slideLayouts/slideLayout982.xml"/><Relationship Id="rId9" Type="http://schemas.openxmlformats.org/officeDocument/2006/relationships/slideLayout" Target="../slideLayouts/slideLayout987.xml"/><Relationship Id="rId180" Type="http://schemas.openxmlformats.org/officeDocument/2006/relationships/slideLayout" Target="../slideLayouts/slideLayout1158.xml"/><Relationship Id="rId26" Type="http://schemas.openxmlformats.org/officeDocument/2006/relationships/slideLayout" Target="../slideLayouts/slideLayout1004.xml"/><Relationship Id="rId47" Type="http://schemas.openxmlformats.org/officeDocument/2006/relationships/slideLayout" Target="../slideLayouts/slideLayout1025.xml"/><Relationship Id="rId68" Type="http://schemas.openxmlformats.org/officeDocument/2006/relationships/slideLayout" Target="../slideLayouts/slideLayout1046.xml"/><Relationship Id="rId89" Type="http://schemas.openxmlformats.org/officeDocument/2006/relationships/slideLayout" Target="../slideLayouts/slideLayout1067.xml"/><Relationship Id="rId112" Type="http://schemas.openxmlformats.org/officeDocument/2006/relationships/slideLayout" Target="../slideLayouts/slideLayout1090.xml"/><Relationship Id="rId133" Type="http://schemas.openxmlformats.org/officeDocument/2006/relationships/slideLayout" Target="../slideLayouts/slideLayout1111.xml"/><Relationship Id="rId154" Type="http://schemas.openxmlformats.org/officeDocument/2006/relationships/slideLayout" Target="../slideLayouts/slideLayout1132.xml"/><Relationship Id="rId175" Type="http://schemas.openxmlformats.org/officeDocument/2006/relationships/slideLayout" Target="../slideLayouts/slideLayout1153.xml"/><Relationship Id="rId196" Type="http://schemas.openxmlformats.org/officeDocument/2006/relationships/slideLayout" Target="../slideLayouts/slideLayout1174.xml"/><Relationship Id="rId200" Type="http://schemas.openxmlformats.org/officeDocument/2006/relationships/theme" Target="../theme/theme7.xml"/><Relationship Id="rId16" Type="http://schemas.openxmlformats.org/officeDocument/2006/relationships/slideLayout" Target="../slideLayouts/slideLayout994.xml"/><Relationship Id="rId37" Type="http://schemas.openxmlformats.org/officeDocument/2006/relationships/slideLayout" Target="../slideLayouts/slideLayout1015.xml"/><Relationship Id="rId58" Type="http://schemas.openxmlformats.org/officeDocument/2006/relationships/slideLayout" Target="../slideLayouts/slideLayout1036.xml"/><Relationship Id="rId79" Type="http://schemas.openxmlformats.org/officeDocument/2006/relationships/slideLayout" Target="../slideLayouts/slideLayout1057.xml"/><Relationship Id="rId102" Type="http://schemas.openxmlformats.org/officeDocument/2006/relationships/slideLayout" Target="../slideLayouts/slideLayout1080.xml"/><Relationship Id="rId123" Type="http://schemas.openxmlformats.org/officeDocument/2006/relationships/slideLayout" Target="../slideLayouts/slideLayout1101.xml"/><Relationship Id="rId144" Type="http://schemas.openxmlformats.org/officeDocument/2006/relationships/slideLayout" Target="../slideLayouts/slideLayout1122.xml"/><Relationship Id="rId90" Type="http://schemas.openxmlformats.org/officeDocument/2006/relationships/slideLayout" Target="../slideLayouts/slideLayout1068.xml"/><Relationship Id="rId165" Type="http://schemas.openxmlformats.org/officeDocument/2006/relationships/slideLayout" Target="../slideLayouts/slideLayout1143.xml"/><Relationship Id="rId186" Type="http://schemas.openxmlformats.org/officeDocument/2006/relationships/slideLayout" Target="../slideLayouts/slideLayout1164.xml"/><Relationship Id="rId27" Type="http://schemas.openxmlformats.org/officeDocument/2006/relationships/slideLayout" Target="../slideLayouts/slideLayout1005.xml"/><Relationship Id="rId48" Type="http://schemas.openxmlformats.org/officeDocument/2006/relationships/slideLayout" Target="../slideLayouts/slideLayout1026.xml"/><Relationship Id="rId69" Type="http://schemas.openxmlformats.org/officeDocument/2006/relationships/slideLayout" Target="../slideLayouts/slideLayout1047.xml"/><Relationship Id="rId113" Type="http://schemas.openxmlformats.org/officeDocument/2006/relationships/slideLayout" Target="../slideLayouts/slideLayout1091.xml"/><Relationship Id="rId134" Type="http://schemas.openxmlformats.org/officeDocument/2006/relationships/slideLayout" Target="../slideLayouts/slideLayout1112.xml"/><Relationship Id="rId80" Type="http://schemas.openxmlformats.org/officeDocument/2006/relationships/slideLayout" Target="../slideLayouts/slideLayout1058.xml"/><Relationship Id="rId155" Type="http://schemas.openxmlformats.org/officeDocument/2006/relationships/slideLayout" Target="../slideLayouts/slideLayout1133.xml"/><Relationship Id="rId176" Type="http://schemas.openxmlformats.org/officeDocument/2006/relationships/slideLayout" Target="../slideLayouts/slideLayout1154.xml"/><Relationship Id="rId197" Type="http://schemas.openxmlformats.org/officeDocument/2006/relationships/slideLayout" Target="../slideLayouts/slideLayout1175.xml"/><Relationship Id="rId17" Type="http://schemas.openxmlformats.org/officeDocument/2006/relationships/slideLayout" Target="../slideLayouts/slideLayout995.xml"/><Relationship Id="rId38" Type="http://schemas.openxmlformats.org/officeDocument/2006/relationships/slideLayout" Target="../slideLayouts/slideLayout1016.xml"/><Relationship Id="rId59" Type="http://schemas.openxmlformats.org/officeDocument/2006/relationships/slideLayout" Target="../slideLayouts/slideLayout1037.xml"/><Relationship Id="rId103" Type="http://schemas.openxmlformats.org/officeDocument/2006/relationships/slideLayout" Target="../slideLayouts/slideLayout1081.xml"/><Relationship Id="rId124" Type="http://schemas.openxmlformats.org/officeDocument/2006/relationships/slideLayout" Target="../slideLayouts/slideLayout1102.xml"/><Relationship Id="rId70" Type="http://schemas.openxmlformats.org/officeDocument/2006/relationships/slideLayout" Target="../slideLayouts/slideLayout1048.xml"/><Relationship Id="rId91" Type="http://schemas.openxmlformats.org/officeDocument/2006/relationships/slideLayout" Target="../slideLayouts/slideLayout1069.xml"/><Relationship Id="rId145" Type="http://schemas.openxmlformats.org/officeDocument/2006/relationships/slideLayout" Target="../slideLayouts/slideLayout1123.xml"/><Relationship Id="rId166" Type="http://schemas.openxmlformats.org/officeDocument/2006/relationships/slideLayout" Target="../slideLayouts/slideLayout1144.xml"/><Relationship Id="rId187" Type="http://schemas.openxmlformats.org/officeDocument/2006/relationships/slideLayout" Target="../slideLayouts/slideLayout1165.xml"/><Relationship Id="rId1" Type="http://schemas.openxmlformats.org/officeDocument/2006/relationships/slideLayout" Target="../slideLayouts/slideLayout979.xml"/><Relationship Id="rId28" Type="http://schemas.openxmlformats.org/officeDocument/2006/relationships/slideLayout" Target="../slideLayouts/slideLayout1006.xml"/><Relationship Id="rId49" Type="http://schemas.openxmlformats.org/officeDocument/2006/relationships/slideLayout" Target="../slideLayouts/slideLayout1027.xml"/><Relationship Id="rId114" Type="http://schemas.openxmlformats.org/officeDocument/2006/relationships/slideLayout" Target="../slideLayouts/slideLayout1092.xml"/><Relationship Id="rId60" Type="http://schemas.openxmlformats.org/officeDocument/2006/relationships/slideLayout" Target="../slideLayouts/slideLayout1038.xml"/><Relationship Id="rId81" Type="http://schemas.openxmlformats.org/officeDocument/2006/relationships/slideLayout" Target="../slideLayouts/slideLayout1059.xml"/><Relationship Id="rId135" Type="http://schemas.openxmlformats.org/officeDocument/2006/relationships/slideLayout" Target="../slideLayouts/slideLayout1113.xml"/><Relationship Id="rId156" Type="http://schemas.openxmlformats.org/officeDocument/2006/relationships/slideLayout" Target="../slideLayouts/slideLayout1134.xml"/><Relationship Id="rId177" Type="http://schemas.openxmlformats.org/officeDocument/2006/relationships/slideLayout" Target="../slideLayouts/slideLayout1155.xml"/><Relationship Id="rId198" Type="http://schemas.openxmlformats.org/officeDocument/2006/relationships/slideLayout" Target="../slideLayouts/slideLayout1176.xml"/><Relationship Id="rId18" Type="http://schemas.openxmlformats.org/officeDocument/2006/relationships/slideLayout" Target="../slideLayouts/slideLayout996.xml"/><Relationship Id="rId39" Type="http://schemas.openxmlformats.org/officeDocument/2006/relationships/slideLayout" Target="../slideLayouts/slideLayout1017.xml"/><Relationship Id="rId50" Type="http://schemas.openxmlformats.org/officeDocument/2006/relationships/slideLayout" Target="../slideLayouts/slideLayout1028.xml"/><Relationship Id="rId104" Type="http://schemas.openxmlformats.org/officeDocument/2006/relationships/slideLayout" Target="../slideLayouts/slideLayout1082.xml"/><Relationship Id="rId125" Type="http://schemas.openxmlformats.org/officeDocument/2006/relationships/slideLayout" Target="../slideLayouts/slideLayout1103.xml"/><Relationship Id="rId146" Type="http://schemas.openxmlformats.org/officeDocument/2006/relationships/slideLayout" Target="../slideLayouts/slideLayout1124.xml"/><Relationship Id="rId167" Type="http://schemas.openxmlformats.org/officeDocument/2006/relationships/slideLayout" Target="../slideLayouts/slideLayout1145.xml"/><Relationship Id="rId188" Type="http://schemas.openxmlformats.org/officeDocument/2006/relationships/slideLayout" Target="../slideLayouts/slideLayout1166.xml"/></Relationships>
</file>

<file path=ppt/slideMasters/_rels/slideMaster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203.xml"/><Relationship Id="rId21" Type="http://schemas.openxmlformats.org/officeDocument/2006/relationships/slideLayout" Target="../slideLayouts/slideLayout1198.xml"/><Relationship Id="rId42" Type="http://schemas.openxmlformats.org/officeDocument/2006/relationships/slideLayout" Target="../slideLayouts/slideLayout1219.xml"/><Relationship Id="rId47" Type="http://schemas.openxmlformats.org/officeDocument/2006/relationships/slideLayout" Target="../slideLayouts/slideLayout1224.xml"/><Relationship Id="rId63" Type="http://schemas.openxmlformats.org/officeDocument/2006/relationships/slideLayout" Target="../slideLayouts/slideLayout1240.xml"/><Relationship Id="rId68" Type="http://schemas.openxmlformats.org/officeDocument/2006/relationships/slideLayout" Target="../slideLayouts/slideLayout1245.xml"/><Relationship Id="rId84" Type="http://schemas.openxmlformats.org/officeDocument/2006/relationships/slideLayout" Target="../slideLayouts/slideLayout1261.xml"/><Relationship Id="rId89" Type="http://schemas.openxmlformats.org/officeDocument/2006/relationships/slideLayout" Target="../slideLayouts/slideLayout1266.xml"/><Relationship Id="rId16" Type="http://schemas.openxmlformats.org/officeDocument/2006/relationships/slideLayout" Target="../slideLayouts/slideLayout1193.xml"/><Relationship Id="rId11" Type="http://schemas.openxmlformats.org/officeDocument/2006/relationships/slideLayout" Target="../slideLayouts/slideLayout1188.xml"/><Relationship Id="rId32" Type="http://schemas.openxmlformats.org/officeDocument/2006/relationships/slideLayout" Target="../slideLayouts/slideLayout1209.xml"/><Relationship Id="rId37" Type="http://schemas.openxmlformats.org/officeDocument/2006/relationships/slideLayout" Target="../slideLayouts/slideLayout1214.xml"/><Relationship Id="rId53" Type="http://schemas.openxmlformats.org/officeDocument/2006/relationships/slideLayout" Target="../slideLayouts/slideLayout1230.xml"/><Relationship Id="rId58" Type="http://schemas.openxmlformats.org/officeDocument/2006/relationships/slideLayout" Target="../slideLayouts/slideLayout1235.xml"/><Relationship Id="rId74" Type="http://schemas.openxmlformats.org/officeDocument/2006/relationships/slideLayout" Target="../slideLayouts/slideLayout1251.xml"/><Relationship Id="rId79" Type="http://schemas.openxmlformats.org/officeDocument/2006/relationships/slideLayout" Target="../slideLayouts/slideLayout1256.xml"/><Relationship Id="rId102" Type="http://schemas.openxmlformats.org/officeDocument/2006/relationships/slideLayout" Target="../slideLayouts/slideLayout1279.xml"/><Relationship Id="rId5" Type="http://schemas.openxmlformats.org/officeDocument/2006/relationships/slideLayout" Target="../slideLayouts/slideLayout1182.xml"/><Relationship Id="rId90" Type="http://schemas.openxmlformats.org/officeDocument/2006/relationships/slideLayout" Target="../slideLayouts/slideLayout1267.xml"/><Relationship Id="rId95" Type="http://schemas.openxmlformats.org/officeDocument/2006/relationships/slideLayout" Target="../slideLayouts/slideLayout1272.xml"/><Relationship Id="rId22" Type="http://schemas.openxmlformats.org/officeDocument/2006/relationships/slideLayout" Target="../slideLayouts/slideLayout1199.xml"/><Relationship Id="rId27" Type="http://schemas.openxmlformats.org/officeDocument/2006/relationships/slideLayout" Target="../slideLayouts/slideLayout1204.xml"/><Relationship Id="rId43" Type="http://schemas.openxmlformats.org/officeDocument/2006/relationships/slideLayout" Target="../slideLayouts/slideLayout1220.xml"/><Relationship Id="rId48" Type="http://schemas.openxmlformats.org/officeDocument/2006/relationships/slideLayout" Target="../slideLayouts/slideLayout1225.xml"/><Relationship Id="rId64" Type="http://schemas.openxmlformats.org/officeDocument/2006/relationships/slideLayout" Target="../slideLayouts/slideLayout1241.xml"/><Relationship Id="rId69" Type="http://schemas.openxmlformats.org/officeDocument/2006/relationships/slideLayout" Target="../slideLayouts/slideLayout1246.xml"/><Relationship Id="rId80" Type="http://schemas.openxmlformats.org/officeDocument/2006/relationships/slideLayout" Target="../slideLayouts/slideLayout1257.xml"/><Relationship Id="rId85" Type="http://schemas.openxmlformats.org/officeDocument/2006/relationships/slideLayout" Target="../slideLayouts/slideLayout1262.xml"/><Relationship Id="rId12" Type="http://schemas.openxmlformats.org/officeDocument/2006/relationships/slideLayout" Target="../slideLayouts/slideLayout1189.xml"/><Relationship Id="rId17" Type="http://schemas.openxmlformats.org/officeDocument/2006/relationships/slideLayout" Target="../slideLayouts/slideLayout1194.xml"/><Relationship Id="rId25" Type="http://schemas.openxmlformats.org/officeDocument/2006/relationships/slideLayout" Target="../slideLayouts/slideLayout1202.xml"/><Relationship Id="rId33" Type="http://schemas.openxmlformats.org/officeDocument/2006/relationships/slideLayout" Target="../slideLayouts/slideLayout1210.xml"/><Relationship Id="rId38" Type="http://schemas.openxmlformats.org/officeDocument/2006/relationships/slideLayout" Target="../slideLayouts/slideLayout1215.xml"/><Relationship Id="rId46" Type="http://schemas.openxmlformats.org/officeDocument/2006/relationships/slideLayout" Target="../slideLayouts/slideLayout1223.xml"/><Relationship Id="rId59" Type="http://schemas.openxmlformats.org/officeDocument/2006/relationships/slideLayout" Target="../slideLayouts/slideLayout1236.xml"/><Relationship Id="rId67" Type="http://schemas.openxmlformats.org/officeDocument/2006/relationships/slideLayout" Target="../slideLayouts/slideLayout1244.xml"/><Relationship Id="rId103" Type="http://schemas.openxmlformats.org/officeDocument/2006/relationships/slideLayout" Target="../slideLayouts/slideLayout1280.xml"/><Relationship Id="rId20" Type="http://schemas.openxmlformats.org/officeDocument/2006/relationships/slideLayout" Target="../slideLayouts/slideLayout1197.xml"/><Relationship Id="rId41" Type="http://schemas.openxmlformats.org/officeDocument/2006/relationships/slideLayout" Target="../slideLayouts/slideLayout1218.xml"/><Relationship Id="rId54" Type="http://schemas.openxmlformats.org/officeDocument/2006/relationships/slideLayout" Target="../slideLayouts/slideLayout1231.xml"/><Relationship Id="rId62" Type="http://schemas.openxmlformats.org/officeDocument/2006/relationships/slideLayout" Target="../slideLayouts/slideLayout1239.xml"/><Relationship Id="rId70" Type="http://schemas.openxmlformats.org/officeDocument/2006/relationships/slideLayout" Target="../slideLayouts/slideLayout1247.xml"/><Relationship Id="rId75" Type="http://schemas.openxmlformats.org/officeDocument/2006/relationships/slideLayout" Target="../slideLayouts/slideLayout1252.xml"/><Relationship Id="rId83" Type="http://schemas.openxmlformats.org/officeDocument/2006/relationships/slideLayout" Target="../slideLayouts/slideLayout1260.xml"/><Relationship Id="rId88" Type="http://schemas.openxmlformats.org/officeDocument/2006/relationships/slideLayout" Target="../slideLayouts/slideLayout1265.xml"/><Relationship Id="rId91" Type="http://schemas.openxmlformats.org/officeDocument/2006/relationships/slideLayout" Target="../slideLayouts/slideLayout1268.xml"/><Relationship Id="rId96" Type="http://schemas.openxmlformats.org/officeDocument/2006/relationships/slideLayout" Target="../slideLayouts/slideLayout1273.xml"/><Relationship Id="rId1" Type="http://schemas.openxmlformats.org/officeDocument/2006/relationships/slideLayout" Target="../slideLayouts/slideLayout1178.xml"/><Relationship Id="rId6" Type="http://schemas.openxmlformats.org/officeDocument/2006/relationships/slideLayout" Target="../slideLayouts/slideLayout1183.xml"/><Relationship Id="rId15" Type="http://schemas.openxmlformats.org/officeDocument/2006/relationships/slideLayout" Target="../slideLayouts/slideLayout1192.xml"/><Relationship Id="rId23" Type="http://schemas.openxmlformats.org/officeDocument/2006/relationships/slideLayout" Target="../slideLayouts/slideLayout1200.xml"/><Relationship Id="rId28" Type="http://schemas.openxmlformats.org/officeDocument/2006/relationships/slideLayout" Target="../slideLayouts/slideLayout1205.xml"/><Relationship Id="rId36" Type="http://schemas.openxmlformats.org/officeDocument/2006/relationships/slideLayout" Target="../slideLayouts/slideLayout1213.xml"/><Relationship Id="rId49" Type="http://schemas.openxmlformats.org/officeDocument/2006/relationships/slideLayout" Target="../slideLayouts/slideLayout1226.xml"/><Relationship Id="rId57" Type="http://schemas.openxmlformats.org/officeDocument/2006/relationships/slideLayout" Target="../slideLayouts/slideLayout1234.xml"/><Relationship Id="rId10" Type="http://schemas.openxmlformats.org/officeDocument/2006/relationships/slideLayout" Target="../slideLayouts/slideLayout1187.xml"/><Relationship Id="rId31" Type="http://schemas.openxmlformats.org/officeDocument/2006/relationships/slideLayout" Target="../slideLayouts/slideLayout1208.xml"/><Relationship Id="rId44" Type="http://schemas.openxmlformats.org/officeDocument/2006/relationships/slideLayout" Target="../slideLayouts/slideLayout1221.xml"/><Relationship Id="rId52" Type="http://schemas.openxmlformats.org/officeDocument/2006/relationships/slideLayout" Target="../slideLayouts/slideLayout1229.xml"/><Relationship Id="rId60" Type="http://schemas.openxmlformats.org/officeDocument/2006/relationships/slideLayout" Target="../slideLayouts/slideLayout1237.xml"/><Relationship Id="rId65" Type="http://schemas.openxmlformats.org/officeDocument/2006/relationships/slideLayout" Target="../slideLayouts/slideLayout1242.xml"/><Relationship Id="rId73" Type="http://schemas.openxmlformats.org/officeDocument/2006/relationships/slideLayout" Target="../slideLayouts/slideLayout1250.xml"/><Relationship Id="rId78" Type="http://schemas.openxmlformats.org/officeDocument/2006/relationships/slideLayout" Target="../slideLayouts/slideLayout1255.xml"/><Relationship Id="rId81" Type="http://schemas.openxmlformats.org/officeDocument/2006/relationships/slideLayout" Target="../slideLayouts/slideLayout1258.xml"/><Relationship Id="rId86" Type="http://schemas.openxmlformats.org/officeDocument/2006/relationships/slideLayout" Target="../slideLayouts/slideLayout1263.xml"/><Relationship Id="rId94" Type="http://schemas.openxmlformats.org/officeDocument/2006/relationships/slideLayout" Target="../slideLayouts/slideLayout1271.xml"/><Relationship Id="rId99" Type="http://schemas.openxmlformats.org/officeDocument/2006/relationships/slideLayout" Target="../slideLayouts/slideLayout1276.xml"/><Relationship Id="rId101" Type="http://schemas.openxmlformats.org/officeDocument/2006/relationships/slideLayout" Target="../slideLayouts/slideLayout1278.xml"/><Relationship Id="rId4" Type="http://schemas.openxmlformats.org/officeDocument/2006/relationships/slideLayout" Target="../slideLayouts/slideLayout1181.xml"/><Relationship Id="rId9" Type="http://schemas.openxmlformats.org/officeDocument/2006/relationships/slideLayout" Target="../slideLayouts/slideLayout1186.xml"/><Relationship Id="rId13" Type="http://schemas.openxmlformats.org/officeDocument/2006/relationships/slideLayout" Target="../slideLayouts/slideLayout1190.xml"/><Relationship Id="rId18" Type="http://schemas.openxmlformats.org/officeDocument/2006/relationships/slideLayout" Target="../slideLayouts/slideLayout1195.xml"/><Relationship Id="rId39" Type="http://schemas.openxmlformats.org/officeDocument/2006/relationships/slideLayout" Target="../slideLayouts/slideLayout1216.xml"/><Relationship Id="rId34" Type="http://schemas.openxmlformats.org/officeDocument/2006/relationships/slideLayout" Target="../slideLayouts/slideLayout1211.xml"/><Relationship Id="rId50" Type="http://schemas.openxmlformats.org/officeDocument/2006/relationships/slideLayout" Target="../slideLayouts/slideLayout1227.xml"/><Relationship Id="rId55" Type="http://schemas.openxmlformats.org/officeDocument/2006/relationships/slideLayout" Target="../slideLayouts/slideLayout1232.xml"/><Relationship Id="rId76" Type="http://schemas.openxmlformats.org/officeDocument/2006/relationships/slideLayout" Target="../slideLayouts/slideLayout1253.xml"/><Relationship Id="rId97" Type="http://schemas.openxmlformats.org/officeDocument/2006/relationships/slideLayout" Target="../slideLayouts/slideLayout1274.xml"/><Relationship Id="rId104" Type="http://schemas.openxmlformats.org/officeDocument/2006/relationships/theme" Target="../theme/theme8.xml"/><Relationship Id="rId7" Type="http://schemas.openxmlformats.org/officeDocument/2006/relationships/slideLayout" Target="../slideLayouts/slideLayout1184.xml"/><Relationship Id="rId71" Type="http://schemas.openxmlformats.org/officeDocument/2006/relationships/slideLayout" Target="../slideLayouts/slideLayout1248.xml"/><Relationship Id="rId92" Type="http://schemas.openxmlformats.org/officeDocument/2006/relationships/slideLayout" Target="../slideLayouts/slideLayout1269.xml"/><Relationship Id="rId2" Type="http://schemas.openxmlformats.org/officeDocument/2006/relationships/slideLayout" Target="../slideLayouts/slideLayout1179.xml"/><Relationship Id="rId29" Type="http://schemas.openxmlformats.org/officeDocument/2006/relationships/slideLayout" Target="../slideLayouts/slideLayout1206.xml"/><Relationship Id="rId24" Type="http://schemas.openxmlformats.org/officeDocument/2006/relationships/slideLayout" Target="../slideLayouts/slideLayout1201.xml"/><Relationship Id="rId40" Type="http://schemas.openxmlformats.org/officeDocument/2006/relationships/slideLayout" Target="../slideLayouts/slideLayout1217.xml"/><Relationship Id="rId45" Type="http://schemas.openxmlformats.org/officeDocument/2006/relationships/slideLayout" Target="../slideLayouts/slideLayout1222.xml"/><Relationship Id="rId66" Type="http://schemas.openxmlformats.org/officeDocument/2006/relationships/slideLayout" Target="../slideLayouts/slideLayout1243.xml"/><Relationship Id="rId87" Type="http://schemas.openxmlformats.org/officeDocument/2006/relationships/slideLayout" Target="../slideLayouts/slideLayout1264.xml"/><Relationship Id="rId61" Type="http://schemas.openxmlformats.org/officeDocument/2006/relationships/slideLayout" Target="../slideLayouts/slideLayout1238.xml"/><Relationship Id="rId82" Type="http://schemas.openxmlformats.org/officeDocument/2006/relationships/slideLayout" Target="../slideLayouts/slideLayout1259.xml"/><Relationship Id="rId19" Type="http://schemas.openxmlformats.org/officeDocument/2006/relationships/slideLayout" Target="../slideLayouts/slideLayout1196.xml"/><Relationship Id="rId14" Type="http://schemas.openxmlformats.org/officeDocument/2006/relationships/slideLayout" Target="../slideLayouts/slideLayout1191.xml"/><Relationship Id="rId30" Type="http://schemas.openxmlformats.org/officeDocument/2006/relationships/slideLayout" Target="../slideLayouts/slideLayout1207.xml"/><Relationship Id="rId35" Type="http://schemas.openxmlformats.org/officeDocument/2006/relationships/slideLayout" Target="../slideLayouts/slideLayout1212.xml"/><Relationship Id="rId56" Type="http://schemas.openxmlformats.org/officeDocument/2006/relationships/slideLayout" Target="../slideLayouts/slideLayout1233.xml"/><Relationship Id="rId77" Type="http://schemas.openxmlformats.org/officeDocument/2006/relationships/slideLayout" Target="../slideLayouts/slideLayout1254.xml"/><Relationship Id="rId100" Type="http://schemas.openxmlformats.org/officeDocument/2006/relationships/slideLayout" Target="../slideLayouts/slideLayout1277.xml"/><Relationship Id="rId8" Type="http://schemas.openxmlformats.org/officeDocument/2006/relationships/slideLayout" Target="../slideLayouts/slideLayout1185.xml"/><Relationship Id="rId51" Type="http://schemas.openxmlformats.org/officeDocument/2006/relationships/slideLayout" Target="../slideLayouts/slideLayout1228.xml"/><Relationship Id="rId72" Type="http://schemas.openxmlformats.org/officeDocument/2006/relationships/slideLayout" Target="../slideLayouts/slideLayout1249.xml"/><Relationship Id="rId93" Type="http://schemas.openxmlformats.org/officeDocument/2006/relationships/slideLayout" Target="../slideLayouts/slideLayout1270.xml"/><Relationship Id="rId98" Type="http://schemas.openxmlformats.org/officeDocument/2006/relationships/slideLayout" Target="../slideLayouts/slideLayout1275.xml"/><Relationship Id="rId3" Type="http://schemas.openxmlformats.org/officeDocument/2006/relationships/slideLayout" Target="../slideLayouts/slideLayout1180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8.xml"/><Relationship Id="rId13" Type="http://schemas.openxmlformats.org/officeDocument/2006/relationships/slideLayout" Target="../slideLayouts/slideLayout1293.xml"/><Relationship Id="rId18" Type="http://schemas.openxmlformats.org/officeDocument/2006/relationships/slideLayout" Target="../slideLayouts/slideLayout1298.xml"/><Relationship Id="rId26" Type="http://schemas.openxmlformats.org/officeDocument/2006/relationships/slideLayout" Target="../slideLayouts/slideLayout1306.xml"/><Relationship Id="rId3" Type="http://schemas.openxmlformats.org/officeDocument/2006/relationships/slideLayout" Target="../slideLayouts/slideLayout1283.xml"/><Relationship Id="rId21" Type="http://schemas.openxmlformats.org/officeDocument/2006/relationships/slideLayout" Target="../slideLayouts/slideLayout1301.xml"/><Relationship Id="rId7" Type="http://schemas.openxmlformats.org/officeDocument/2006/relationships/slideLayout" Target="../slideLayouts/slideLayout1287.xml"/><Relationship Id="rId12" Type="http://schemas.openxmlformats.org/officeDocument/2006/relationships/slideLayout" Target="../slideLayouts/slideLayout1292.xml"/><Relationship Id="rId17" Type="http://schemas.openxmlformats.org/officeDocument/2006/relationships/slideLayout" Target="../slideLayouts/slideLayout1297.xml"/><Relationship Id="rId25" Type="http://schemas.openxmlformats.org/officeDocument/2006/relationships/slideLayout" Target="../slideLayouts/slideLayout1305.xml"/><Relationship Id="rId2" Type="http://schemas.openxmlformats.org/officeDocument/2006/relationships/slideLayout" Target="../slideLayouts/slideLayout1282.xml"/><Relationship Id="rId16" Type="http://schemas.openxmlformats.org/officeDocument/2006/relationships/slideLayout" Target="../slideLayouts/slideLayout1296.xml"/><Relationship Id="rId20" Type="http://schemas.openxmlformats.org/officeDocument/2006/relationships/slideLayout" Target="../slideLayouts/slideLayout1300.xml"/><Relationship Id="rId1" Type="http://schemas.openxmlformats.org/officeDocument/2006/relationships/slideLayout" Target="../slideLayouts/slideLayout1281.xml"/><Relationship Id="rId6" Type="http://schemas.openxmlformats.org/officeDocument/2006/relationships/slideLayout" Target="../slideLayouts/slideLayout1286.xml"/><Relationship Id="rId11" Type="http://schemas.openxmlformats.org/officeDocument/2006/relationships/slideLayout" Target="../slideLayouts/slideLayout1291.xml"/><Relationship Id="rId24" Type="http://schemas.openxmlformats.org/officeDocument/2006/relationships/slideLayout" Target="../slideLayouts/slideLayout1304.xml"/><Relationship Id="rId5" Type="http://schemas.openxmlformats.org/officeDocument/2006/relationships/slideLayout" Target="../slideLayouts/slideLayout1285.xml"/><Relationship Id="rId15" Type="http://schemas.openxmlformats.org/officeDocument/2006/relationships/slideLayout" Target="../slideLayouts/slideLayout1295.xml"/><Relationship Id="rId23" Type="http://schemas.openxmlformats.org/officeDocument/2006/relationships/slideLayout" Target="../slideLayouts/slideLayout1303.xml"/><Relationship Id="rId10" Type="http://schemas.openxmlformats.org/officeDocument/2006/relationships/slideLayout" Target="../slideLayouts/slideLayout1290.xml"/><Relationship Id="rId19" Type="http://schemas.openxmlformats.org/officeDocument/2006/relationships/slideLayout" Target="../slideLayouts/slideLayout1299.xml"/><Relationship Id="rId4" Type="http://schemas.openxmlformats.org/officeDocument/2006/relationships/slideLayout" Target="../slideLayouts/slideLayout1284.xml"/><Relationship Id="rId9" Type="http://schemas.openxmlformats.org/officeDocument/2006/relationships/slideLayout" Target="../slideLayouts/slideLayout1289.xml"/><Relationship Id="rId14" Type="http://schemas.openxmlformats.org/officeDocument/2006/relationships/slideLayout" Target="../slideLayouts/slideLayout1294.xml"/><Relationship Id="rId22" Type="http://schemas.openxmlformats.org/officeDocument/2006/relationships/slideLayout" Target="../slideLayouts/slideLayout1302.xml"/><Relationship Id="rId27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7026" r:id="rId1"/>
    <p:sldLayoutId id="2147487575" r:id="rId2"/>
    <p:sldLayoutId id="2147483648" r:id="rId3"/>
    <p:sldLayoutId id="2147483649" r:id="rId4"/>
    <p:sldLayoutId id="2147483650" r:id="rId5"/>
    <p:sldLayoutId id="2147483651" r:id="rId6"/>
    <p:sldLayoutId id="2147483652" r:id="rId7"/>
    <p:sldLayoutId id="2147483653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7027" r:id="rId14"/>
    <p:sldLayoutId id="2147487576" r:id="rId15"/>
    <p:sldLayoutId id="2147483659" r:id="rId16"/>
    <p:sldLayoutId id="2147483660" r:id="rId17"/>
    <p:sldLayoutId id="2147483662" r:id="rId18"/>
    <p:sldLayoutId id="2147487577" r:id="rId19"/>
    <p:sldLayoutId id="2147487727" r:id="rId20"/>
    <p:sldLayoutId id="2147487728" r:id="rId21"/>
    <p:sldLayoutId id="2147487729" r:id="rId22"/>
    <p:sldLayoutId id="2147487730" r:id="rId23"/>
    <p:sldLayoutId id="2147487657" r:id="rId24"/>
    <p:sldLayoutId id="2147487658" r:id="rId25"/>
    <p:sldLayoutId id="2147487659" r:id="rId26"/>
    <p:sldLayoutId id="2147487671" r:id="rId27"/>
    <p:sldLayoutId id="2147487586" r:id="rId28"/>
    <p:sldLayoutId id="2147487587" r:id="rId29"/>
    <p:sldLayoutId id="2147486918" r:id="rId30"/>
    <p:sldLayoutId id="2147486080" r:id="rId31"/>
    <p:sldLayoutId id="2147484220" r:id="rId32"/>
    <p:sldLayoutId id="2147484221" r:id="rId33"/>
    <p:sldLayoutId id="2147486049" r:id="rId34"/>
    <p:sldLayoutId id="2147486919" r:id="rId35"/>
    <p:sldLayoutId id="2147486920" r:id="rId36"/>
    <p:sldLayoutId id="2147486921" r:id="rId37"/>
    <p:sldLayoutId id="2147486922" r:id="rId38"/>
    <p:sldLayoutId id="2147486923" r:id="rId39"/>
    <p:sldLayoutId id="2147486924" r:id="rId40"/>
    <p:sldLayoutId id="2147483674" r:id="rId41"/>
    <p:sldLayoutId id="2147483675" r:id="rId42"/>
    <p:sldLayoutId id="2147487712" r:id="rId43"/>
    <p:sldLayoutId id="2147487574" r:id="rId44"/>
    <p:sldLayoutId id="2147486072" r:id="rId45"/>
    <p:sldLayoutId id="2147487714" r:id="rId46"/>
    <p:sldLayoutId id="2147487715" r:id="rId47"/>
    <p:sldLayoutId id="2147483680" r:id="rId48"/>
    <p:sldLayoutId id="2147483681" r:id="rId49"/>
    <p:sldLayoutId id="2147487588" r:id="rId50"/>
    <p:sldLayoutId id="2147487589" r:id="rId51"/>
    <p:sldLayoutId id="2147486930" r:id="rId52"/>
    <p:sldLayoutId id="2147486931" r:id="rId53"/>
    <p:sldLayoutId id="2147483684" r:id="rId54"/>
    <p:sldLayoutId id="2147483685" r:id="rId55"/>
    <p:sldLayoutId id="2147483686" r:id="rId56"/>
    <p:sldLayoutId id="2147487590" r:id="rId57"/>
    <p:sldLayoutId id="2147486934" r:id="rId58"/>
    <p:sldLayoutId id="2147483688" r:id="rId59"/>
    <p:sldLayoutId id="2147483689" r:id="rId60"/>
    <p:sldLayoutId id="2147487591" r:id="rId61"/>
    <p:sldLayoutId id="2147487592" r:id="rId62"/>
    <p:sldLayoutId id="2147487675" r:id="rId63"/>
    <p:sldLayoutId id="2147487594" r:id="rId64"/>
    <p:sldLayoutId id="2147487595" r:id="rId65"/>
    <p:sldLayoutId id="2147487596" r:id="rId66"/>
    <p:sldLayoutId id="2147487690" r:id="rId67"/>
    <p:sldLayoutId id="2147487691" r:id="rId68"/>
    <p:sldLayoutId id="2147487692" r:id="rId69"/>
    <p:sldLayoutId id="2147487693" r:id="rId70"/>
    <p:sldLayoutId id="2147487601" r:id="rId71"/>
    <p:sldLayoutId id="2147486937" r:id="rId72"/>
    <p:sldLayoutId id="2147486938" r:id="rId73"/>
    <p:sldLayoutId id="2147486939" r:id="rId74"/>
    <p:sldLayoutId id="2147486940" r:id="rId75"/>
    <p:sldLayoutId id="2147486941" r:id="rId76"/>
    <p:sldLayoutId id="2147486942" r:id="rId77"/>
    <p:sldLayoutId id="2147486943" r:id="rId78"/>
    <p:sldLayoutId id="2147486944" r:id="rId79"/>
    <p:sldLayoutId id="2147486945" r:id="rId80"/>
    <p:sldLayoutId id="2147486916" r:id="rId81"/>
    <p:sldLayoutId id="2147484046" r:id="rId82"/>
    <p:sldLayoutId id="2147484047" r:id="rId83"/>
    <p:sldLayoutId id="2147483703" r:id="rId84"/>
    <p:sldLayoutId id="2147484048" r:id="rId85"/>
    <p:sldLayoutId id="2147484049" r:id="rId86"/>
    <p:sldLayoutId id="2147484050" r:id="rId87"/>
    <p:sldLayoutId id="2147487602" r:id="rId88"/>
    <p:sldLayoutId id="2147486868" r:id="rId89"/>
    <p:sldLayoutId id="2147484052" r:id="rId90"/>
    <p:sldLayoutId id="2147484053" r:id="rId91"/>
    <p:sldLayoutId id="2147484054" r:id="rId92"/>
    <p:sldLayoutId id="2147484055" r:id="rId93"/>
    <p:sldLayoutId id="2147487603" r:id="rId94"/>
    <p:sldLayoutId id="2147486873" r:id="rId95"/>
    <p:sldLayoutId id="2147484057" r:id="rId96"/>
    <p:sldLayoutId id="2147484058" r:id="rId97"/>
    <p:sldLayoutId id="2147484059" r:id="rId98"/>
    <p:sldLayoutId id="2147487604" r:id="rId99"/>
    <p:sldLayoutId id="2147487605" r:id="rId100"/>
    <p:sldLayoutId id="2147486877" r:id="rId101"/>
    <p:sldLayoutId id="2147486878" r:id="rId102"/>
    <p:sldLayoutId id="2147484062" r:id="rId103"/>
    <p:sldLayoutId id="2147484063" r:id="rId104"/>
    <p:sldLayoutId id="2147487676" r:id="rId105"/>
    <p:sldLayoutId id="2147484064" r:id="rId106"/>
    <p:sldLayoutId id="2147484065" r:id="rId107"/>
    <p:sldLayoutId id="2147487674" r:id="rId108"/>
    <p:sldLayoutId id="2147483724" r:id="rId109"/>
    <p:sldLayoutId id="2147483725" r:id="rId110"/>
    <p:sldLayoutId id="2147487606" r:id="rId111"/>
    <p:sldLayoutId id="2147484217" r:id="rId112"/>
    <p:sldLayoutId id="2147483727" r:id="rId113"/>
    <p:sldLayoutId id="2147483728" r:id="rId114"/>
    <p:sldLayoutId id="2147483729" r:id="rId115"/>
    <p:sldLayoutId id="2147483730" r:id="rId116"/>
    <p:sldLayoutId id="2147483731" r:id="rId117"/>
    <p:sldLayoutId id="2147483732" r:id="rId118"/>
    <p:sldLayoutId id="2147483733" r:id="rId119"/>
    <p:sldLayoutId id="2147487607" r:id="rId120"/>
    <p:sldLayoutId id="2147487503" r:id="rId121"/>
    <p:sldLayoutId id="2147487515" r:id="rId122"/>
    <p:sldLayoutId id="2147487608" r:id="rId123"/>
    <p:sldLayoutId id="2147486909" r:id="rId124"/>
    <p:sldLayoutId id="2147486061" r:id="rId125"/>
    <p:sldLayoutId id="2147486962" r:id="rId126"/>
    <p:sldLayoutId id="2147483738" r:id="rId127"/>
    <p:sldLayoutId id="2147487525" r:id="rId128"/>
    <p:sldLayoutId id="2147486066" r:id="rId129"/>
    <p:sldLayoutId id="2147483740" r:id="rId130"/>
    <p:sldLayoutId id="2147487672" r:id="rId131"/>
    <p:sldLayoutId id="2147483742" r:id="rId132"/>
    <p:sldLayoutId id="2147487542" r:id="rId133"/>
    <p:sldLayoutId id="2147486967" r:id="rId134"/>
    <p:sldLayoutId id="2147487695" r:id="rId135"/>
    <p:sldLayoutId id="2147487696" r:id="rId136"/>
    <p:sldLayoutId id="2147487702" r:id="rId137"/>
    <p:sldLayoutId id="2147487703" r:id="rId138"/>
    <p:sldLayoutId id="2147487704" r:id="rId139"/>
    <p:sldLayoutId id="2147487717" r:id="rId140"/>
    <p:sldLayoutId id="2147487526" r:id="rId141"/>
    <p:sldLayoutId id="2147487545" r:id="rId142"/>
    <p:sldLayoutId id="2147487564" r:id="rId143"/>
    <p:sldLayoutId id="2147487565" r:id="rId144"/>
    <p:sldLayoutId id="2147487566" r:id="rId145"/>
    <p:sldLayoutId id="2147487567" r:id="rId146"/>
    <p:sldLayoutId id="2147487686" r:id="rId147"/>
    <p:sldLayoutId id="2147487520" r:id="rId148"/>
    <p:sldLayoutId id="2147487518" r:id="rId149"/>
    <p:sldLayoutId id="2147487519" r:id="rId150"/>
    <p:sldLayoutId id="2147487546" r:id="rId151"/>
    <p:sldLayoutId id="2147484230" r:id="rId152"/>
    <p:sldLayoutId id="2147486042" r:id="rId153"/>
    <p:sldLayoutId id="2147486070" r:id="rId154"/>
    <p:sldLayoutId id="2147484232" r:id="rId155"/>
    <p:sldLayoutId id="2147486047" r:id="rId156"/>
    <p:sldLayoutId id="2147484234" r:id="rId157"/>
    <p:sldLayoutId id="2147486044" r:id="rId158"/>
    <p:sldLayoutId id="2147484236" r:id="rId159"/>
    <p:sldLayoutId id="2147486038" r:id="rId160"/>
    <p:sldLayoutId id="2147486031" r:id="rId161"/>
    <p:sldLayoutId id="2147484239" r:id="rId162"/>
    <p:sldLayoutId id="2147487699" r:id="rId163"/>
    <p:sldLayoutId id="2147487700" r:id="rId164"/>
    <p:sldLayoutId id="2147487701" r:id="rId165"/>
    <p:sldLayoutId id="2147487521" r:id="rId166"/>
    <p:sldLayoutId id="2147487522" r:id="rId167"/>
    <p:sldLayoutId id="2147487523" r:id="rId168"/>
    <p:sldLayoutId id="2147487683" r:id="rId169"/>
    <p:sldLayoutId id="2147483768" r:id="rId170"/>
    <p:sldLayoutId id="2147483769" r:id="rId171"/>
    <p:sldLayoutId id="2147483770" r:id="rId172"/>
    <p:sldLayoutId id="2147483771" r:id="rId173"/>
    <p:sldLayoutId id="2147483772" r:id="rId174"/>
    <p:sldLayoutId id="2147483773" r:id="rId175"/>
    <p:sldLayoutId id="2147483774" r:id="rId176"/>
    <p:sldLayoutId id="2147487610" r:id="rId177"/>
    <p:sldLayoutId id="2147487718" r:id="rId178"/>
    <p:sldLayoutId id="2147487719" r:id="rId179"/>
    <p:sldLayoutId id="2147487720" r:id="rId180"/>
    <p:sldLayoutId id="2147487721" r:id="rId181"/>
    <p:sldLayoutId id="2147487722" r:id="rId182"/>
    <p:sldLayoutId id="2147487723" r:id="rId183"/>
    <p:sldLayoutId id="2147487724" r:id="rId184"/>
    <p:sldLayoutId id="2147487725" r:id="rId185"/>
    <p:sldLayoutId id="2147487726" r:id="rId186"/>
    <p:sldLayoutId id="2147487688" r:id="rId187"/>
    <p:sldLayoutId id="2147487689" r:id="rId188"/>
    <p:sldLayoutId id="2147484250" r:id="rId189"/>
    <p:sldLayoutId id="2147484251" r:id="rId190"/>
    <p:sldLayoutId id="2147484252" r:id="rId191"/>
    <p:sldLayoutId id="2147484253" r:id="rId192"/>
    <p:sldLayoutId id="2147484254" r:id="rId193"/>
    <p:sldLayoutId id="2147484255" r:id="rId194"/>
    <p:sldLayoutId id="2147484256" r:id="rId195"/>
    <p:sldLayoutId id="2147484257" r:id="rId196"/>
    <p:sldLayoutId id="2147484258" r:id="rId197"/>
    <p:sldLayoutId id="2147483787" r:id="rId198"/>
    <p:sldLayoutId id="2147483788" r:id="rId199"/>
    <p:sldLayoutId id="2147483789" r:id="rId200"/>
    <p:sldLayoutId id="2147487706" r:id="rId201"/>
    <p:sldLayoutId id="2147484264" r:id="rId202"/>
    <p:sldLayoutId id="2147483791" r:id="rId203"/>
    <p:sldLayoutId id="2147483792" r:id="rId204"/>
    <p:sldLayoutId id="2147483793" r:id="rId205"/>
    <p:sldLayoutId id="2147483794" r:id="rId206"/>
    <p:sldLayoutId id="2147483795" r:id="rId207"/>
    <p:sldLayoutId id="2147483796" r:id="rId208"/>
    <p:sldLayoutId id="2147483797" r:id="rId209"/>
    <p:sldLayoutId id="2147483798" r:id="rId210"/>
    <p:sldLayoutId id="2147487707" r:id="rId211"/>
    <p:sldLayoutId id="2147486895" r:id="rId212"/>
    <p:sldLayoutId id="2147483800" r:id="rId213"/>
    <p:sldLayoutId id="2147483801" r:id="rId214"/>
    <p:sldLayoutId id="2147483802" r:id="rId215"/>
    <p:sldLayoutId id="2147483803" r:id="rId216"/>
    <p:sldLayoutId id="2147483804" r:id="rId217"/>
    <p:sldLayoutId id="2147483805" r:id="rId218"/>
    <p:sldLayoutId id="2147487708" r:id="rId219"/>
    <p:sldLayoutId id="2147486902" r:id="rId220"/>
    <p:sldLayoutId id="2147483806" r:id="rId221"/>
    <p:sldLayoutId id="2147483807" r:id="rId222"/>
    <p:sldLayoutId id="2147483808" r:id="rId223"/>
    <p:sldLayoutId id="2147487625" r:id="rId224"/>
    <p:sldLayoutId id="2147487713" r:id="rId225"/>
    <p:sldLayoutId id="2147487627" r:id="rId226"/>
    <p:sldLayoutId id="2147487628" r:id="rId227"/>
    <p:sldLayoutId id="2147487629" r:id="rId228"/>
    <p:sldLayoutId id="2147487630" r:id="rId229"/>
    <p:sldLayoutId id="2147486905" r:id="rId230"/>
    <p:sldLayoutId id="2147486907" r:id="rId231"/>
    <p:sldLayoutId id="2147483809" r:id="rId232"/>
    <p:sldLayoutId id="2147483815" r:id="rId233"/>
    <p:sldLayoutId id="2147483816" r:id="rId234"/>
    <p:sldLayoutId id="2147483817" r:id="rId235"/>
    <p:sldLayoutId id="2147487631" r:id="rId236"/>
    <p:sldLayoutId id="2147487632" r:id="rId237"/>
    <p:sldLayoutId id="2147487633" r:id="rId238"/>
    <p:sldLayoutId id="2147487634" r:id="rId239"/>
    <p:sldLayoutId id="2147487635" r:id="rId240"/>
    <p:sldLayoutId id="2147486052" r:id="rId241"/>
    <p:sldLayoutId id="2147486043" r:id="rId242"/>
    <p:sldLayoutId id="2147484269" r:id="rId243"/>
    <p:sldLayoutId id="2147484270" r:id="rId244"/>
    <p:sldLayoutId id="2147486984" r:id="rId245"/>
    <p:sldLayoutId id="2147483823" r:id="rId246"/>
    <p:sldLayoutId id="2147487636" r:id="rId247"/>
    <p:sldLayoutId id="2147487637" r:id="rId248"/>
    <p:sldLayoutId id="2147487638" r:id="rId249"/>
    <p:sldLayoutId id="2147487639" r:id="rId250"/>
    <p:sldLayoutId id="2147487640" r:id="rId251"/>
    <p:sldLayoutId id="2147487641" r:id="rId252"/>
    <p:sldLayoutId id="2147487642" r:id="rId253"/>
    <p:sldLayoutId id="2147487643" r:id="rId254"/>
    <p:sldLayoutId id="2147487644" r:id="rId255"/>
    <p:sldLayoutId id="2147487645" r:id="rId256"/>
    <p:sldLayoutId id="2147487646" r:id="rId257"/>
    <p:sldLayoutId id="2147487647" r:id="rId258"/>
    <p:sldLayoutId id="2147487648" r:id="rId259"/>
    <p:sldLayoutId id="2147487649" r:id="rId260"/>
    <p:sldLayoutId id="2147487650" r:id="rId261"/>
    <p:sldLayoutId id="2147487651" r:id="rId262"/>
    <p:sldLayoutId id="2147487652" r:id="rId263"/>
    <p:sldLayoutId id="2147487653" r:id="rId264"/>
    <p:sldLayoutId id="2147487654" r:id="rId265"/>
    <p:sldLayoutId id="2147486986" r:id="rId266"/>
    <p:sldLayoutId id="2147484271" r:id="rId267"/>
    <p:sldLayoutId id="2147484272" r:id="rId268"/>
    <p:sldLayoutId id="2147484273" r:id="rId269"/>
    <p:sldLayoutId id="2147484274" r:id="rId270"/>
    <p:sldLayoutId id="2147484275" r:id="rId271"/>
    <p:sldLayoutId id="2147484276" r:id="rId272"/>
    <p:sldLayoutId id="2147484278" r:id="rId273"/>
    <p:sldLayoutId id="2147484279" r:id="rId274"/>
    <p:sldLayoutId id="2147484280" r:id="rId275"/>
    <p:sldLayoutId id="2147484281" r:id="rId276"/>
    <p:sldLayoutId id="2147484282" r:id="rId277"/>
    <p:sldLayoutId id="2147486988" r:id="rId278"/>
    <p:sldLayoutId id="2147484283" r:id="rId279"/>
    <p:sldLayoutId id="2147484284" r:id="rId280"/>
    <p:sldLayoutId id="2147484285" r:id="rId281"/>
    <p:sldLayoutId id="2147484286" r:id="rId282"/>
    <p:sldLayoutId id="2147484287" r:id="rId283"/>
    <p:sldLayoutId id="2147483843" r:id="rId284"/>
    <p:sldLayoutId id="2147487655" r:id="rId285"/>
    <p:sldLayoutId id="2147484289" r:id="rId286"/>
    <p:sldLayoutId id="2147488058" r:id="rId28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75BFB69-9245-EC58-F1DE-FEB625BD33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648" y="548640"/>
            <a:ext cx="10653578" cy="113225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16AFD5-5144-C460-0CA4-644BC4A93C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2647" y="1715532"/>
            <a:ext cx="10653579" cy="45938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95753E-AF8A-7E04-8A1A-205B755A02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37160" y="6453002"/>
            <a:ext cx="349431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fld id="{3A332BE1-279E-4118-9FE3-7952B079A510}" type="datetimeFigureOut">
              <a:rPr lang="en-US" dirty="0"/>
              <a:t>5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E1B7C8-DA74-800B-EE14-A39E9DB32D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876521" y="6453002"/>
            <a:ext cx="280540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
             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C1647D-0DF0-CA1B-F723-EF7B8F508D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2162" y="6453002"/>
            <a:ext cx="42920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CC057153-B650-4DEB-B370-79DDCFDCE934}" type="slidenum">
              <a:rPr lang="en-US" dirty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8930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467" r:id="rId1"/>
    <p:sldLayoutId id="2147488468" r:id="rId2"/>
    <p:sldLayoutId id="2147488469" r:id="rId3"/>
    <p:sldLayoutId id="2147488470" r:id="rId4"/>
    <p:sldLayoutId id="2147488471" r:id="rId5"/>
    <p:sldLayoutId id="2147488472" r:id="rId6"/>
    <p:sldLayoutId id="2147488473" r:id="rId7"/>
    <p:sldLayoutId id="2147488474" r:id="rId8"/>
    <p:sldLayoutId id="2147488475" r:id="rId9"/>
    <p:sldLayoutId id="2147488476" r:id="rId10"/>
    <p:sldLayoutId id="2147488477" r:id="rId11"/>
    <p:sldLayoutId id="2147488478" r:id="rId12"/>
    <p:sldLayoutId id="2147488479" r:id="rId13"/>
    <p:sldLayoutId id="2147488480" r:id="rId14"/>
    <p:sldLayoutId id="2147488481" r:id="rId1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12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5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6265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483" r:id="rId1"/>
    <p:sldLayoutId id="2147488484" r:id="rId2"/>
    <p:sldLayoutId id="2147488485" r:id="rId3"/>
    <p:sldLayoutId id="2147488486" r:id="rId4"/>
    <p:sldLayoutId id="2147488487" r:id="rId5"/>
    <p:sldLayoutId id="2147488488" r:id="rId6"/>
    <p:sldLayoutId id="2147488489" r:id="rId7"/>
    <p:sldLayoutId id="2147488490" r:id="rId8"/>
    <p:sldLayoutId id="2147488491" r:id="rId9"/>
    <p:sldLayoutId id="2147488492" r:id="rId10"/>
    <p:sldLayoutId id="214748849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694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495" r:id="rId1"/>
    <p:sldLayoutId id="2147488496" r:id="rId2"/>
    <p:sldLayoutId id="2147488497" r:id="rId3"/>
    <p:sldLayoutId id="2147488498" r:id="rId4"/>
    <p:sldLayoutId id="2147488499" r:id="rId5"/>
    <p:sldLayoutId id="2147488500" r:id="rId6"/>
    <p:sldLayoutId id="2147488501" r:id="rId7"/>
    <p:sldLayoutId id="2147488502" r:id="rId8"/>
    <p:sldLayoutId id="2147488503" r:id="rId9"/>
    <p:sldLayoutId id="2147488504" r:id="rId10"/>
    <p:sldLayoutId id="2147488505" r:id="rId11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41867" y="102989"/>
            <a:ext cx="9753600" cy="4286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41867" y="600075"/>
            <a:ext cx="9753600" cy="16972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41867" y="2383631"/>
            <a:ext cx="2528711" cy="1369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4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702756" y="2383631"/>
            <a:ext cx="3431822" cy="1369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4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766756" y="2383631"/>
            <a:ext cx="2528711" cy="1369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45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9782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507" r:id="rId1"/>
    <p:sldLayoutId id="2147488508" r:id="rId2"/>
    <p:sldLayoutId id="2147488509" r:id="rId3"/>
    <p:sldLayoutId id="2147488510" r:id="rId4"/>
    <p:sldLayoutId id="2147488511" r:id="rId5"/>
    <p:sldLayoutId id="2147488512" r:id="rId6"/>
    <p:sldLayoutId id="2147488513" r:id="rId7"/>
    <p:sldLayoutId id="2147488514" r:id="rId8"/>
    <p:sldLayoutId id="2147488515" r:id="rId9"/>
    <p:sldLayoutId id="2147488516" r:id="rId10"/>
    <p:sldLayoutId id="2147488517" r:id="rId11"/>
  </p:sldLayoutIdLst>
  <p:txStyles>
    <p:titleStyle>
      <a:lvl1pPr algn="ctr" defTabSz="342900" rtl="0" eaLnBrk="1" latinLnBrk="0" hangingPunct="1">
        <a:spcBef>
          <a:spcPct val="0"/>
        </a:spcBef>
        <a:buNone/>
        <a:defRPr sz="16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l" defTabSz="342900" rtl="0" eaLnBrk="1" latinLnBrk="0" hangingPunct="1">
        <a:spcBef>
          <a:spcPct val="20000"/>
        </a:spcBef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78606" indent="-107156" algn="l" defTabSz="342900" rtl="0" eaLnBrk="1" latinLnBrk="0" hangingPunct="1">
        <a:spcBef>
          <a:spcPct val="20000"/>
        </a:spcBef>
        <a:buFont typeface="Arial" pitchFamily="34" charset="0"/>
        <a:buChar char="–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428625" indent="-85725" algn="l" defTabSz="342900" rtl="0" eaLnBrk="1" latinLnBrk="0" hangingPunct="1">
        <a:spcBef>
          <a:spcPct val="20000"/>
        </a:spcBef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600075" indent="-85725" algn="l" defTabSz="342900" rtl="0" eaLnBrk="1" latinLnBrk="0" hangingPunct="1">
        <a:spcBef>
          <a:spcPct val="20000"/>
        </a:spcBef>
        <a:buFont typeface="Arial" pitchFamily="34" charset="0"/>
        <a:buChar char="–"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771525" indent="-85725" algn="l" defTabSz="342900" rtl="0" eaLnBrk="1" latinLnBrk="0" hangingPunct="1">
        <a:spcBef>
          <a:spcPct val="20000"/>
        </a:spcBef>
        <a:buFont typeface="Arial" pitchFamily="34" charset="0"/>
        <a:buChar char="»"/>
        <a:defRPr sz="750" kern="1200">
          <a:solidFill>
            <a:schemeClr val="tx1"/>
          </a:solidFill>
          <a:latin typeface="+mn-lt"/>
          <a:ea typeface="+mn-ea"/>
          <a:cs typeface="+mn-cs"/>
        </a:defRPr>
      </a:lvl5pPr>
      <a:lvl6pPr marL="942975" indent="-85725" algn="l" defTabSz="342900" rtl="0" eaLnBrk="1" latinLnBrk="0" hangingPunct="1">
        <a:spcBef>
          <a:spcPct val="20000"/>
        </a:spcBef>
        <a:buFont typeface="Arial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6pPr>
      <a:lvl7pPr marL="1114425" indent="-85725" algn="l" defTabSz="342900" rtl="0" eaLnBrk="1" latinLnBrk="0" hangingPunct="1">
        <a:spcBef>
          <a:spcPct val="20000"/>
        </a:spcBef>
        <a:buFont typeface="Arial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7pPr>
      <a:lvl8pPr marL="1285875" indent="-85725" algn="l" defTabSz="342900" rtl="0" eaLnBrk="1" latinLnBrk="0" hangingPunct="1">
        <a:spcBef>
          <a:spcPct val="20000"/>
        </a:spcBef>
        <a:buFont typeface="Arial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8pPr>
      <a:lvl9pPr marL="1457325" indent="-85725" algn="l" defTabSz="342900" rtl="0" eaLnBrk="1" latinLnBrk="0" hangingPunct="1">
        <a:spcBef>
          <a:spcPct val="20000"/>
        </a:spcBef>
        <a:buFont typeface="Arial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85725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02870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0015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37160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42969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519" r:id="rId1"/>
    <p:sldLayoutId id="2147488520" r:id="rId2"/>
    <p:sldLayoutId id="2147488521" r:id="rId3"/>
    <p:sldLayoutId id="2147488522" r:id="rId4"/>
    <p:sldLayoutId id="2147488523" r:id="rId5"/>
    <p:sldLayoutId id="2147488524" r:id="rId6"/>
    <p:sldLayoutId id="2147488525" r:id="rId7"/>
    <p:sldLayoutId id="2147488526" r:id="rId8"/>
    <p:sldLayoutId id="2147488537" r:id="rId9"/>
    <p:sldLayoutId id="2147488538" r:id="rId10"/>
    <p:sldLayoutId id="2147488539" r:id="rId11"/>
    <p:sldLayoutId id="2147488540" r:id="rId12"/>
    <p:sldLayoutId id="2147488541" r:id="rId13"/>
    <p:sldLayoutId id="2147488542" r:id="rId14"/>
    <p:sldLayoutId id="2147488543" r:id="rId15"/>
    <p:sldLayoutId id="2147488544" r:id="rId16"/>
    <p:sldLayoutId id="2147488545" r:id="rId17"/>
    <p:sldLayoutId id="2147488546" r:id="rId18"/>
    <p:sldLayoutId id="2147488547" r:id="rId19"/>
    <p:sldLayoutId id="2147488548" r:id="rId20"/>
    <p:sldLayoutId id="2147488549" r:id="rId21"/>
    <p:sldLayoutId id="2147488550" r:id="rId22"/>
    <p:sldLayoutId id="2147488551" r:id="rId23"/>
    <p:sldLayoutId id="2147488552" r:id="rId24"/>
    <p:sldLayoutId id="2147488553" r:id="rId25"/>
    <p:sldLayoutId id="2147488554" r:id="rId26"/>
    <p:sldLayoutId id="2147488556" r:id="rId27"/>
    <p:sldLayoutId id="2147488570" r:id="rId28"/>
    <p:sldLayoutId id="2147488571" r:id="rId29"/>
    <p:sldLayoutId id="2147488572" r:id="rId30"/>
    <p:sldLayoutId id="2147488573" r:id="rId31"/>
    <p:sldLayoutId id="2147488574" r:id="rId32"/>
    <p:sldLayoutId id="2147488575" r:id="rId33"/>
    <p:sldLayoutId id="2147488576" r:id="rId34"/>
    <p:sldLayoutId id="2147488577" r:id="rId35"/>
    <p:sldLayoutId id="2147488578" r:id="rId36"/>
    <p:sldLayoutId id="2147488579" r:id="rId37"/>
    <p:sldLayoutId id="2147488580" r:id="rId38"/>
    <p:sldLayoutId id="2147488582" r:id="rId39"/>
    <p:sldLayoutId id="2147488583" r:id="rId40"/>
    <p:sldLayoutId id="2147488584" r:id="rId41"/>
    <p:sldLayoutId id="2147488585" r:id="rId42"/>
    <p:sldLayoutId id="2147488586" r:id="rId43"/>
    <p:sldLayoutId id="2147488587" r:id="rId44"/>
    <p:sldLayoutId id="2147488588" r:id="rId45"/>
    <p:sldLayoutId id="2147488589" r:id="rId46"/>
    <p:sldLayoutId id="2147488590" r:id="rId47"/>
    <p:sldLayoutId id="2147488591" r:id="rId48"/>
    <p:sldLayoutId id="2147488592" r:id="rId49"/>
    <p:sldLayoutId id="2147488602" r:id="rId50"/>
    <p:sldLayoutId id="2147488605" r:id="rId51"/>
    <p:sldLayoutId id="2147488606" r:id="rId52"/>
    <p:sldLayoutId id="2147488607" r:id="rId53"/>
    <p:sldLayoutId id="2147488608" r:id="rId54"/>
    <p:sldLayoutId id="2147488609" r:id="rId55"/>
    <p:sldLayoutId id="2147488610" r:id="rId56"/>
    <p:sldLayoutId id="2147488611" r:id="rId57"/>
    <p:sldLayoutId id="2147488612" r:id="rId58"/>
    <p:sldLayoutId id="2147488613" r:id="rId59"/>
    <p:sldLayoutId id="2147488614" r:id="rId60"/>
    <p:sldLayoutId id="2147488615" r:id="rId61"/>
    <p:sldLayoutId id="2147488616" r:id="rId62"/>
    <p:sldLayoutId id="2147488617" r:id="rId63"/>
    <p:sldLayoutId id="2147488618" r:id="rId64"/>
    <p:sldLayoutId id="2147488619" r:id="rId65"/>
    <p:sldLayoutId id="2147488620" r:id="rId66"/>
    <p:sldLayoutId id="2147488621" r:id="rId67"/>
    <p:sldLayoutId id="2147488622" r:id="rId68"/>
    <p:sldLayoutId id="2147488623" r:id="rId69"/>
    <p:sldLayoutId id="2147488624" r:id="rId70"/>
    <p:sldLayoutId id="2147488625" r:id="rId71"/>
    <p:sldLayoutId id="2147488626" r:id="rId72"/>
    <p:sldLayoutId id="2147488627" r:id="rId73"/>
    <p:sldLayoutId id="2147488628" r:id="rId74"/>
    <p:sldLayoutId id="2147488629" r:id="rId75"/>
    <p:sldLayoutId id="2147488630" r:id="rId76"/>
    <p:sldLayoutId id="2147488631" r:id="rId77"/>
    <p:sldLayoutId id="2147488632" r:id="rId78"/>
    <p:sldLayoutId id="2147488633" r:id="rId79"/>
    <p:sldLayoutId id="2147488634" r:id="rId80"/>
    <p:sldLayoutId id="2147488635" r:id="rId81"/>
    <p:sldLayoutId id="2147488636" r:id="rId82"/>
    <p:sldLayoutId id="2147488637" r:id="rId83"/>
    <p:sldLayoutId id="2147488638" r:id="rId84"/>
    <p:sldLayoutId id="2147488639" r:id="rId85"/>
    <p:sldLayoutId id="2147488640" r:id="rId86"/>
    <p:sldLayoutId id="2147488641" r:id="rId87"/>
    <p:sldLayoutId id="2147488642" r:id="rId88"/>
    <p:sldLayoutId id="2147488643" r:id="rId89"/>
    <p:sldLayoutId id="2147488644" r:id="rId90"/>
    <p:sldLayoutId id="2147488645" r:id="rId91"/>
    <p:sldLayoutId id="2147488646" r:id="rId92"/>
    <p:sldLayoutId id="2147488647" r:id="rId93"/>
    <p:sldLayoutId id="2147488648" r:id="rId94"/>
    <p:sldLayoutId id="2147488649" r:id="rId95"/>
    <p:sldLayoutId id="2147488650" r:id="rId96"/>
    <p:sldLayoutId id="2147488651" r:id="rId97"/>
    <p:sldLayoutId id="2147488652" r:id="rId98"/>
    <p:sldLayoutId id="2147488653" r:id="rId99"/>
    <p:sldLayoutId id="2147488654" r:id="rId100"/>
    <p:sldLayoutId id="2147488655" r:id="rId101"/>
    <p:sldLayoutId id="2147488656" r:id="rId102"/>
    <p:sldLayoutId id="2147488657" r:id="rId103"/>
    <p:sldLayoutId id="2147488658" r:id="rId104"/>
    <p:sldLayoutId id="2147488659" r:id="rId105"/>
    <p:sldLayoutId id="2147488660" r:id="rId106"/>
    <p:sldLayoutId id="2147488661" r:id="rId107"/>
    <p:sldLayoutId id="2147488662" r:id="rId108"/>
    <p:sldLayoutId id="2147488663" r:id="rId109"/>
    <p:sldLayoutId id="2147488664" r:id="rId110"/>
    <p:sldLayoutId id="2147488689" r:id="rId111"/>
    <p:sldLayoutId id="2147488693" r:id="rId112"/>
    <p:sldLayoutId id="2147488695" r:id="rId113"/>
    <p:sldLayoutId id="2147488696" r:id="rId114"/>
    <p:sldLayoutId id="2147488697" r:id="rId115"/>
    <p:sldLayoutId id="2147488698" r:id="rId116"/>
    <p:sldLayoutId id="2147488699" r:id="rId117"/>
    <p:sldLayoutId id="2147488700" r:id="rId118"/>
    <p:sldLayoutId id="2147488701" r:id="rId119"/>
    <p:sldLayoutId id="2147488702" r:id="rId120"/>
    <p:sldLayoutId id="2147488703" r:id="rId121"/>
    <p:sldLayoutId id="2147488704" r:id="rId122"/>
    <p:sldLayoutId id="2147488705" r:id="rId123"/>
    <p:sldLayoutId id="2147488706" r:id="rId124"/>
    <p:sldLayoutId id="2147488707" r:id="rId125"/>
    <p:sldLayoutId id="2147488708" r:id="rId126"/>
    <p:sldLayoutId id="2147488709" r:id="rId127"/>
    <p:sldLayoutId id="2147488710" r:id="rId128"/>
    <p:sldLayoutId id="2147488711" r:id="rId129"/>
    <p:sldLayoutId id="2147488712" r:id="rId130"/>
    <p:sldLayoutId id="2147488713" r:id="rId131"/>
    <p:sldLayoutId id="2147488714" r:id="rId132"/>
    <p:sldLayoutId id="2147488715" r:id="rId133"/>
    <p:sldLayoutId id="2147488716" r:id="rId134"/>
    <p:sldLayoutId id="2147488717" r:id="rId135"/>
    <p:sldLayoutId id="2147488718" r:id="rId136"/>
    <p:sldLayoutId id="2147488719" r:id="rId137"/>
    <p:sldLayoutId id="2147488720" r:id="rId138"/>
    <p:sldLayoutId id="2147488732" r:id="rId139"/>
    <p:sldLayoutId id="2147488733" r:id="rId140"/>
    <p:sldLayoutId id="2147488734" r:id="rId141"/>
    <p:sldLayoutId id="2147488735" r:id="rId142"/>
    <p:sldLayoutId id="2147488736" r:id="rId143"/>
    <p:sldLayoutId id="2147488737" r:id="rId144"/>
    <p:sldLayoutId id="2147488738" r:id="rId145"/>
    <p:sldLayoutId id="2147488739" r:id="rId146"/>
    <p:sldLayoutId id="2147488740" r:id="rId147"/>
    <p:sldLayoutId id="2147488741" r:id="rId148"/>
    <p:sldLayoutId id="2147488742" r:id="rId149"/>
    <p:sldLayoutId id="2147488745" r:id="rId150"/>
    <p:sldLayoutId id="2147488746" r:id="rId151"/>
    <p:sldLayoutId id="2147488747" r:id="rId152"/>
    <p:sldLayoutId id="2147488748" r:id="rId153"/>
    <p:sldLayoutId id="2147488749" r:id="rId154"/>
    <p:sldLayoutId id="2147488750" r:id="rId155"/>
    <p:sldLayoutId id="2147488751" r:id="rId156"/>
    <p:sldLayoutId id="2147488752" r:id="rId157"/>
    <p:sldLayoutId id="2147488753" r:id="rId158"/>
    <p:sldLayoutId id="2147488754" r:id="rId159"/>
    <p:sldLayoutId id="2147488755" r:id="rId160"/>
    <p:sldLayoutId id="2147488756" r:id="rId161"/>
    <p:sldLayoutId id="2147488757" r:id="rId162"/>
    <p:sldLayoutId id="2147488758" r:id="rId163"/>
    <p:sldLayoutId id="2147488759" r:id="rId164"/>
    <p:sldLayoutId id="2147488760" r:id="rId165"/>
    <p:sldLayoutId id="2147488761" r:id="rId166"/>
    <p:sldLayoutId id="2147488762" r:id="rId167"/>
    <p:sldLayoutId id="2147488763" r:id="rId168"/>
    <p:sldLayoutId id="2147488764" r:id="rId169"/>
    <p:sldLayoutId id="2147488767" r:id="rId170"/>
    <p:sldLayoutId id="2147488768" r:id="rId171"/>
    <p:sldLayoutId id="2147488769" r:id="rId172"/>
    <p:sldLayoutId id="2147488773" r:id="rId173"/>
    <p:sldLayoutId id="2147488774" r:id="rId174"/>
    <p:sldLayoutId id="2147488775" r:id="rId175"/>
    <p:sldLayoutId id="2147488776" r:id="rId176"/>
    <p:sldLayoutId id="2147488781" r:id="rId177"/>
    <p:sldLayoutId id="2147488782" r:id="rId178"/>
    <p:sldLayoutId id="2147488783" r:id="rId179"/>
    <p:sldLayoutId id="2147488784" r:id="rId180"/>
    <p:sldLayoutId id="2147488785" r:id="rId181"/>
    <p:sldLayoutId id="2147488786" r:id="rId182"/>
    <p:sldLayoutId id="2147488787" r:id="rId183"/>
    <p:sldLayoutId id="2147488788" r:id="rId184"/>
    <p:sldLayoutId id="2147488789" r:id="rId185"/>
    <p:sldLayoutId id="2147488790" r:id="rId186"/>
    <p:sldLayoutId id="2147488791" r:id="rId187"/>
    <p:sldLayoutId id="2147488792" r:id="rId188"/>
    <p:sldLayoutId id="2147488800" r:id="rId189"/>
    <p:sldLayoutId id="2147488801" r:id="rId190"/>
    <p:sldLayoutId id="2147488802" r:id="rId191"/>
    <p:sldLayoutId id="2147488803" r:id="rId192"/>
    <p:sldLayoutId id="2147488804" r:id="rId193"/>
    <p:sldLayoutId id="2147488805" r:id="rId194"/>
    <p:sldLayoutId id="2147488806" r:id="rId195"/>
    <p:sldLayoutId id="2147488807" r:id="rId196"/>
    <p:sldLayoutId id="2147488808" r:id="rId197"/>
    <p:sldLayoutId id="2147488809" r:id="rId198"/>
    <p:sldLayoutId id="2147488810" r:id="rId199"/>
    <p:sldLayoutId id="2147488811" r:id="rId200"/>
    <p:sldLayoutId id="2147488812" r:id="rId201"/>
    <p:sldLayoutId id="2147488813" r:id="rId202"/>
    <p:sldLayoutId id="2147488815" r:id="rId203"/>
    <p:sldLayoutId id="2147488816" r:id="rId204"/>
    <p:sldLayoutId id="2147488817" r:id="rId205"/>
    <p:sldLayoutId id="2147488818" r:id="rId206"/>
    <p:sldLayoutId id="2147488819" r:id="rId207"/>
    <p:sldLayoutId id="2147488820" r:id="rId208"/>
    <p:sldLayoutId id="2147488821" r:id="rId209"/>
    <p:sldLayoutId id="2147488823" r:id="rId210"/>
    <p:sldLayoutId id="2147488824" r:id="rId211"/>
    <p:sldLayoutId id="2147488825" r:id="rId212"/>
    <p:sldLayoutId id="2147488826" r:id="rId213"/>
    <p:sldLayoutId id="2147488837" r:id="rId214"/>
    <p:sldLayoutId id="2147488840" r:id="rId215"/>
    <p:sldLayoutId id="2147488841" r:id="rId216"/>
    <p:sldLayoutId id="2147488845" r:id="rId217"/>
    <p:sldLayoutId id="2147488846" r:id="rId218"/>
    <p:sldLayoutId id="2147488847" r:id="rId219"/>
    <p:sldLayoutId id="2147488848" r:id="rId220"/>
    <p:sldLayoutId id="2147488849" r:id="rId221"/>
    <p:sldLayoutId id="2147488850" r:id="rId222"/>
    <p:sldLayoutId id="2147488851" r:id="rId223"/>
    <p:sldLayoutId id="2147488852" r:id="rId224"/>
    <p:sldLayoutId id="2147488853" r:id="rId225"/>
    <p:sldLayoutId id="2147488854" r:id="rId226"/>
    <p:sldLayoutId id="2147488855" r:id="rId227"/>
    <p:sldLayoutId id="2147488856" r:id="rId228"/>
    <p:sldLayoutId id="2147488857" r:id="rId229"/>
    <p:sldLayoutId id="2147488858" r:id="rId230"/>
    <p:sldLayoutId id="2147488859" r:id="rId231"/>
    <p:sldLayoutId id="2147488860" r:id="rId232"/>
    <p:sldLayoutId id="2147488861" r:id="rId233"/>
    <p:sldLayoutId id="2147488862" r:id="rId234"/>
    <p:sldLayoutId id="2147488863" r:id="rId235"/>
    <p:sldLayoutId id="2147488864" r:id="rId236"/>
    <p:sldLayoutId id="2147488865" r:id="rId237"/>
    <p:sldLayoutId id="2147488866" r:id="rId238"/>
    <p:sldLayoutId id="2147488867" r:id="rId239"/>
    <p:sldLayoutId id="2147488868" r:id="rId240"/>
    <p:sldLayoutId id="2147488869" r:id="rId241"/>
    <p:sldLayoutId id="2147488870" r:id="rId242"/>
    <p:sldLayoutId id="2147488871" r:id="rId243"/>
    <p:sldLayoutId id="2147488872" r:id="rId244"/>
    <p:sldLayoutId id="2147488873" r:id="rId245"/>
    <p:sldLayoutId id="2147488874" r:id="rId246"/>
    <p:sldLayoutId id="2147488875" r:id="rId247"/>
    <p:sldLayoutId id="2147488876" r:id="rId248"/>
    <p:sldLayoutId id="2147488878" r:id="rId249"/>
    <p:sldLayoutId id="2147488879" r:id="rId250"/>
    <p:sldLayoutId id="2147488880" r:id="rId251"/>
    <p:sldLayoutId id="2147488881" r:id="rId252"/>
    <p:sldLayoutId id="2147488882" r:id="rId253"/>
    <p:sldLayoutId id="2147488883" r:id="rId254"/>
    <p:sldLayoutId id="2147488884" r:id="rId255"/>
    <p:sldLayoutId id="2147488885" r:id="rId256"/>
    <p:sldLayoutId id="2147488886" r:id="rId257"/>
    <p:sldLayoutId id="2147488887" r:id="rId258"/>
    <p:sldLayoutId id="2147488888" r:id="rId259"/>
    <p:sldLayoutId id="2147488889" r:id="rId260"/>
    <p:sldLayoutId id="2147488890" r:id="rId261"/>
    <p:sldLayoutId id="2147488891" r:id="rId262"/>
    <p:sldLayoutId id="2147488892" r:id="rId263"/>
    <p:sldLayoutId id="2147488893" r:id="rId264"/>
    <p:sldLayoutId id="2147488894" r:id="rId265"/>
    <p:sldLayoutId id="2147488895" r:id="rId266"/>
    <p:sldLayoutId id="2147488896" r:id="rId267"/>
    <p:sldLayoutId id="2147488897" r:id="rId268"/>
    <p:sldLayoutId id="2147488898" r:id="rId269"/>
    <p:sldLayoutId id="2147488899" r:id="rId270"/>
    <p:sldLayoutId id="2147488900" r:id="rId271"/>
    <p:sldLayoutId id="2147488901" r:id="rId272"/>
    <p:sldLayoutId id="2147488902" r:id="rId273"/>
    <p:sldLayoutId id="2147488903" r:id="rId274"/>
    <p:sldLayoutId id="2147488904" r:id="rId275"/>
    <p:sldLayoutId id="2147488905" r:id="rId276"/>
    <p:sldLayoutId id="2147488906" r:id="rId277"/>
    <p:sldLayoutId id="2147488907" r:id="rId278"/>
    <p:sldLayoutId id="2147488908" r:id="rId279"/>
    <p:sldLayoutId id="2147488909" r:id="rId280"/>
    <p:sldLayoutId id="2147488910" r:id="rId281"/>
    <p:sldLayoutId id="2147488911" r:id="rId282"/>
    <p:sldLayoutId id="2147488912" r:id="rId283"/>
    <p:sldLayoutId id="2147488913" r:id="rId284"/>
    <p:sldLayoutId id="2147488914" r:id="rId285"/>
    <p:sldLayoutId id="2147488915" r:id="rId286"/>
    <p:sldLayoutId id="2147488916" r:id="rId287"/>
    <p:sldLayoutId id="2147488917" r:id="rId288"/>
    <p:sldLayoutId id="2147488918" r:id="rId289"/>
    <p:sldLayoutId id="2147488919" r:id="rId290"/>
    <p:sldLayoutId id="2147488920" r:id="rId291"/>
    <p:sldLayoutId id="2147488922" r:id="rId292"/>
    <p:sldLayoutId id="2147488923" r:id="rId293"/>
    <p:sldLayoutId id="2147488924" r:id="rId294"/>
    <p:sldLayoutId id="2147488925" r:id="rId295"/>
    <p:sldLayoutId id="2147488926" r:id="rId296"/>
    <p:sldLayoutId id="2147488927" r:id="rId297"/>
    <p:sldLayoutId id="2147488928" r:id="rId298"/>
    <p:sldLayoutId id="2147488929" r:id="rId299"/>
    <p:sldLayoutId id="2147488930" r:id="rId300"/>
    <p:sldLayoutId id="2147488931" r:id="rId301"/>
    <p:sldLayoutId id="2147488932" r:id="rId302"/>
    <p:sldLayoutId id="2147488933" r:id="rId303"/>
    <p:sldLayoutId id="2147488934" r:id="rId304"/>
    <p:sldLayoutId id="2147488935" r:id="rId305"/>
    <p:sldLayoutId id="2147488936" r:id="rId306"/>
    <p:sldLayoutId id="2147488937" r:id="rId307"/>
    <p:sldLayoutId id="2147488938" r:id="rId308"/>
    <p:sldLayoutId id="2147488983" r:id="rId309"/>
    <p:sldLayoutId id="2147488984" r:id="rId310"/>
    <p:sldLayoutId id="2147488985" r:id="rId311"/>
    <p:sldLayoutId id="2147488986" r:id="rId312"/>
    <p:sldLayoutId id="2147488988" r:id="rId313"/>
    <p:sldLayoutId id="2147488989" r:id="rId314"/>
    <p:sldLayoutId id="2147488990" r:id="rId315"/>
    <p:sldLayoutId id="2147488991" r:id="rId316"/>
    <p:sldLayoutId id="2147488992" r:id="rId317"/>
    <p:sldLayoutId id="2147488993" r:id="rId318"/>
    <p:sldLayoutId id="2147488994" r:id="rId319"/>
    <p:sldLayoutId id="2147488995" r:id="rId320"/>
    <p:sldLayoutId id="2147488996" r:id="rId321"/>
    <p:sldLayoutId id="2147488997" r:id="rId322"/>
    <p:sldLayoutId id="2147488998" r:id="rId323"/>
    <p:sldLayoutId id="2147489000" r:id="rId324"/>
    <p:sldLayoutId id="2147489001" r:id="rId325"/>
    <p:sldLayoutId id="2147489002" r:id="rId326"/>
    <p:sldLayoutId id="2147489003" r:id="rId327"/>
    <p:sldLayoutId id="2147489004" r:id="rId328"/>
    <p:sldLayoutId id="2147489005" r:id="rId329"/>
    <p:sldLayoutId id="2147489006" r:id="rId330"/>
    <p:sldLayoutId id="2147489007" r:id="rId331"/>
    <p:sldLayoutId id="2147489008" r:id="rId332"/>
    <p:sldLayoutId id="2147489009" r:id="rId333"/>
    <p:sldLayoutId id="2147489021" r:id="rId334"/>
    <p:sldLayoutId id="2147489022" r:id="rId335"/>
    <p:sldLayoutId id="2147489023" r:id="rId336"/>
    <p:sldLayoutId id="2147489024" r:id="rId337"/>
    <p:sldLayoutId id="2147489025" r:id="rId338"/>
    <p:sldLayoutId id="2147489026" r:id="rId339"/>
    <p:sldLayoutId id="2147489027" r:id="rId340"/>
    <p:sldLayoutId id="2147489028" r:id="rId341"/>
    <p:sldLayoutId id="2147489029" r:id="rId342"/>
    <p:sldLayoutId id="2147489030" r:id="rId343"/>
    <p:sldLayoutId id="2147489031" r:id="rId344"/>
    <p:sldLayoutId id="2147489034" r:id="rId345"/>
    <p:sldLayoutId id="2147489035" r:id="rId346"/>
    <p:sldLayoutId id="2147489036" r:id="rId347"/>
    <p:sldLayoutId id="2147489037" r:id="rId348"/>
    <p:sldLayoutId id="2147489038" r:id="rId349"/>
    <p:sldLayoutId id="2147489039" r:id="rId350"/>
    <p:sldLayoutId id="2147489040" r:id="rId351"/>
    <p:sldLayoutId id="2147489041" r:id="rId352"/>
    <p:sldLayoutId id="2147489042" r:id="rId353"/>
    <p:sldLayoutId id="2147489043" r:id="rId354"/>
    <p:sldLayoutId id="2147489044" r:id="rId355"/>
    <p:sldLayoutId id="2147489045" r:id="rId356"/>
    <p:sldLayoutId id="2147489046" r:id="rId357"/>
    <p:sldLayoutId id="2147489047" r:id="rId358"/>
    <p:sldLayoutId id="2147489048" r:id="rId359"/>
    <p:sldLayoutId id="2147489049" r:id="rId360"/>
    <p:sldLayoutId id="2147489050" r:id="rId361"/>
    <p:sldLayoutId id="2147489051" r:id="rId362"/>
    <p:sldLayoutId id="2147489052" r:id="rId363"/>
    <p:sldLayoutId id="2147489053" r:id="rId364"/>
    <p:sldLayoutId id="2147489056" r:id="rId365"/>
    <p:sldLayoutId id="2147489057" r:id="rId366"/>
    <p:sldLayoutId id="2147489058" r:id="rId367"/>
    <p:sldLayoutId id="2147489062" r:id="rId368"/>
    <p:sldLayoutId id="2147489063" r:id="rId369"/>
    <p:sldLayoutId id="2147489064" r:id="rId370"/>
    <p:sldLayoutId id="2147489065" r:id="rId371"/>
    <p:sldLayoutId id="2147489070" r:id="rId372"/>
    <p:sldLayoutId id="2147489071" r:id="rId373"/>
    <p:sldLayoutId id="2147489072" r:id="rId374"/>
    <p:sldLayoutId id="2147489073" r:id="rId375"/>
    <p:sldLayoutId id="2147489074" r:id="rId376"/>
    <p:sldLayoutId id="2147489075" r:id="rId377"/>
    <p:sldLayoutId id="2147489076" r:id="rId378"/>
    <p:sldLayoutId id="2147489077" r:id="rId379"/>
    <p:sldLayoutId id="2147489078" r:id="rId380"/>
    <p:sldLayoutId id="2147489079" r:id="rId381"/>
    <p:sldLayoutId id="2147489080" r:id="rId382"/>
    <p:sldLayoutId id="2147489081" r:id="rId383"/>
    <p:sldLayoutId id="2147489082" r:id="rId384"/>
    <p:sldLayoutId id="2147489083" r:id="rId385"/>
    <p:sldLayoutId id="2147489084" r:id="rId386"/>
    <p:sldLayoutId id="2147489085" r:id="rId387"/>
    <p:sldLayoutId id="2147489086" r:id="rId388"/>
    <p:sldLayoutId id="2147489087" r:id="rId389"/>
    <p:sldLayoutId id="2147489088" r:id="rId390"/>
    <p:sldLayoutId id="2147489089" r:id="rId391"/>
    <p:sldLayoutId id="2147489090" r:id="rId392"/>
    <p:sldLayoutId id="2147489091" r:id="rId393"/>
    <p:sldLayoutId id="2147489093" r:id="rId394"/>
    <p:sldLayoutId id="2147489094" r:id="rId395"/>
    <p:sldLayoutId id="2147489095" r:id="rId396"/>
    <p:sldLayoutId id="2147489097" r:id="rId397"/>
    <p:sldLayoutId id="2147489098" r:id="rId398"/>
    <p:sldLayoutId id="2147489099" r:id="rId399"/>
    <p:sldLayoutId id="2147489101" r:id="rId400"/>
    <p:sldLayoutId id="2147489102" r:id="rId401"/>
    <p:sldLayoutId id="2147489103" r:id="rId402"/>
    <p:sldLayoutId id="2147489117" r:id="rId403"/>
    <p:sldLayoutId id="2147489118" r:id="rId404"/>
    <p:sldLayoutId id="2147489119" r:id="rId405"/>
    <p:sldLayoutId id="2147489120" r:id="rId406"/>
    <p:sldLayoutId id="2147489121" r:id="rId407"/>
    <p:sldLayoutId id="2147489122" r:id="rId408"/>
    <p:sldLayoutId id="2147489124" r:id="rId409"/>
    <p:sldLayoutId id="2147489125" r:id="rId410"/>
    <p:sldLayoutId id="2147489126" r:id="rId411"/>
    <p:sldLayoutId id="2147489132" r:id="rId412"/>
    <p:sldLayoutId id="2147489133" r:id="rId413"/>
    <p:sldLayoutId id="2147489134" r:id="rId414"/>
    <p:sldLayoutId id="2147489135" r:id="rId415"/>
    <p:sldLayoutId id="2147489138" r:id="rId416"/>
    <p:sldLayoutId id="2147489139" r:id="rId417"/>
    <p:sldLayoutId id="2147489140" r:id="rId418"/>
    <p:sldLayoutId id="2147489141" r:id="rId419"/>
    <p:sldLayoutId id="2147489142" r:id="rId420"/>
    <p:sldLayoutId id="2147489145" r:id="rId421"/>
    <p:sldLayoutId id="2147489146" r:id="rId422"/>
    <p:sldLayoutId id="2147489147" r:id="rId423"/>
    <p:sldLayoutId id="2147489148" r:id="rId424"/>
    <p:sldLayoutId id="2147489149" r:id="rId425"/>
    <p:sldLayoutId id="2147489150" r:id="rId426"/>
    <p:sldLayoutId id="2147489153" r:id="rId427"/>
    <p:sldLayoutId id="2147489154" r:id="rId428"/>
    <p:sldLayoutId id="2147489155" r:id="rId429"/>
    <p:sldLayoutId id="2147489156" r:id="rId430"/>
    <p:sldLayoutId id="2147489157" r:id="rId431"/>
    <p:sldLayoutId id="2147489158" r:id="rId432"/>
    <p:sldLayoutId id="2147489159" r:id="rId433"/>
    <p:sldLayoutId id="2147489160" r:id="rId434"/>
    <p:sldLayoutId id="2147489163" r:id="rId435"/>
    <p:sldLayoutId id="2147489164" r:id="rId436"/>
    <p:sldLayoutId id="2147489168" r:id="rId437"/>
    <p:sldLayoutId id="2147489172" r:id="rId438"/>
    <p:sldLayoutId id="2147489173" r:id="rId439"/>
    <p:sldLayoutId id="2147489174" r:id="rId440"/>
    <p:sldLayoutId id="2147489178" r:id="rId441"/>
    <p:sldLayoutId id="2147489179" r:id="rId442"/>
    <p:sldLayoutId id="2147489180" r:id="rId443"/>
    <p:sldLayoutId id="2147489181" r:id="rId444"/>
    <p:sldLayoutId id="2147489182" r:id="rId445"/>
    <p:sldLayoutId id="2147489183" r:id="rId446"/>
    <p:sldLayoutId id="2147489196" r:id="rId447"/>
    <p:sldLayoutId id="2147489197" r:id="rId448"/>
    <p:sldLayoutId id="2147489198" r:id="rId449"/>
    <p:sldLayoutId id="2147489199" r:id="rId450"/>
    <p:sldLayoutId id="2147489202" r:id="rId451"/>
    <p:sldLayoutId id="2147489203" r:id="rId452"/>
    <p:sldLayoutId id="2147489204" r:id="rId453"/>
    <p:sldLayoutId id="2147489205" r:id="rId454"/>
    <p:sldLayoutId id="2147489206" r:id="rId455"/>
    <p:sldLayoutId id="2147489209" r:id="rId456"/>
    <p:sldLayoutId id="2147489210" r:id="rId457"/>
    <p:sldLayoutId id="2147489211" r:id="rId458"/>
    <p:sldLayoutId id="2147489212" r:id="rId459"/>
    <p:sldLayoutId id="2147489213" r:id="rId460"/>
    <p:sldLayoutId id="2147489214" r:id="rId46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800269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9216" r:id="rId1"/>
    <p:sldLayoutId id="2147489217" r:id="rId2"/>
    <p:sldLayoutId id="2147489218" r:id="rId3"/>
    <p:sldLayoutId id="2147489219" r:id="rId4"/>
    <p:sldLayoutId id="2147489220" r:id="rId5"/>
    <p:sldLayoutId id="2147489221" r:id="rId6"/>
    <p:sldLayoutId id="2147489222" r:id="rId7"/>
    <p:sldLayoutId id="2147489223" r:id="rId8"/>
    <p:sldLayoutId id="2147489224" r:id="rId9"/>
    <p:sldLayoutId id="2147489225" r:id="rId10"/>
    <p:sldLayoutId id="2147489226" r:id="rId11"/>
    <p:sldLayoutId id="2147489227" r:id="rId12"/>
    <p:sldLayoutId id="2147489228" r:id="rId13"/>
    <p:sldLayoutId id="2147489229" r:id="rId14"/>
    <p:sldLayoutId id="2147489230" r:id="rId15"/>
    <p:sldLayoutId id="2147489231" r:id="rId16"/>
    <p:sldLayoutId id="2147489232" r:id="rId17"/>
    <p:sldLayoutId id="2147489233" r:id="rId18"/>
    <p:sldLayoutId id="2147489234" r:id="rId19"/>
    <p:sldLayoutId id="2147489235" r:id="rId20"/>
    <p:sldLayoutId id="2147489236" r:id="rId21"/>
    <p:sldLayoutId id="2147489237" r:id="rId22"/>
    <p:sldLayoutId id="2147489238" r:id="rId23"/>
    <p:sldLayoutId id="2147489239" r:id="rId24"/>
    <p:sldLayoutId id="2147489240" r:id="rId25"/>
    <p:sldLayoutId id="2147489241" r:id="rId26"/>
    <p:sldLayoutId id="2147489242" r:id="rId27"/>
    <p:sldLayoutId id="2147489243" r:id="rId28"/>
    <p:sldLayoutId id="2147489244" r:id="rId29"/>
    <p:sldLayoutId id="2147489245" r:id="rId30"/>
    <p:sldLayoutId id="2147489246" r:id="rId31"/>
    <p:sldLayoutId id="2147489247" r:id="rId32"/>
    <p:sldLayoutId id="2147489248" r:id="rId33"/>
    <p:sldLayoutId id="2147489249" r:id="rId34"/>
    <p:sldLayoutId id="2147489250" r:id="rId35"/>
    <p:sldLayoutId id="2147489251" r:id="rId36"/>
    <p:sldLayoutId id="2147489252" r:id="rId37"/>
    <p:sldLayoutId id="2147489253" r:id="rId38"/>
    <p:sldLayoutId id="2147489254" r:id="rId39"/>
    <p:sldLayoutId id="2147489255" r:id="rId40"/>
    <p:sldLayoutId id="2147489256" r:id="rId41"/>
    <p:sldLayoutId id="2147489257" r:id="rId42"/>
    <p:sldLayoutId id="2147489258" r:id="rId43"/>
    <p:sldLayoutId id="2147489259" r:id="rId44"/>
    <p:sldLayoutId id="2147489260" r:id="rId45"/>
    <p:sldLayoutId id="2147489261" r:id="rId46"/>
    <p:sldLayoutId id="2147489262" r:id="rId47"/>
    <p:sldLayoutId id="2147489263" r:id="rId48"/>
    <p:sldLayoutId id="2147489264" r:id="rId49"/>
    <p:sldLayoutId id="2147489265" r:id="rId50"/>
    <p:sldLayoutId id="2147489266" r:id="rId51"/>
    <p:sldLayoutId id="2147489267" r:id="rId52"/>
    <p:sldLayoutId id="2147489268" r:id="rId53"/>
    <p:sldLayoutId id="2147489269" r:id="rId54"/>
    <p:sldLayoutId id="2147489270" r:id="rId55"/>
    <p:sldLayoutId id="2147489271" r:id="rId56"/>
    <p:sldLayoutId id="2147489272" r:id="rId57"/>
    <p:sldLayoutId id="2147489273" r:id="rId58"/>
    <p:sldLayoutId id="2147489274" r:id="rId59"/>
    <p:sldLayoutId id="2147489275" r:id="rId60"/>
    <p:sldLayoutId id="2147489276" r:id="rId61"/>
    <p:sldLayoutId id="2147489277" r:id="rId62"/>
    <p:sldLayoutId id="2147489278" r:id="rId63"/>
    <p:sldLayoutId id="2147489279" r:id="rId64"/>
    <p:sldLayoutId id="2147489280" r:id="rId65"/>
    <p:sldLayoutId id="2147489281" r:id="rId66"/>
    <p:sldLayoutId id="2147489282" r:id="rId67"/>
    <p:sldLayoutId id="2147489283" r:id="rId68"/>
    <p:sldLayoutId id="2147489284" r:id="rId69"/>
    <p:sldLayoutId id="2147489285" r:id="rId70"/>
    <p:sldLayoutId id="2147489286" r:id="rId71"/>
    <p:sldLayoutId id="2147489287" r:id="rId72"/>
    <p:sldLayoutId id="2147489288" r:id="rId73"/>
    <p:sldLayoutId id="2147489289" r:id="rId74"/>
    <p:sldLayoutId id="2147489290" r:id="rId75"/>
    <p:sldLayoutId id="2147489291" r:id="rId76"/>
    <p:sldLayoutId id="2147489292" r:id="rId77"/>
    <p:sldLayoutId id="2147489293" r:id="rId78"/>
    <p:sldLayoutId id="2147489294" r:id="rId79"/>
    <p:sldLayoutId id="2147489295" r:id="rId80"/>
    <p:sldLayoutId id="2147489296" r:id="rId81"/>
    <p:sldLayoutId id="2147489297" r:id="rId82"/>
    <p:sldLayoutId id="2147489298" r:id="rId83"/>
    <p:sldLayoutId id="2147489299" r:id="rId84"/>
    <p:sldLayoutId id="2147489300" r:id="rId85"/>
    <p:sldLayoutId id="2147489301" r:id="rId86"/>
    <p:sldLayoutId id="2147489302" r:id="rId87"/>
    <p:sldLayoutId id="2147489303" r:id="rId88"/>
    <p:sldLayoutId id="2147489304" r:id="rId89"/>
    <p:sldLayoutId id="2147489305" r:id="rId90"/>
    <p:sldLayoutId id="2147489306" r:id="rId91"/>
    <p:sldLayoutId id="2147489307" r:id="rId92"/>
    <p:sldLayoutId id="2147489308" r:id="rId93"/>
    <p:sldLayoutId id="2147489309" r:id="rId94"/>
    <p:sldLayoutId id="2147489310" r:id="rId95"/>
    <p:sldLayoutId id="2147489311" r:id="rId96"/>
    <p:sldLayoutId id="2147489312" r:id="rId97"/>
    <p:sldLayoutId id="2147489313" r:id="rId98"/>
    <p:sldLayoutId id="2147489314" r:id="rId99"/>
    <p:sldLayoutId id="2147489315" r:id="rId100"/>
    <p:sldLayoutId id="2147489316" r:id="rId101"/>
    <p:sldLayoutId id="2147489317" r:id="rId102"/>
    <p:sldLayoutId id="2147489318" r:id="rId103"/>
    <p:sldLayoutId id="2147489319" r:id="rId104"/>
    <p:sldLayoutId id="2147489320" r:id="rId105"/>
    <p:sldLayoutId id="2147489321" r:id="rId106"/>
    <p:sldLayoutId id="2147489322" r:id="rId107"/>
    <p:sldLayoutId id="2147489323" r:id="rId108"/>
    <p:sldLayoutId id="2147489324" r:id="rId109"/>
    <p:sldLayoutId id="2147489325" r:id="rId110"/>
    <p:sldLayoutId id="2147489326" r:id="rId111"/>
    <p:sldLayoutId id="2147489327" r:id="rId112"/>
    <p:sldLayoutId id="2147489328" r:id="rId113"/>
    <p:sldLayoutId id="2147489329" r:id="rId114"/>
    <p:sldLayoutId id="2147489330" r:id="rId115"/>
    <p:sldLayoutId id="2147489331" r:id="rId116"/>
    <p:sldLayoutId id="2147489332" r:id="rId117"/>
    <p:sldLayoutId id="2147489333" r:id="rId118"/>
    <p:sldLayoutId id="2147489334" r:id="rId119"/>
    <p:sldLayoutId id="2147489335" r:id="rId120"/>
    <p:sldLayoutId id="2147489336" r:id="rId121"/>
    <p:sldLayoutId id="2147489337" r:id="rId122"/>
    <p:sldLayoutId id="2147489338" r:id="rId123"/>
    <p:sldLayoutId id="2147489339" r:id="rId124"/>
    <p:sldLayoutId id="2147489340" r:id="rId125"/>
    <p:sldLayoutId id="2147489341" r:id="rId126"/>
    <p:sldLayoutId id="2147489342" r:id="rId127"/>
    <p:sldLayoutId id="2147489343" r:id="rId128"/>
    <p:sldLayoutId id="2147489344" r:id="rId129"/>
    <p:sldLayoutId id="2147489345" r:id="rId130"/>
    <p:sldLayoutId id="2147489346" r:id="rId131"/>
    <p:sldLayoutId id="2147489347" r:id="rId132"/>
    <p:sldLayoutId id="2147489348" r:id="rId133"/>
    <p:sldLayoutId id="2147489349" r:id="rId134"/>
    <p:sldLayoutId id="2147489350" r:id="rId135"/>
    <p:sldLayoutId id="2147489351" r:id="rId136"/>
    <p:sldLayoutId id="2147489352" r:id="rId137"/>
    <p:sldLayoutId id="2147489353" r:id="rId138"/>
    <p:sldLayoutId id="2147489354" r:id="rId139"/>
    <p:sldLayoutId id="2147489355" r:id="rId140"/>
    <p:sldLayoutId id="2147489356" r:id="rId141"/>
    <p:sldLayoutId id="2147489357" r:id="rId142"/>
    <p:sldLayoutId id="2147489358" r:id="rId143"/>
    <p:sldLayoutId id="2147489359" r:id="rId144"/>
    <p:sldLayoutId id="2147489360" r:id="rId145"/>
    <p:sldLayoutId id="2147489361" r:id="rId146"/>
    <p:sldLayoutId id="2147489362" r:id="rId147"/>
    <p:sldLayoutId id="2147489363" r:id="rId148"/>
    <p:sldLayoutId id="2147489364" r:id="rId149"/>
    <p:sldLayoutId id="2147489365" r:id="rId150"/>
    <p:sldLayoutId id="2147489366" r:id="rId151"/>
    <p:sldLayoutId id="2147489367" r:id="rId152"/>
    <p:sldLayoutId id="2147489368" r:id="rId153"/>
    <p:sldLayoutId id="2147489369" r:id="rId154"/>
    <p:sldLayoutId id="2147489370" r:id="rId155"/>
    <p:sldLayoutId id="2147489371" r:id="rId156"/>
    <p:sldLayoutId id="2147489372" r:id="rId157"/>
    <p:sldLayoutId id="2147489373" r:id="rId158"/>
    <p:sldLayoutId id="2147489374" r:id="rId159"/>
    <p:sldLayoutId id="2147489375" r:id="rId160"/>
    <p:sldLayoutId id="2147489376" r:id="rId161"/>
    <p:sldLayoutId id="2147489377" r:id="rId162"/>
    <p:sldLayoutId id="2147489378" r:id="rId163"/>
    <p:sldLayoutId id="2147489379" r:id="rId164"/>
    <p:sldLayoutId id="2147489380" r:id="rId165"/>
    <p:sldLayoutId id="2147489381" r:id="rId166"/>
    <p:sldLayoutId id="2147489382" r:id="rId167"/>
    <p:sldLayoutId id="2147489383" r:id="rId168"/>
    <p:sldLayoutId id="2147489384" r:id="rId169"/>
    <p:sldLayoutId id="2147489385" r:id="rId170"/>
    <p:sldLayoutId id="2147489386" r:id="rId171"/>
    <p:sldLayoutId id="2147489387" r:id="rId172"/>
    <p:sldLayoutId id="2147489388" r:id="rId173"/>
    <p:sldLayoutId id="2147489389" r:id="rId174"/>
    <p:sldLayoutId id="2147489390" r:id="rId175"/>
    <p:sldLayoutId id="2147489391" r:id="rId176"/>
    <p:sldLayoutId id="2147489392" r:id="rId177"/>
    <p:sldLayoutId id="2147489393" r:id="rId178"/>
    <p:sldLayoutId id="2147489394" r:id="rId179"/>
    <p:sldLayoutId id="2147489395" r:id="rId180"/>
    <p:sldLayoutId id="2147489396" r:id="rId181"/>
    <p:sldLayoutId id="2147489397" r:id="rId182"/>
    <p:sldLayoutId id="2147489398" r:id="rId183"/>
    <p:sldLayoutId id="2147489399" r:id="rId184"/>
    <p:sldLayoutId id="2147489400" r:id="rId185"/>
    <p:sldLayoutId id="2147489401" r:id="rId186"/>
    <p:sldLayoutId id="2147489402" r:id="rId187"/>
    <p:sldLayoutId id="2147489403" r:id="rId188"/>
    <p:sldLayoutId id="2147489404" r:id="rId189"/>
    <p:sldLayoutId id="2147489405" r:id="rId190"/>
    <p:sldLayoutId id="2147489406" r:id="rId191"/>
    <p:sldLayoutId id="2147489407" r:id="rId192"/>
    <p:sldLayoutId id="2147489408" r:id="rId193"/>
    <p:sldLayoutId id="2147489409" r:id="rId194"/>
    <p:sldLayoutId id="2147489410" r:id="rId195"/>
    <p:sldLayoutId id="2147489411" r:id="rId196"/>
    <p:sldLayoutId id="2147489412" r:id="rId197"/>
    <p:sldLayoutId id="2147489413" r:id="rId198"/>
    <p:sldLayoutId id="2147489414" r:id="rId199"/>
    <p:sldLayoutId id="2147489415" r:id="rId200"/>
    <p:sldLayoutId id="2147489416" r:id="rId201"/>
    <p:sldLayoutId id="2147489417" r:id="rId202"/>
    <p:sldLayoutId id="2147489418" r:id="rId203"/>
    <p:sldLayoutId id="2147489419" r:id="rId204"/>
    <p:sldLayoutId id="2147489420" r:id="rId205"/>
    <p:sldLayoutId id="2147489421" r:id="rId206"/>
    <p:sldLayoutId id="2147489422" r:id="rId207"/>
    <p:sldLayoutId id="2147489423" r:id="rId208"/>
    <p:sldLayoutId id="2147489424" r:id="rId209"/>
    <p:sldLayoutId id="2147489425" r:id="rId210"/>
    <p:sldLayoutId id="2147489426" r:id="rId211"/>
    <p:sldLayoutId id="2147489427" r:id="rId212"/>
    <p:sldLayoutId id="2147489428" r:id="rId213"/>
    <p:sldLayoutId id="2147489429" r:id="rId214"/>
    <p:sldLayoutId id="2147489430" r:id="rId215"/>
    <p:sldLayoutId id="2147489431" r:id="rId216"/>
    <p:sldLayoutId id="2147489432" r:id="rId217"/>
    <p:sldLayoutId id="2147489433" r:id="rId218"/>
    <p:sldLayoutId id="2147489434" r:id="rId219"/>
    <p:sldLayoutId id="2147489435" r:id="rId220"/>
    <p:sldLayoutId id="2147489436" r:id="rId221"/>
    <p:sldLayoutId id="2147489437" r:id="rId222"/>
    <p:sldLayoutId id="2147489438" r:id="rId223"/>
    <p:sldLayoutId id="2147489439" r:id="rId224"/>
    <p:sldLayoutId id="2147489440" r:id="rId225"/>
    <p:sldLayoutId id="2147489441" r:id="rId226"/>
    <p:sldLayoutId id="2147489442" r:id="rId227"/>
    <p:sldLayoutId id="2147489443" r:id="rId228"/>
    <p:sldLayoutId id="2147489444" r:id="rId229"/>
    <p:sldLayoutId id="2147489445" r:id="rId230"/>
    <p:sldLayoutId id="2147489446" r:id="rId231"/>
    <p:sldLayoutId id="2147489447" r:id="rId232"/>
    <p:sldLayoutId id="2147489448" r:id="rId233"/>
    <p:sldLayoutId id="2147489449" r:id="rId234"/>
    <p:sldLayoutId id="2147489450" r:id="rId235"/>
    <p:sldLayoutId id="2147489451" r:id="rId236"/>
    <p:sldLayoutId id="2147489452" r:id="rId237"/>
    <p:sldLayoutId id="2147489453" r:id="rId238"/>
    <p:sldLayoutId id="2147489454" r:id="rId239"/>
    <p:sldLayoutId id="2147489455" r:id="rId240"/>
    <p:sldLayoutId id="2147489456" r:id="rId241"/>
    <p:sldLayoutId id="2147489457" r:id="rId242"/>
    <p:sldLayoutId id="2147489458" r:id="rId243"/>
    <p:sldLayoutId id="2147489459" r:id="rId244"/>
    <p:sldLayoutId id="2147489460" r:id="rId245"/>
    <p:sldLayoutId id="2147489461" r:id="rId246"/>
    <p:sldLayoutId id="2147489462" r:id="rId247"/>
    <p:sldLayoutId id="2147489463" r:id="rId248"/>
    <p:sldLayoutId id="2147489464" r:id="rId249"/>
    <p:sldLayoutId id="2147489465" r:id="rId250"/>
    <p:sldLayoutId id="2147489466" r:id="rId251"/>
    <p:sldLayoutId id="2147489467" r:id="rId252"/>
    <p:sldLayoutId id="2147489468" r:id="rId253"/>
    <p:sldLayoutId id="2147489469" r:id="rId254"/>
    <p:sldLayoutId id="2147489470" r:id="rId255"/>
    <p:sldLayoutId id="2147489471" r:id="rId256"/>
    <p:sldLayoutId id="2147489472" r:id="rId257"/>
    <p:sldLayoutId id="2147489473" r:id="rId258"/>
    <p:sldLayoutId id="2147489474" r:id="rId259"/>
    <p:sldLayoutId id="2147489475" r:id="rId260"/>
    <p:sldLayoutId id="2147489476" r:id="rId261"/>
    <p:sldLayoutId id="2147489477" r:id="rId262"/>
    <p:sldLayoutId id="2147489478" r:id="rId263"/>
    <p:sldLayoutId id="2147489479" r:id="rId264"/>
    <p:sldLayoutId id="2147489480" r:id="rId265"/>
    <p:sldLayoutId id="2147489481" r:id="rId266"/>
    <p:sldLayoutId id="2147489482" r:id="rId267"/>
    <p:sldLayoutId id="2147489483" r:id="rId268"/>
    <p:sldLayoutId id="2147489484" r:id="rId269"/>
    <p:sldLayoutId id="2147489485" r:id="rId270"/>
    <p:sldLayoutId id="2147489486" r:id="rId271"/>
    <p:sldLayoutId id="2147489487" r:id="rId272"/>
    <p:sldLayoutId id="2147489488" r:id="rId273"/>
    <p:sldLayoutId id="2147489489" r:id="rId274"/>
    <p:sldLayoutId id="2147489490" r:id="rId275"/>
    <p:sldLayoutId id="2147489491" r:id="rId276"/>
    <p:sldLayoutId id="2147489492" r:id="rId277"/>
    <p:sldLayoutId id="2147489493" r:id="rId278"/>
    <p:sldLayoutId id="2147489494" r:id="rId279"/>
    <p:sldLayoutId id="2147489495" r:id="rId280"/>
    <p:sldLayoutId id="2147489496" r:id="rId281"/>
    <p:sldLayoutId id="2147489497" r:id="rId282"/>
    <p:sldLayoutId id="2147489498" r:id="rId28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53313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500" r:id="rId1"/>
    <p:sldLayoutId id="2147489501" r:id="rId2"/>
    <p:sldLayoutId id="2147489502" r:id="rId3"/>
    <p:sldLayoutId id="2147489503" r:id="rId4"/>
    <p:sldLayoutId id="2147489504" r:id="rId5"/>
    <p:sldLayoutId id="2147489505" r:id="rId6"/>
    <p:sldLayoutId id="2147489506" r:id="rId7"/>
    <p:sldLayoutId id="2147489507" r:id="rId8"/>
    <p:sldLayoutId id="2147489508" r:id="rId9"/>
    <p:sldLayoutId id="2147489509" r:id="rId10"/>
    <p:sldLayoutId id="2147489510" r:id="rId11"/>
    <p:sldLayoutId id="2147489511" r:id="rId12"/>
    <p:sldLayoutId id="2147489512" r:id="rId13"/>
    <p:sldLayoutId id="2147489513" r:id="rId14"/>
    <p:sldLayoutId id="2147489514" r:id="rId15"/>
    <p:sldLayoutId id="2147489515" r:id="rId16"/>
    <p:sldLayoutId id="2147489516" r:id="rId17"/>
    <p:sldLayoutId id="2147489517" r:id="rId18"/>
    <p:sldLayoutId id="2147489518" r:id="rId19"/>
    <p:sldLayoutId id="2147489519" r:id="rId20"/>
    <p:sldLayoutId id="2147489520" r:id="rId21"/>
    <p:sldLayoutId id="2147489531" r:id="rId22"/>
    <p:sldLayoutId id="2147489532" r:id="rId23"/>
    <p:sldLayoutId id="2147489533" r:id="rId24"/>
    <p:sldLayoutId id="2147489534" r:id="rId25"/>
    <p:sldLayoutId id="2147489535" r:id="rId2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37023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9537" r:id="rId1"/>
    <p:sldLayoutId id="2147489538" r:id="rId2"/>
    <p:sldLayoutId id="2147489539" r:id="rId3"/>
    <p:sldLayoutId id="2147489540" r:id="rId4"/>
    <p:sldLayoutId id="2147489541" r:id="rId5"/>
    <p:sldLayoutId id="2147489542" r:id="rId6"/>
    <p:sldLayoutId id="2147489543" r:id="rId7"/>
    <p:sldLayoutId id="2147489544" r:id="rId8"/>
    <p:sldLayoutId id="2147489545" r:id="rId9"/>
    <p:sldLayoutId id="2147489546" r:id="rId10"/>
    <p:sldLayoutId id="2147489547" r:id="rId11"/>
    <p:sldLayoutId id="2147489548" r:id="rId12"/>
    <p:sldLayoutId id="2147489549" r:id="rId13"/>
    <p:sldLayoutId id="2147489550" r:id="rId14"/>
    <p:sldLayoutId id="2147489551" r:id="rId15"/>
    <p:sldLayoutId id="2147489552" r:id="rId16"/>
    <p:sldLayoutId id="2147489553" r:id="rId17"/>
    <p:sldLayoutId id="2147489554" r:id="rId18"/>
    <p:sldLayoutId id="2147489555" r:id="rId19"/>
    <p:sldLayoutId id="2147489556" r:id="rId20"/>
    <p:sldLayoutId id="2147489557" r:id="rId21"/>
    <p:sldLayoutId id="2147489558" r:id="rId22"/>
    <p:sldLayoutId id="2147489559" r:id="rId23"/>
    <p:sldLayoutId id="2147489560" r:id="rId24"/>
    <p:sldLayoutId id="2147489561" r:id="rId25"/>
    <p:sldLayoutId id="2147489562" r:id="rId26"/>
    <p:sldLayoutId id="2147489563" r:id="rId27"/>
    <p:sldLayoutId id="2147489564" r:id="rId28"/>
    <p:sldLayoutId id="2147489565" r:id="rId29"/>
    <p:sldLayoutId id="2147489566" r:id="rId30"/>
    <p:sldLayoutId id="2147489567" r:id="rId31"/>
    <p:sldLayoutId id="2147489568" r:id="rId32"/>
    <p:sldLayoutId id="2147489569" r:id="rId33"/>
    <p:sldLayoutId id="2147489570" r:id="rId34"/>
    <p:sldLayoutId id="2147489571" r:id="rId35"/>
    <p:sldLayoutId id="2147489572" r:id="rId36"/>
    <p:sldLayoutId id="2147489573" r:id="rId37"/>
    <p:sldLayoutId id="2147489574" r:id="rId38"/>
    <p:sldLayoutId id="2147489575" r:id="rId39"/>
    <p:sldLayoutId id="2147489576" r:id="rId40"/>
    <p:sldLayoutId id="2147489577" r:id="rId41"/>
    <p:sldLayoutId id="2147489578" r:id="rId42"/>
    <p:sldLayoutId id="2147489579" r:id="rId43"/>
    <p:sldLayoutId id="2147489586" r:id="rId44"/>
    <p:sldLayoutId id="2147489589" r:id="rId45"/>
    <p:sldLayoutId id="2147489590" r:id="rId46"/>
    <p:sldLayoutId id="2147489591" r:id="rId47"/>
    <p:sldLayoutId id="2147489592" r:id="rId48"/>
    <p:sldLayoutId id="2147489593" r:id="rId49"/>
    <p:sldLayoutId id="2147489594" r:id="rId50"/>
    <p:sldLayoutId id="2147489595" r:id="rId51"/>
    <p:sldLayoutId id="2147489596" r:id="rId52"/>
    <p:sldLayoutId id="2147489597" r:id="rId53"/>
    <p:sldLayoutId id="2147489598" r:id="rId54"/>
    <p:sldLayoutId id="2147489599" r:id="rId55"/>
    <p:sldLayoutId id="2147489600" r:id="rId56"/>
    <p:sldLayoutId id="2147489601" r:id="rId57"/>
    <p:sldLayoutId id="2147489602" r:id="rId58"/>
    <p:sldLayoutId id="2147489603" r:id="rId59"/>
    <p:sldLayoutId id="2147489604" r:id="rId60"/>
    <p:sldLayoutId id="2147489605" r:id="rId61"/>
    <p:sldLayoutId id="2147489606" r:id="rId62"/>
    <p:sldLayoutId id="2147489607" r:id="rId63"/>
    <p:sldLayoutId id="2147489608" r:id="rId64"/>
    <p:sldLayoutId id="2147489609" r:id="rId65"/>
    <p:sldLayoutId id="2147489610" r:id="rId66"/>
    <p:sldLayoutId id="2147489611" r:id="rId67"/>
    <p:sldLayoutId id="2147489612" r:id="rId68"/>
    <p:sldLayoutId id="2147489618" r:id="rId69"/>
    <p:sldLayoutId id="2147489620" r:id="rId70"/>
    <p:sldLayoutId id="2147489621" r:id="rId71"/>
    <p:sldLayoutId id="2147489622" r:id="rId72"/>
    <p:sldLayoutId id="2147489623" r:id="rId73"/>
    <p:sldLayoutId id="2147489624" r:id="rId74"/>
    <p:sldLayoutId id="2147489625" r:id="rId75"/>
    <p:sldLayoutId id="2147489626" r:id="rId76"/>
    <p:sldLayoutId id="2147489627" r:id="rId77"/>
    <p:sldLayoutId id="2147489628" r:id="rId78"/>
    <p:sldLayoutId id="2147489629" r:id="rId79"/>
    <p:sldLayoutId id="2147489630" r:id="rId80"/>
    <p:sldLayoutId id="2147489631" r:id="rId81"/>
    <p:sldLayoutId id="2147489632" r:id="rId82"/>
    <p:sldLayoutId id="2147489633" r:id="rId83"/>
    <p:sldLayoutId id="2147489634" r:id="rId84"/>
    <p:sldLayoutId id="2147489635" r:id="rId85"/>
    <p:sldLayoutId id="2147489636" r:id="rId86"/>
    <p:sldLayoutId id="2147489637" r:id="rId87"/>
    <p:sldLayoutId id="2147489638" r:id="rId88"/>
    <p:sldLayoutId id="2147489639" r:id="rId89"/>
    <p:sldLayoutId id="2147489640" r:id="rId90"/>
    <p:sldLayoutId id="2147489641" r:id="rId91"/>
    <p:sldLayoutId id="2147489642" r:id="rId92"/>
    <p:sldLayoutId id="2147489648" r:id="rId93"/>
    <p:sldLayoutId id="2147489649" r:id="rId94"/>
    <p:sldLayoutId id="2147489650" r:id="rId95"/>
    <p:sldLayoutId id="2147489651" r:id="rId96"/>
    <p:sldLayoutId id="2147489652" r:id="rId97"/>
    <p:sldLayoutId id="2147489653" r:id="rId98"/>
    <p:sldLayoutId id="2147489654" r:id="rId99"/>
    <p:sldLayoutId id="2147489655" r:id="rId100"/>
    <p:sldLayoutId id="2147489656" r:id="rId101"/>
    <p:sldLayoutId id="2147489657" r:id="rId102"/>
    <p:sldLayoutId id="2147489658" r:id="rId103"/>
    <p:sldLayoutId id="2147489659" r:id="rId104"/>
    <p:sldLayoutId id="2147489660" r:id="rId105"/>
    <p:sldLayoutId id="2147489661" r:id="rId106"/>
    <p:sldLayoutId id="2147489662" r:id="rId107"/>
    <p:sldLayoutId id="2147489663" r:id="rId108"/>
    <p:sldLayoutId id="2147489664" r:id="rId109"/>
    <p:sldLayoutId id="2147489665" r:id="rId110"/>
    <p:sldLayoutId id="2147489666" r:id="rId111"/>
    <p:sldLayoutId id="2147489667" r:id="rId112"/>
    <p:sldLayoutId id="2147489668" r:id="rId113"/>
    <p:sldLayoutId id="2147489669" r:id="rId114"/>
    <p:sldLayoutId id="2147489670" r:id="rId115"/>
    <p:sldLayoutId id="2147489671" r:id="rId116"/>
    <p:sldLayoutId id="2147489672" r:id="rId117"/>
    <p:sldLayoutId id="2147489673" r:id="rId118"/>
    <p:sldLayoutId id="2147489674" r:id="rId119"/>
    <p:sldLayoutId id="2147489675" r:id="rId120"/>
    <p:sldLayoutId id="2147489676" r:id="rId121"/>
    <p:sldLayoutId id="2147489677" r:id="rId122"/>
    <p:sldLayoutId id="2147489678" r:id="rId123"/>
    <p:sldLayoutId id="2147489679" r:id="rId124"/>
    <p:sldLayoutId id="2147489680" r:id="rId125"/>
    <p:sldLayoutId id="2147489681" r:id="rId126"/>
    <p:sldLayoutId id="2147489682" r:id="rId127"/>
    <p:sldLayoutId id="2147489683" r:id="rId128"/>
    <p:sldLayoutId id="2147489684" r:id="rId129"/>
    <p:sldLayoutId id="2147489685" r:id="rId130"/>
    <p:sldLayoutId id="2147489686" r:id="rId131"/>
    <p:sldLayoutId id="2147489687" r:id="rId132"/>
    <p:sldLayoutId id="2147489688" r:id="rId133"/>
    <p:sldLayoutId id="2147489689" r:id="rId134"/>
    <p:sldLayoutId id="2147489690" r:id="rId135"/>
    <p:sldLayoutId id="2147489691" r:id="rId136"/>
    <p:sldLayoutId id="2147489692" r:id="rId137"/>
    <p:sldLayoutId id="2147489693" r:id="rId138"/>
    <p:sldLayoutId id="2147489694" r:id="rId139"/>
    <p:sldLayoutId id="2147489695" r:id="rId140"/>
    <p:sldLayoutId id="2147489696" r:id="rId141"/>
    <p:sldLayoutId id="2147489703" r:id="rId142"/>
    <p:sldLayoutId id="2147489704" r:id="rId143"/>
    <p:sldLayoutId id="2147489705" r:id="rId144"/>
    <p:sldLayoutId id="2147489706" r:id="rId145"/>
    <p:sldLayoutId id="2147489707" r:id="rId146"/>
    <p:sldLayoutId id="2147489719" r:id="rId147"/>
    <p:sldLayoutId id="2147489721" r:id="rId148"/>
    <p:sldLayoutId id="2147489722" r:id="rId149"/>
    <p:sldLayoutId id="2147489723" r:id="rId150"/>
    <p:sldLayoutId id="2147489724" r:id="rId151"/>
    <p:sldLayoutId id="2147489725" r:id="rId152"/>
    <p:sldLayoutId id="2147489726" r:id="rId153"/>
    <p:sldLayoutId id="2147489727" r:id="rId154"/>
    <p:sldLayoutId id="2147489728" r:id="rId155"/>
    <p:sldLayoutId id="2147489729" r:id="rId156"/>
    <p:sldLayoutId id="2147489730" r:id="rId157"/>
    <p:sldLayoutId id="2147489731" r:id="rId158"/>
    <p:sldLayoutId id="2147489733" r:id="rId15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60482608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9735" r:id="rId1"/>
    <p:sldLayoutId id="2147489736" r:id="rId2"/>
    <p:sldLayoutId id="2147489738" r:id="rId3"/>
    <p:sldLayoutId id="2147489739" r:id="rId4"/>
    <p:sldLayoutId id="2147489740" r:id="rId5"/>
    <p:sldLayoutId id="2147489741" r:id="rId6"/>
    <p:sldLayoutId id="2147489742" r:id="rId7"/>
    <p:sldLayoutId id="2147489743" r:id="rId8"/>
    <p:sldLayoutId id="2147489744" r:id="rId9"/>
    <p:sldLayoutId id="2147489745" r:id="rId10"/>
    <p:sldLayoutId id="2147489746" r:id="rId11"/>
    <p:sldLayoutId id="2147489747" r:id="rId12"/>
    <p:sldLayoutId id="2147489748" r:id="rId13"/>
    <p:sldLayoutId id="2147489749" r:id="rId14"/>
    <p:sldLayoutId id="2147489751" r:id="rId15"/>
    <p:sldLayoutId id="2147489752" r:id="rId16"/>
    <p:sldLayoutId id="2147489753" r:id="rId17"/>
    <p:sldLayoutId id="2147489754" r:id="rId18"/>
    <p:sldLayoutId id="2147489755" r:id="rId19"/>
    <p:sldLayoutId id="2147489756" r:id="rId20"/>
    <p:sldLayoutId id="2147489757" r:id="rId21"/>
    <p:sldLayoutId id="2147489758" r:id="rId22"/>
    <p:sldLayoutId id="2147489759" r:id="rId23"/>
    <p:sldLayoutId id="2147489760" r:id="rId24"/>
    <p:sldLayoutId id="2147489761" r:id="rId25"/>
    <p:sldLayoutId id="2147489762" r:id="rId26"/>
    <p:sldLayoutId id="2147489763" r:id="rId27"/>
    <p:sldLayoutId id="2147489764" r:id="rId28"/>
    <p:sldLayoutId id="2147489765" r:id="rId29"/>
    <p:sldLayoutId id="2147489766" r:id="rId30"/>
    <p:sldLayoutId id="2147489767" r:id="rId31"/>
    <p:sldLayoutId id="2147489768" r:id="rId32"/>
    <p:sldLayoutId id="2147489769" r:id="rId33"/>
    <p:sldLayoutId id="2147489770" r:id="rId34"/>
    <p:sldLayoutId id="2147489771" r:id="rId35"/>
    <p:sldLayoutId id="2147489772" r:id="rId36"/>
    <p:sldLayoutId id="2147489773" r:id="rId37"/>
    <p:sldLayoutId id="2147489774" r:id="rId38"/>
    <p:sldLayoutId id="2147489775" r:id="rId39"/>
    <p:sldLayoutId id="2147489776" r:id="rId40"/>
    <p:sldLayoutId id="2147489777" r:id="rId41"/>
    <p:sldLayoutId id="2147489778" r:id="rId42"/>
    <p:sldLayoutId id="2147489779" r:id="rId43"/>
    <p:sldLayoutId id="2147489780" r:id="rId44"/>
    <p:sldLayoutId id="2147489781" r:id="rId45"/>
    <p:sldLayoutId id="2147489782" r:id="rId46"/>
    <p:sldLayoutId id="2147489783" r:id="rId47"/>
    <p:sldLayoutId id="2147489784" r:id="rId48"/>
    <p:sldLayoutId id="2147489785" r:id="rId49"/>
    <p:sldLayoutId id="2147489786" r:id="rId50"/>
    <p:sldLayoutId id="2147489787" r:id="rId51"/>
    <p:sldLayoutId id="2147489788" r:id="rId52"/>
    <p:sldLayoutId id="2147489789" r:id="rId53"/>
    <p:sldLayoutId id="2147489790" r:id="rId54"/>
    <p:sldLayoutId id="2147489791" r:id="rId55"/>
    <p:sldLayoutId id="2147489792" r:id="rId56"/>
    <p:sldLayoutId id="2147489793" r:id="rId57"/>
    <p:sldLayoutId id="2147489794" r:id="rId58"/>
    <p:sldLayoutId id="2147489795" r:id="rId59"/>
    <p:sldLayoutId id="2147489796" r:id="rId60"/>
    <p:sldLayoutId id="2147489797" r:id="rId61"/>
    <p:sldLayoutId id="2147489798" r:id="rId62"/>
    <p:sldLayoutId id="2147489799" r:id="rId63"/>
    <p:sldLayoutId id="2147489800" r:id="rId64"/>
    <p:sldLayoutId id="2147489801" r:id="rId65"/>
    <p:sldLayoutId id="2147489802" r:id="rId66"/>
    <p:sldLayoutId id="2147489803" r:id="rId67"/>
    <p:sldLayoutId id="2147489804" r:id="rId68"/>
    <p:sldLayoutId id="2147489805" r:id="rId69"/>
    <p:sldLayoutId id="2147489806" r:id="rId70"/>
    <p:sldLayoutId id="2147489807" r:id="rId71"/>
    <p:sldLayoutId id="2147489808" r:id="rId72"/>
    <p:sldLayoutId id="2147489809" r:id="rId73"/>
    <p:sldLayoutId id="2147489810" r:id="rId74"/>
    <p:sldLayoutId id="2147489811" r:id="rId75"/>
    <p:sldLayoutId id="2147489812" r:id="rId76"/>
    <p:sldLayoutId id="2147489813" r:id="rId77"/>
    <p:sldLayoutId id="2147489814" r:id="rId78"/>
    <p:sldLayoutId id="2147489815" r:id="rId79"/>
    <p:sldLayoutId id="2147489816" r:id="rId80"/>
    <p:sldLayoutId id="2147489817" r:id="rId81"/>
    <p:sldLayoutId id="2147489818" r:id="rId82"/>
    <p:sldLayoutId id="2147489819" r:id="rId83"/>
    <p:sldLayoutId id="2147489820" r:id="rId84"/>
    <p:sldLayoutId id="2147489821" r:id="rId85"/>
    <p:sldLayoutId id="2147489822" r:id="rId86"/>
    <p:sldLayoutId id="2147489823" r:id="rId87"/>
    <p:sldLayoutId id="2147489824" r:id="rId88"/>
    <p:sldLayoutId id="2147489825" r:id="rId89"/>
    <p:sldLayoutId id="2147489826" r:id="rId90"/>
    <p:sldLayoutId id="2147489827" r:id="rId91"/>
    <p:sldLayoutId id="2147489828" r:id="rId92"/>
    <p:sldLayoutId id="2147489829" r:id="rId93"/>
    <p:sldLayoutId id="2147489830" r:id="rId94"/>
    <p:sldLayoutId id="2147489831" r:id="rId95"/>
    <p:sldLayoutId id="2147489832" r:id="rId96"/>
    <p:sldLayoutId id="2147489833" r:id="rId97"/>
    <p:sldLayoutId id="2147489834" r:id="rId98"/>
    <p:sldLayoutId id="2147489835" r:id="rId99"/>
    <p:sldLayoutId id="2147489836" r:id="rId100"/>
    <p:sldLayoutId id="2147489837" r:id="rId101"/>
    <p:sldLayoutId id="2147489838" r:id="rId102"/>
    <p:sldLayoutId id="2147489839" r:id="rId103"/>
    <p:sldLayoutId id="2147489840" r:id="rId104"/>
    <p:sldLayoutId id="2147489841" r:id="rId105"/>
    <p:sldLayoutId id="2147489842" r:id="rId106"/>
    <p:sldLayoutId id="2147489843" r:id="rId107"/>
    <p:sldLayoutId id="2147489844" r:id="rId108"/>
    <p:sldLayoutId id="2147489845" r:id="rId109"/>
    <p:sldLayoutId id="2147489846" r:id="rId110"/>
    <p:sldLayoutId id="2147489847" r:id="rId111"/>
    <p:sldLayoutId id="2147489848" r:id="rId112"/>
    <p:sldLayoutId id="2147489849" r:id="rId113"/>
    <p:sldLayoutId id="2147489850" r:id="rId114"/>
    <p:sldLayoutId id="2147489851" r:id="rId115"/>
    <p:sldLayoutId id="2147489852" r:id="rId116"/>
    <p:sldLayoutId id="2147489853" r:id="rId117"/>
    <p:sldLayoutId id="2147489854" r:id="rId118"/>
    <p:sldLayoutId id="2147489855" r:id="rId119"/>
    <p:sldLayoutId id="2147489856" r:id="rId120"/>
    <p:sldLayoutId id="2147489857" r:id="rId121"/>
    <p:sldLayoutId id="2147489858" r:id="rId122"/>
    <p:sldLayoutId id="2147489859" r:id="rId123"/>
    <p:sldLayoutId id="2147489860" r:id="rId124"/>
    <p:sldLayoutId id="2147489861" r:id="rId125"/>
    <p:sldLayoutId id="2147489862" r:id="rId126"/>
    <p:sldLayoutId id="2147489863" r:id="rId127"/>
    <p:sldLayoutId id="2147489864" r:id="rId128"/>
    <p:sldLayoutId id="2147489865" r:id="rId129"/>
    <p:sldLayoutId id="2147489866" r:id="rId130"/>
    <p:sldLayoutId id="2147489867" r:id="rId131"/>
    <p:sldLayoutId id="2147489868" r:id="rId132"/>
    <p:sldLayoutId id="2147489869" r:id="rId133"/>
    <p:sldLayoutId id="2147489870" r:id="rId134"/>
    <p:sldLayoutId id="2147489871" r:id="rId135"/>
    <p:sldLayoutId id="2147489872" r:id="rId136"/>
    <p:sldLayoutId id="2147489873" r:id="rId137"/>
    <p:sldLayoutId id="2147489874" r:id="rId138"/>
    <p:sldLayoutId id="2147489875" r:id="rId139"/>
    <p:sldLayoutId id="2147489876" r:id="rId140"/>
    <p:sldLayoutId id="2147489877" r:id="rId141"/>
    <p:sldLayoutId id="2147489878" r:id="rId142"/>
    <p:sldLayoutId id="2147489879" r:id="rId143"/>
    <p:sldLayoutId id="2147489880" r:id="rId144"/>
    <p:sldLayoutId id="2147489881" r:id="rId145"/>
    <p:sldLayoutId id="2147489882" r:id="rId146"/>
    <p:sldLayoutId id="2147489883" r:id="rId147"/>
    <p:sldLayoutId id="2147489884" r:id="rId148"/>
    <p:sldLayoutId id="2147489885" r:id="rId149"/>
    <p:sldLayoutId id="2147489886" r:id="rId150"/>
    <p:sldLayoutId id="2147489887" r:id="rId151"/>
    <p:sldLayoutId id="2147489888" r:id="rId152"/>
    <p:sldLayoutId id="2147489889" r:id="rId153"/>
    <p:sldLayoutId id="2147489890" r:id="rId154"/>
    <p:sldLayoutId id="2147489891" r:id="rId155"/>
    <p:sldLayoutId id="2147489892" r:id="rId156"/>
    <p:sldLayoutId id="2147489893" r:id="rId157"/>
    <p:sldLayoutId id="2147489894" r:id="rId158"/>
    <p:sldLayoutId id="2147489895" r:id="rId159"/>
    <p:sldLayoutId id="2147489896" r:id="rId160"/>
    <p:sldLayoutId id="2147489897" r:id="rId161"/>
    <p:sldLayoutId id="2147489898" r:id="rId162"/>
    <p:sldLayoutId id="2147489899" r:id="rId163"/>
    <p:sldLayoutId id="2147489900" r:id="rId164"/>
    <p:sldLayoutId id="2147489901" r:id="rId165"/>
    <p:sldLayoutId id="2147489902" r:id="rId166"/>
    <p:sldLayoutId id="2147489903" r:id="rId167"/>
    <p:sldLayoutId id="2147489904" r:id="rId168"/>
    <p:sldLayoutId id="2147489905" r:id="rId169"/>
    <p:sldLayoutId id="2147489906" r:id="rId170"/>
    <p:sldLayoutId id="2147489907" r:id="rId171"/>
    <p:sldLayoutId id="2147489908" r:id="rId172"/>
    <p:sldLayoutId id="2147489909" r:id="rId173"/>
    <p:sldLayoutId id="2147489910" r:id="rId174"/>
    <p:sldLayoutId id="2147489911" r:id="rId175"/>
    <p:sldLayoutId id="2147489912" r:id="rId176"/>
    <p:sldLayoutId id="2147489913" r:id="rId177"/>
    <p:sldLayoutId id="2147489914" r:id="rId178"/>
    <p:sldLayoutId id="2147489915" r:id="rId179"/>
    <p:sldLayoutId id="2147489916" r:id="rId180"/>
    <p:sldLayoutId id="2147489917" r:id="rId181"/>
    <p:sldLayoutId id="2147489918" r:id="rId182"/>
    <p:sldLayoutId id="2147489919" r:id="rId183"/>
    <p:sldLayoutId id="2147489920" r:id="rId184"/>
    <p:sldLayoutId id="2147489921" r:id="rId185"/>
    <p:sldLayoutId id="2147489922" r:id="rId186"/>
    <p:sldLayoutId id="2147489923" r:id="rId187"/>
    <p:sldLayoutId id="2147489924" r:id="rId188"/>
    <p:sldLayoutId id="2147489925" r:id="rId189"/>
    <p:sldLayoutId id="2147489926" r:id="rId190"/>
    <p:sldLayoutId id="2147489927" r:id="rId191"/>
    <p:sldLayoutId id="2147489928" r:id="rId192"/>
    <p:sldLayoutId id="2147489929" r:id="rId193"/>
    <p:sldLayoutId id="2147489930" r:id="rId194"/>
    <p:sldLayoutId id="2147489931" r:id="rId195"/>
    <p:sldLayoutId id="2147489932" r:id="rId196"/>
    <p:sldLayoutId id="2147489933" r:id="rId197"/>
    <p:sldLayoutId id="2147489934" r:id="rId198"/>
    <p:sldLayoutId id="2147489935" r:id="rId199"/>
    <p:sldLayoutId id="2147489936" r:id="rId200"/>
    <p:sldLayoutId id="2147489937" r:id="rId201"/>
    <p:sldLayoutId id="2147489938" r:id="rId202"/>
    <p:sldLayoutId id="2147489939" r:id="rId203"/>
    <p:sldLayoutId id="2147489940" r:id="rId204"/>
    <p:sldLayoutId id="2147489941" r:id="rId205"/>
    <p:sldLayoutId id="2147489942" r:id="rId206"/>
    <p:sldLayoutId id="2147489943" r:id="rId207"/>
    <p:sldLayoutId id="2147489944" r:id="rId208"/>
    <p:sldLayoutId id="2147489945" r:id="rId209"/>
    <p:sldLayoutId id="2147489946" r:id="rId210"/>
    <p:sldLayoutId id="2147489947" r:id="rId211"/>
    <p:sldLayoutId id="2147489948" r:id="rId212"/>
    <p:sldLayoutId id="2147489949" r:id="rId213"/>
    <p:sldLayoutId id="2147489950" r:id="rId214"/>
    <p:sldLayoutId id="2147489951" r:id="rId215"/>
    <p:sldLayoutId id="2147489952" r:id="rId216"/>
    <p:sldLayoutId id="2147489953" r:id="rId217"/>
    <p:sldLayoutId id="2147489954" r:id="rId218"/>
    <p:sldLayoutId id="2147489955" r:id="rId219"/>
    <p:sldLayoutId id="2147489956" r:id="rId220"/>
    <p:sldLayoutId id="2147489957" r:id="rId221"/>
    <p:sldLayoutId id="2147489958" r:id="rId222"/>
    <p:sldLayoutId id="2147489959" r:id="rId223"/>
    <p:sldLayoutId id="2147489960" r:id="rId224"/>
    <p:sldLayoutId id="2147489961" r:id="rId225"/>
    <p:sldLayoutId id="2147489962" r:id="rId226"/>
    <p:sldLayoutId id="2147489963" r:id="rId227"/>
    <p:sldLayoutId id="2147489964" r:id="rId228"/>
    <p:sldLayoutId id="2147489965" r:id="rId229"/>
    <p:sldLayoutId id="2147489966" r:id="rId230"/>
    <p:sldLayoutId id="2147489967" r:id="rId231"/>
    <p:sldLayoutId id="2147489968" r:id="rId232"/>
    <p:sldLayoutId id="2147489969" r:id="rId233"/>
    <p:sldLayoutId id="2147489970" r:id="rId234"/>
    <p:sldLayoutId id="2147489971" r:id="rId235"/>
    <p:sldLayoutId id="2147489972" r:id="rId236"/>
    <p:sldLayoutId id="2147489973" r:id="rId237"/>
    <p:sldLayoutId id="2147489974" r:id="rId238"/>
    <p:sldLayoutId id="2147489975" r:id="rId239"/>
    <p:sldLayoutId id="2147489976" r:id="rId240"/>
    <p:sldLayoutId id="2147489977" r:id="rId241"/>
    <p:sldLayoutId id="2147489978" r:id="rId242"/>
    <p:sldLayoutId id="2147489979" r:id="rId243"/>
    <p:sldLayoutId id="2147489980" r:id="rId244"/>
    <p:sldLayoutId id="2147489981" r:id="rId245"/>
    <p:sldLayoutId id="2147489982" r:id="rId246"/>
    <p:sldLayoutId id="2147489983" r:id="rId247"/>
    <p:sldLayoutId id="2147489984" r:id="rId248"/>
    <p:sldLayoutId id="2147489985" r:id="rId249"/>
    <p:sldLayoutId id="2147489986" r:id="rId250"/>
    <p:sldLayoutId id="2147489987" r:id="rId251"/>
    <p:sldLayoutId id="2147489988" r:id="rId252"/>
    <p:sldLayoutId id="2147489989" r:id="rId253"/>
    <p:sldLayoutId id="2147489990" r:id="rId254"/>
    <p:sldLayoutId id="2147489991" r:id="rId255"/>
    <p:sldLayoutId id="2147489992" r:id="rId256"/>
    <p:sldLayoutId id="2147489993" r:id="rId257"/>
    <p:sldLayoutId id="2147489994" r:id="rId258"/>
    <p:sldLayoutId id="2147489995" r:id="rId259"/>
    <p:sldLayoutId id="2147489996" r:id="rId260"/>
    <p:sldLayoutId id="2147489997" r:id="rId261"/>
    <p:sldLayoutId id="2147489998" r:id="rId262"/>
    <p:sldLayoutId id="2147489999" r:id="rId263"/>
    <p:sldLayoutId id="2147490000" r:id="rId264"/>
    <p:sldLayoutId id="2147490001" r:id="rId265"/>
    <p:sldLayoutId id="2147490002" r:id="rId266"/>
    <p:sldLayoutId id="2147490003" r:id="rId267"/>
    <p:sldLayoutId id="2147490004" r:id="rId268"/>
    <p:sldLayoutId id="2147490005" r:id="rId269"/>
    <p:sldLayoutId id="2147490006" r:id="rId270"/>
    <p:sldLayoutId id="2147490007" r:id="rId271"/>
    <p:sldLayoutId id="2147490008" r:id="rId272"/>
    <p:sldLayoutId id="2147490009" r:id="rId273"/>
    <p:sldLayoutId id="2147490010" r:id="rId274"/>
    <p:sldLayoutId id="2147490011" r:id="rId275"/>
    <p:sldLayoutId id="2147490012" r:id="rId276"/>
    <p:sldLayoutId id="2147490013" r:id="rId277"/>
    <p:sldLayoutId id="2147490014" r:id="rId278"/>
    <p:sldLayoutId id="2147490015" r:id="rId279"/>
    <p:sldLayoutId id="2147490016" r:id="rId280"/>
    <p:sldLayoutId id="2147490017" r:id="rId281"/>
    <p:sldLayoutId id="2147490018" r:id="rId282"/>
    <p:sldLayoutId id="2147490019" r:id="rId283"/>
    <p:sldLayoutId id="2147490020" r:id="rId284"/>
    <p:sldLayoutId id="2147490021" r:id="rId285"/>
    <p:sldLayoutId id="2147490022" r:id="rId28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8978175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90024" r:id="rId1"/>
    <p:sldLayoutId id="2147490025" r:id="rId2"/>
    <p:sldLayoutId id="2147490027" r:id="rId3"/>
    <p:sldLayoutId id="2147490028" r:id="rId4"/>
    <p:sldLayoutId id="2147490029" r:id="rId5"/>
    <p:sldLayoutId id="2147490030" r:id="rId6"/>
    <p:sldLayoutId id="2147490031" r:id="rId7"/>
    <p:sldLayoutId id="2147490032" r:id="rId8"/>
    <p:sldLayoutId id="2147490033" r:id="rId9"/>
    <p:sldLayoutId id="2147490034" r:id="rId10"/>
    <p:sldLayoutId id="2147490035" r:id="rId11"/>
    <p:sldLayoutId id="2147490036" r:id="rId12"/>
    <p:sldLayoutId id="2147490037" r:id="rId13"/>
    <p:sldLayoutId id="2147490038" r:id="rId14"/>
    <p:sldLayoutId id="2147490040" r:id="rId15"/>
    <p:sldLayoutId id="2147490041" r:id="rId16"/>
    <p:sldLayoutId id="2147490042" r:id="rId17"/>
    <p:sldLayoutId id="2147490043" r:id="rId18"/>
    <p:sldLayoutId id="2147490044" r:id="rId19"/>
    <p:sldLayoutId id="2147490045" r:id="rId20"/>
    <p:sldLayoutId id="2147490046" r:id="rId21"/>
    <p:sldLayoutId id="2147490047" r:id="rId22"/>
    <p:sldLayoutId id="2147490048" r:id="rId23"/>
    <p:sldLayoutId id="2147490049" r:id="rId24"/>
    <p:sldLayoutId id="2147490050" r:id="rId25"/>
    <p:sldLayoutId id="2147490051" r:id="rId26"/>
    <p:sldLayoutId id="2147490052" r:id="rId27"/>
    <p:sldLayoutId id="2147490053" r:id="rId28"/>
    <p:sldLayoutId id="2147490054" r:id="rId29"/>
    <p:sldLayoutId id="2147490055" r:id="rId30"/>
    <p:sldLayoutId id="2147490056" r:id="rId31"/>
    <p:sldLayoutId id="2147490057" r:id="rId32"/>
    <p:sldLayoutId id="2147490058" r:id="rId33"/>
    <p:sldLayoutId id="2147490059" r:id="rId34"/>
    <p:sldLayoutId id="2147490060" r:id="rId35"/>
    <p:sldLayoutId id="2147490061" r:id="rId36"/>
    <p:sldLayoutId id="2147490062" r:id="rId37"/>
    <p:sldLayoutId id="2147490063" r:id="rId38"/>
    <p:sldLayoutId id="2147490064" r:id="rId39"/>
    <p:sldLayoutId id="2147490065" r:id="rId40"/>
    <p:sldLayoutId id="2147490066" r:id="rId41"/>
    <p:sldLayoutId id="2147490067" r:id="rId42"/>
    <p:sldLayoutId id="2147490068" r:id="rId43"/>
    <p:sldLayoutId id="2147490069" r:id="rId44"/>
    <p:sldLayoutId id="2147490070" r:id="rId45"/>
    <p:sldLayoutId id="2147490071" r:id="rId46"/>
    <p:sldLayoutId id="2147490072" r:id="rId47"/>
    <p:sldLayoutId id="2147490073" r:id="rId48"/>
    <p:sldLayoutId id="2147490074" r:id="rId49"/>
    <p:sldLayoutId id="2147490075" r:id="rId50"/>
    <p:sldLayoutId id="2147490076" r:id="rId51"/>
    <p:sldLayoutId id="2147490077" r:id="rId52"/>
    <p:sldLayoutId id="2147490078" r:id="rId53"/>
    <p:sldLayoutId id="2147490079" r:id="rId54"/>
    <p:sldLayoutId id="2147490080" r:id="rId55"/>
    <p:sldLayoutId id="2147490081" r:id="rId56"/>
    <p:sldLayoutId id="2147490082" r:id="rId57"/>
    <p:sldLayoutId id="2147490083" r:id="rId58"/>
    <p:sldLayoutId id="2147490084" r:id="rId59"/>
    <p:sldLayoutId id="2147490085" r:id="rId60"/>
    <p:sldLayoutId id="2147490086" r:id="rId61"/>
    <p:sldLayoutId id="2147490087" r:id="rId62"/>
    <p:sldLayoutId id="2147490088" r:id="rId63"/>
    <p:sldLayoutId id="2147490089" r:id="rId64"/>
    <p:sldLayoutId id="2147490090" r:id="rId65"/>
    <p:sldLayoutId id="2147490091" r:id="rId66"/>
    <p:sldLayoutId id="2147490092" r:id="rId67"/>
    <p:sldLayoutId id="2147490093" r:id="rId68"/>
    <p:sldLayoutId id="2147490094" r:id="rId69"/>
    <p:sldLayoutId id="2147490095" r:id="rId70"/>
    <p:sldLayoutId id="2147490096" r:id="rId71"/>
    <p:sldLayoutId id="2147490097" r:id="rId72"/>
    <p:sldLayoutId id="2147490098" r:id="rId73"/>
    <p:sldLayoutId id="2147490099" r:id="rId74"/>
    <p:sldLayoutId id="2147490100" r:id="rId75"/>
    <p:sldLayoutId id="2147490101" r:id="rId76"/>
    <p:sldLayoutId id="2147490102" r:id="rId77"/>
    <p:sldLayoutId id="2147490103" r:id="rId78"/>
    <p:sldLayoutId id="2147490104" r:id="rId79"/>
    <p:sldLayoutId id="2147490105" r:id="rId80"/>
    <p:sldLayoutId id="2147490106" r:id="rId81"/>
    <p:sldLayoutId id="2147490107" r:id="rId82"/>
    <p:sldLayoutId id="2147490108" r:id="rId83"/>
    <p:sldLayoutId id="2147490109" r:id="rId84"/>
    <p:sldLayoutId id="2147490110" r:id="rId85"/>
    <p:sldLayoutId id="2147490111" r:id="rId86"/>
    <p:sldLayoutId id="2147490112" r:id="rId87"/>
    <p:sldLayoutId id="2147490113" r:id="rId88"/>
    <p:sldLayoutId id="2147490114" r:id="rId89"/>
    <p:sldLayoutId id="2147490115" r:id="rId90"/>
    <p:sldLayoutId id="2147490116" r:id="rId91"/>
    <p:sldLayoutId id="2147490117" r:id="rId92"/>
    <p:sldLayoutId id="2147490118" r:id="rId93"/>
    <p:sldLayoutId id="2147490119" r:id="rId94"/>
    <p:sldLayoutId id="2147490120" r:id="rId95"/>
    <p:sldLayoutId id="2147490121" r:id="rId96"/>
    <p:sldLayoutId id="2147490122" r:id="rId97"/>
    <p:sldLayoutId id="2147490123" r:id="rId98"/>
    <p:sldLayoutId id="2147490124" r:id="rId99"/>
    <p:sldLayoutId id="2147490125" r:id="rId100"/>
    <p:sldLayoutId id="2147490126" r:id="rId101"/>
    <p:sldLayoutId id="2147490127" r:id="rId102"/>
    <p:sldLayoutId id="2147490128" r:id="rId103"/>
    <p:sldLayoutId id="2147490129" r:id="rId104"/>
    <p:sldLayoutId id="2147490130" r:id="rId105"/>
    <p:sldLayoutId id="2147490131" r:id="rId106"/>
    <p:sldLayoutId id="2147490132" r:id="rId107"/>
    <p:sldLayoutId id="2147490133" r:id="rId108"/>
    <p:sldLayoutId id="2147490134" r:id="rId109"/>
    <p:sldLayoutId id="2147490135" r:id="rId110"/>
    <p:sldLayoutId id="2147490136" r:id="rId111"/>
    <p:sldLayoutId id="2147490137" r:id="rId112"/>
    <p:sldLayoutId id="2147490138" r:id="rId113"/>
    <p:sldLayoutId id="2147490139" r:id="rId114"/>
    <p:sldLayoutId id="2147490140" r:id="rId115"/>
    <p:sldLayoutId id="2147490141" r:id="rId116"/>
    <p:sldLayoutId id="2147490142" r:id="rId117"/>
    <p:sldLayoutId id="2147490143" r:id="rId118"/>
    <p:sldLayoutId id="2147490144" r:id="rId119"/>
    <p:sldLayoutId id="2147490145" r:id="rId120"/>
    <p:sldLayoutId id="2147490146" r:id="rId121"/>
    <p:sldLayoutId id="2147490147" r:id="rId122"/>
    <p:sldLayoutId id="2147490148" r:id="rId123"/>
    <p:sldLayoutId id="2147490149" r:id="rId124"/>
    <p:sldLayoutId id="2147490150" r:id="rId125"/>
    <p:sldLayoutId id="2147490151" r:id="rId126"/>
    <p:sldLayoutId id="2147490152" r:id="rId127"/>
    <p:sldLayoutId id="2147490153" r:id="rId128"/>
    <p:sldLayoutId id="2147490154" r:id="rId129"/>
    <p:sldLayoutId id="2147490155" r:id="rId130"/>
    <p:sldLayoutId id="2147490156" r:id="rId131"/>
    <p:sldLayoutId id="2147490157" r:id="rId132"/>
    <p:sldLayoutId id="2147490158" r:id="rId133"/>
    <p:sldLayoutId id="2147490159" r:id="rId134"/>
    <p:sldLayoutId id="2147490160" r:id="rId135"/>
    <p:sldLayoutId id="2147490161" r:id="rId136"/>
    <p:sldLayoutId id="2147490162" r:id="rId137"/>
    <p:sldLayoutId id="2147490163" r:id="rId138"/>
    <p:sldLayoutId id="2147490164" r:id="rId139"/>
    <p:sldLayoutId id="2147490165" r:id="rId140"/>
    <p:sldLayoutId id="2147490166" r:id="rId141"/>
    <p:sldLayoutId id="2147490167" r:id="rId142"/>
    <p:sldLayoutId id="2147490168" r:id="rId143"/>
    <p:sldLayoutId id="2147490169" r:id="rId144"/>
    <p:sldLayoutId id="2147490170" r:id="rId145"/>
    <p:sldLayoutId id="2147490171" r:id="rId146"/>
    <p:sldLayoutId id="2147490172" r:id="rId147"/>
    <p:sldLayoutId id="2147490173" r:id="rId148"/>
    <p:sldLayoutId id="2147490174" r:id="rId149"/>
    <p:sldLayoutId id="2147490175" r:id="rId150"/>
    <p:sldLayoutId id="2147490176" r:id="rId151"/>
    <p:sldLayoutId id="2147490177" r:id="rId152"/>
    <p:sldLayoutId id="2147490178" r:id="rId153"/>
    <p:sldLayoutId id="2147490179" r:id="rId154"/>
    <p:sldLayoutId id="2147490180" r:id="rId155"/>
    <p:sldLayoutId id="2147490181" r:id="rId156"/>
    <p:sldLayoutId id="2147490182" r:id="rId157"/>
    <p:sldLayoutId id="2147490183" r:id="rId158"/>
    <p:sldLayoutId id="2147490184" r:id="rId159"/>
    <p:sldLayoutId id="2147490185" r:id="rId160"/>
    <p:sldLayoutId id="2147490186" r:id="rId161"/>
    <p:sldLayoutId id="2147490187" r:id="rId162"/>
    <p:sldLayoutId id="2147490188" r:id="rId163"/>
    <p:sldLayoutId id="2147490189" r:id="rId164"/>
    <p:sldLayoutId id="2147490190" r:id="rId165"/>
    <p:sldLayoutId id="2147490191" r:id="rId166"/>
    <p:sldLayoutId id="2147490192" r:id="rId167"/>
    <p:sldLayoutId id="2147490193" r:id="rId168"/>
    <p:sldLayoutId id="2147490194" r:id="rId169"/>
    <p:sldLayoutId id="2147490195" r:id="rId170"/>
    <p:sldLayoutId id="2147490196" r:id="rId171"/>
    <p:sldLayoutId id="2147490197" r:id="rId172"/>
    <p:sldLayoutId id="2147490198" r:id="rId173"/>
    <p:sldLayoutId id="2147490199" r:id="rId174"/>
    <p:sldLayoutId id="2147490200" r:id="rId175"/>
    <p:sldLayoutId id="2147490201" r:id="rId176"/>
    <p:sldLayoutId id="2147490202" r:id="rId177"/>
    <p:sldLayoutId id="2147490203" r:id="rId178"/>
    <p:sldLayoutId id="2147490204" r:id="rId179"/>
    <p:sldLayoutId id="2147490205" r:id="rId180"/>
    <p:sldLayoutId id="2147490206" r:id="rId181"/>
    <p:sldLayoutId id="2147490207" r:id="rId182"/>
    <p:sldLayoutId id="2147490208" r:id="rId183"/>
    <p:sldLayoutId id="2147490209" r:id="rId184"/>
    <p:sldLayoutId id="2147490210" r:id="rId185"/>
    <p:sldLayoutId id="2147490211" r:id="rId186"/>
    <p:sldLayoutId id="2147490212" r:id="rId187"/>
    <p:sldLayoutId id="2147490213" r:id="rId188"/>
    <p:sldLayoutId id="2147490214" r:id="rId189"/>
    <p:sldLayoutId id="2147490215" r:id="rId190"/>
    <p:sldLayoutId id="2147490216" r:id="rId191"/>
    <p:sldLayoutId id="2147490217" r:id="rId192"/>
    <p:sldLayoutId id="2147490218" r:id="rId193"/>
    <p:sldLayoutId id="2147490219" r:id="rId194"/>
    <p:sldLayoutId id="2147490220" r:id="rId195"/>
    <p:sldLayoutId id="2147490221" r:id="rId196"/>
    <p:sldLayoutId id="2147490222" r:id="rId197"/>
    <p:sldLayoutId id="2147490223" r:id="rId198"/>
    <p:sldLayoutId id="2147490224" r:id="rId199"/>
    <p:sldLayoutId id="2147490225" r:id="rId200"/>
    <p:sldLayoutId id="2147490226" r:id="rId201"/>
    <p:sldLayoutId id="2147490227" r:id="rId202"/>
    <p:sldLayoutId id="2147490228" r:id="rId203"/>
    <p:sldLayoutId id="2147490229" r:id="rId204"/>
    <p:sldLayoutId id="2147490230" r:id="rId205"/>
    <p:sldLayoutId id="2147490231" r:id="rId206"/>
    <p:sldLayoutId id="2147490232" r:id="rId207"/>
    <p:sldLayoutId id="2147490233" r:id="rId208"/>
    <p:sldLayoutId id="2147490234" r:id="rId209"/>
    <p:sldLayoutId id="2147490235" r:id="rId210"/>
    <p:sldLayoutId id="2147490236" r:id="rId211"/>
    <p:sldLayoutId id="2147490237" r:id="rId212"/>
    <p:sldLayoutId id="2147490238" r:id="rId213"/>
    <p:sldLayoutId id="2147490239" r:id="rId214"/>
    <p:sldLayoutId id="2147490240" r:id="rId215"/>
    <p:sldLayoutId id="2147490241" r:id="rId216"/>
    <p:sldLayoutId id="2147490242" r:id="rId217"/>
    <p:sldLayoutId id="2147490243" r:id="rId218"/>
    <p:sldLayoutId id="2147490244" r:id="rId219"/>
    <p:sldLayoutId id="2147490245" r:id="rId220"/>
    <p:sldLayoutId id="2147490246" r:id="rId221"/>
    <p:sldLayoutId id="2147490247" r:id="rId222"/>
    <p:sldLayoutId id="2147490248" r:id="rId223"/>
    <p:sldLayoutId id="2147490249" r:id="rId224"/>
    <p:sldLayoutId id="2147490250" r:id="rId225"/>
    <p:sldLayoutId id="2147490251" r:id="rId226"/>
    <p:sldLayoutId id="2147490252" r:id="rId227"/>
    <p:sldLayoutId id="2147490253" r:id="rId228"/>
    <p:sldLayoutId id="2147490254" r:id="rId229"/>
    <p:sldLayoutId id="2147490255" r:id="rId230"/>
    <p:sldLayoutId id="2147490256" r:id="rId231"/>
    <p:sldLayoutId id="2147490257" r:id="rId232"/>
    <p:sldLayoutId id="2147490258" r:id="rId233"/>
    <p:sldLayoutId id="2147490259" r:id="rId234"/>
    <p:sldLayoutId id="2147490260" r:id="rId235"/>
    <p:sldLayoutId id="2147490261" r:id="rId236"/>
    <p:sldLayoutId id="2147490262" r:id="rId237"/>
    <p:sldLayoutId id="2147490263" r:id="rId238"/>
    <p:sldLayoutId id="2147490264" r:id="rId239"/>
    <p:sldLayoutId id="2147490265" r:id="rId240"/>
    <p:sldLayoutId id="2147490266" r:id="rId241"/>
    <p:sldLayoutId id="2147490267" r:id="rId242"/>
    <p:sldLayoutId id="2147490268" r:id="rId243"/>
    <p:sldLayoutId id="2147490269" r:id="rId244"/>
    <p:sldLayoutId id="2147490270" r:id="rId245"/>
    <p:sldLayoutId id="2147490271" r:id="rId246"/>
    <p:sldLayoutId id="2147490272" r:id="rId247"/>
    <p:sldLayoutId id="2147490273" r:id="rId248"/>
    <p:sldLayoutId id="2147490274" r:id="rId249"/>
    <p:sldLayoutId id="2147490275" r:id="rId250"/>
    <p:sldLayoutId id="2147490276" r:id="rId251"/>
    <p:sldLayoutId id="2147490277" r:id="rId252"/>
    <p:sldLayoutId id="2147490278" r:id="rId253"/>
    <p:sldLayoutId id="2147490279" r:id="rId254"/>
    <p:sldLayoutId id="2147490280" r:id="rId255"/>
    <p:sldLayoutId id="2147490281" r:id="rId256"/>
    <p:sldLayoutId id="2147490282" r:id="rId257"/>
    <p:sldLayoutId id="2147490283" r:id="rId258"/>
    <p:sldLayoutId id="2147490284" r:id="rId259"/>
    <p:sldLayoutId id="2147490285" r:id="rId260"/>
    <p:sldLayoutId id="2147490286" r:id="rId261"/>
    <p:sldLayoutId id="2147490287" r:id="rId262"/>
    <p:sldLayoutId id="2147490288" r:id="rId263"/>
    <p:sldLayoutId id="2147490289" r:id="rId264"/>
    <p:sldLayoutId id="2147490290" r:id="rId265"/>
    <p:sldLayoutId id="2147490291" r:id="rId266"/>
    <p:sldLayoutId id="2147490292" r:id="rId267"/>
    <p:sldLayoutId id="2147490293" r:id="rId268"/>
    <p:sldLayoutId id="2147490294" r:id="rId269"/>
    <p:sldLayoutId id="2147490295" r:id="rId270"/>
    <p:sldLayoutId id="2147490296" r:id="rId271"/>
    <p:sldLayoutId id="2147490297" r:id="rId272"/>
    <p:sldLayoutId id="2147490298" r:id="rId273"/>
    <p:sldLayoutId id="2147490299" r:id="rId274"/>
    <p:sldLayoutId id="2147490300" r:id="rId275"/>
    <p:sldLayoutId id="2147490301" r:id="rId276"/>
    <p:sldLayoutId id="2147490302" r:id="rId277"/>
    <p:sldLayoutId id="2147490303" r:id="rId278"/>
    <p:sldLayoutId id="2147490304" r:id="rId279"/>
    <p:sldLayoutId id="2147490305" r:id="rId280"/>
    <p:sldLayoutId id="2147490306" r:id="rId281"/>
    <p:sldLayoutId id="2147490307" r:id="rId282"/>
    <p:sldLayoutId id="2147490308" r:id="rId283"/>
    <p:sldLayoutId id="2147490309" r:id="rId284"/>
    <p:sldLayoutId id="2147490310" r:id="rId285"/>
    <p:sldLayoutId id="2147490311" r:id="rId28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4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95" name="Google Shape;2495;p25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2496" name="Google Shape;2496;p25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97" name="Google Shape;2497;p25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1200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98" name="Google Shape;2498;p25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919497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7660" r:id="rId1"/>
    <p:sldLayoutId id="2147487662" r:id="rId2"/>
    <p:sldLayoutId id="2147487663" r:id="rId3"/>
    <p:sldLayoutId id="2147487664" r:id="rId4"/>
    <p:sldLayoutId id="2147487665" r:id="rId5"/>
    <p:sldLayoutId id="2147487666" r:id="rId6"/>
    <p:sldLayoutId id="2147487667" r:id="rId7"/>
    <p:sldLayoutId id="2147487668" r:id="rId8"/>
    <p:sldLayoutId id="2147487670" r:id="rId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72615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313" r:id="rId1"/>
    <p:sldLayoutId id="2147490314" r:id="rId2"/>
    <p:sldLayoutId id="2147490315" r:id="rId3"/>
    <p:sldLayoutId id="2147490317" r:id="rId4"/>
    <p:sldLayoutId id="2147490318" r:id="rId5"/>
    <p:sldLayoutId id="2147490319" r:id="rId6"/>
    <p:sldLayoutId id="2147490320" r:id="rId7"/>
    <p:sldLayoutId id="2147490323" r:id="rId8"/>
    <p:sldLayoutId id="2147490324" r:id="rId9"/>
    <p:sldLayoutId id="2147490325" r:id="rId10"/>
    <p:sldLayoutId id="2147490326" r:id="rId11"/>
    <p:sldLayoutId id="2147490327" r:id="rId12"/>
    <p:sldLayoutId id="2147490328" r:id="rId13"/>
    <p:sldLayoutId id="2147490329" r:id="rId14"/>
    <p:sldLayoutId id="2147490330" r:id="rId15"/>
    <p:sldLayoutId id="2147490331" r:id="rId16"/>
    <p:sldLayoutId id="2147490332" r:id="rId17"/>
    <p:sldLayoutId id="2147490333" r:id="rId18"/>
    <p:sldLayoutId id="2147490335" r:id="rId19"/>
    <p:sldLayoutId id="2147490336" r:id="rId20"/>
    <p:sldLayoutId id="2147490337" r:id="rId21"/>
    <p:sldLayoutId id="2147490338" r:id="rId22"/>
    <p:sldLayoutId id="2147490339" r:id="rId23"/>
    <p:sldLayoutId id="2147490340" r:id="rId24"/>
    <p:sldLayoutId id="2147490342" r:id="rId25"/>
    <p:sldLayoutId id="2147490343" r:id="rId26"/>
    <p:sldLayoutId id="2147490344" r:id="rId27"/>
    <p:sldLayoutId id="2147490345" r:id="rId28"/>
    <p:sldLayoutId id="2147490346" r:id="rId29"/>
    <p:sldLayoutId id="2147490347" r:id="rId30"/>
    <p:sldLayoutId id="2147490348" r:id="rId31"/>
    <p:sldLayoutId id="2147490349" r:id="rId32"/>
    <p:sldLayoutId id="2147490350" r:id="rId33"/>
    <p:sldLayoutId id="2147490351" r:id="rId34"/>
    <p:sldLayoutId id="2147490352" r:id="rId35"/>
    <p:sldLayoutId id="2147490353" r:id="rId36"/>
    <p:sldLayoutId id="2147490354" r:id="rId37"/>
    <p:sldLayoutId id="2147490355" r:id="rId38"/>
    <p:sldLayoutId id="2147490356" r:id="rId39"/>
    <p:sldLayoutId id="2147490357" r:id="rId40"/>
    <p:sldLayoutId id="2147490358" r:id="rId41"/>
    <p:sldLayoutId id="2147490359" r:id="rId42"/>
    <p:sldLayoutId id="2147490360" r:id="rId43"/>
    <p:sldLayoutId id="2147490361" r:id="rId44"/>
    <p:sldLayoutId id="2147490362" r:id="rId45"/>
    <p:sldLayoutId id="2147490363" r:id="rId46"/>
    <p:sldLayoutId id="2147490364" r:id="rId47"/>
    <p:sldLayoutId id="2147490365" r:id="rId48"/>
    <p:sldLayoutId id="2147490366" r:id="rId49"/>
    <p:sldLayoutId id="2147490367" r:id="rId50"/>
    <p:sldLayoutId id="2147490369" r:id="rId51"/>
    <p:sldLayoutId id="2147490370" r:id="rId52"/>
    <p:sldLayoutId id="2147490371" r:id="rId53"/>
    <p:sldLayoutId id="2147490372" r:id="rId54"/>
    <p:sldLayoutId id="2147490373" r:id="rId55"/>
    <p:sldLayoutId id="2147490374" r:id="rId56"/>
    <p:sldLayoutId id="2147490375" r:id="rId57"/>
    <p:sldLayoutId id="2147490376" r:id="rId58"/>
    <p:sldLayoutId id="2147490377" r:id="rId59"/>
    <p:sldLayoutId id="2147490378" r:id="rId60"/>
    <p:sldLayoutId id="2147490379" r:id="rId61"/>
    <p:sldLayoutId id="2147490380" r:id="rId62"/>
    <p:sldLayoutId id="2147490381" r:id="rId63"/>
    <p:sldLayoutId id="2147490382" r:id="rId64"/>
    <p:sldLayoutId id="2147490383" r:id="rId65"/>
    <p:sldLayoutId id="2147490384" r:id="rId66"/>
    <p:sldLayoutId id="2147490385" r:id="rId67"/>
    <p:sldLayoutId id="2147490386" r:id="rId68"/>
    <p:sldLayoutId id="2147490387" r:id="rId69"/>
    <p:sldLayoutId id="2147490388" r:id="rId70"/>
    <p:sldLayoutId id="2147490389" r:id="rId71"/>
    <p:sldLayoutId id="2147490390" r:id="rId72"/>
    <p:sldLayoutId id="2147490391" r:id="rId73"/>
    <p:sldLayoutId id="2147490393" r:id="rId74"/>
    <p:sldLayoutId id="2147490394" r:id="rId75"/>
    <p:sldLayoutId id="2147490395" r:id="rId76"/>
    <p:sldLayoutId id="2147490396" r:id="rId77"/>
    <p:sldLayoutId id="2147490397" r:id="rId78"/>
    <p:sldLayoutId id="2147490398" r:id="rId79"/>
    <p:sldLayoutId id="2147490399" r:id="rId80"/>
    <p:sldLayoutId id="2147490400" r:id="rId81"/>
    <p:sldLayoutId id="2147490401" r:id="rId82"/>
    <p:sldLayoutId id="2147490402" r:id="rId83"/>
    <p:sldLayoutId id="2147490403" r:id="rId84"/>
    <p:sldLayoutId id="2147490405" r:id="rId85"/>
    <p:sldLayoutId id="2147490406" r:id="rId86"/>
    <p:sldLayoutId id="2147490407" r:id="rId87"/>
    <p:sldLayoutId id="2147490408" r:id="rId88"/>
    <p:sldLayoutId id="2147490409" r:id="rId89"/>
    <p:sldLayoutId id="2147490410" r:id="rId90"/>
    <p:sldLayoutId id="2147490411" r:id="rId91"/>
    <p:sldLayoutId id="2147490412" r:id="rId92"/>
    <p:sldLayoutId id="2147490413" r:id="rId93"/>
    <p:sldLayoutId id="2147490414" r:id="rId94"/>
    <p:sldLayoutId id="2147490415" r:id="rId95"/>
    <p:sldLayoutId id="2147490416" r:id="rId96"/>
    <p:sldLayoutId id="2147490417" r:id="rId97"/>
    <p:sldLayoutId id="2147490419" r:id="rId98"/>
    <p:sldLayoutId id="2147490420" r:id="rId99"/>
    <p:sldLayoutId id="2147490421" r:id="rId100"/>
    <p:sldLayoutId id="2147490422" r:id="rId101"/>
    <p:sldLayoutId id="2147490423" r:id="rId102"/>
    <p:sldLayoutId id="2147490424" r:id="rId103"/>
    <p:sldLayoutId id="2147490425" r:id="rId104"/>
    <p:sldLayoutId id="2147490426" r:id="rId105"/>
    <p:sldLayoutId id="2147490427" r:id="rId106"/>
    <p:sldLayoutId id="2147490428" r:id="rId107"/>
    <p:sldLayoutId id="2147490429" r:id="rId108"/>
    <p:sldLayoutId id="2147490430" r:id="rId109"/>
    <p:sldLayoutId id="2147490431" r:id="rId110"/>
    <p:sldLayoutId id="2147490432" r:id="rId111"/>
    <p:sldLayoutId id="2147490434" r:id="rId112"/>
    <p:sldLayoutId id="2147490435" r:id="rId113"/>
    <p:sldLayoutId id="2147490436" r:id="rId114"/>
    <p:sldLayoutId id="2147490437" r:id="rId115"/>
    <p:sldLayoutId id="2147490438" r:id="rId116"/>
    <p:sldLayoutId id="2147490439" r:id="rId117"/>
    <p:sldLayoutId id="2147490440" r:id="rId118"/>
    <p:sldLayoutId id="2147490441" r:id="rId119"/>
    <p:sldLayoutId id="2147490443" r:id="rId120"/>
    <p:sldLayoutId id="2147490444" r:id="rId121"/>
    <p:sldLayoutId id="2147490445" r:id="rId122"/>
    <p:sldLayoutId id="2147490446" r:id="rId123"/>
    <p:sldLayoutId id="2147490448" r:id="rId124"/>
    <p:sldLayoutId id="2147490449" r:id="rId125"/>
    <p:sldLayoutId id="2147490450" r:id="rId126"/>
    <p:sldLayoutId id="2147490451" r:id="rId127"/>
    <p:sldLayoutId id="2147490452" r:id="rId128"/>
    <p:sldLayoutId id="2147490453" r:id="rId129"/>
    <p:sldLayoutId id="2147490454" r:id="rId130"/>
    <p:sldLayoutId id="2147490455" r:id="rId131"/>
    <p:sldLayoutId id="2147490456" r:id="rId132"/>
    <p:sldLayoutId id="2147490458" r:id="rId133"/>
    <p:sldLayoutId id="2147490459" r:id="rId134"/>
    <p:sldLayoutId id="2147490460" r:id="rId135"/>
    <p:sldLayoutId id="2147490461" r:id="rId136"/>
    <p:sldLayoutId id="2147490462" r:id="rId137"/>
    <p:sldLayoutId id="2147490463" r:id="rId138"/>
    <p:sldLayoutId id="2147490465" r:id="rId139"/>
    <p:sldLayoutId id="2147490466" r:id="rId140"/>
    <p:sldLayoutId id="2147490467" r:id="rId141"/>
    <p:sldLayoutId id="2147490468" r:id="rId142"/>
    <p:sldLayoutId id="2147490469" r:id="rId143"/>
    <p:sldLayoutId id="2147490470" r:id="rId144"/>
    <p:sldLayoutId id="2147490471" r:id="rId145"/>
    <p:sldLayoutId id="2147490472" r:id="rId146"/>
    <p:sldLayoutId id="2147490473" r:id="rId147"/>
    <p:sldLayoutId id="2147490474" r:id="rId148"/>
    <p:sldLayoutId id="2147490475" r:id="rId149"/>
    <p:sldLayoutId id="2147490476" r:id="rId150"/>
    <p:sldLayoutId id="2147490477" r:id="rId151"/>
    <p:sldLayoutId id="2147490478" r:id="rId152"/>
    <p:sldLayoutId id="2147490479" r:id="rId153"/>
    <p:sldLayoutId id="2147490480" r:id="rId154"/>
    <p:sldLayoutId id="2147490481" r:id="rId155"/>
    <p:sldLayoutId id="2147490482" r:id="rId156"/>
    <p:sldLayoutId id="2147490483" r:id="rId157"/>
    <p:sldLayoutId id="2147490484" r:id="rId158"/>
    <p:sldLayoutId id="2147490485" r:id="rId159"/>
    <p:sldLayoutId id="2147490486" r:id="rId160"/>
    <p:sldLayoutId id="2147490487" r:id="rId161"/>
    <p:sldLayoutId id="2147490488" r:id="rId162"/>
    <p:sldLayoutId id="2147490489" r:id="rId163"/>
    <p:sldLayoutId id="2147490490" r:id="rId164"/>
    <p:sldLayoutId id="2147490491" r:id="rId165"/>
    <p:sldLayoutId id="2147490492" r:id="rId166"/>
    <p:sldLayoutId id="2147490493" r:id="rId167"/>
    <p:sldLayoutId id="2147490494" r:id="rId168"/>
    <p:sldLayoutId id="2147490495" r:id="rId169"/>
    <p:sldLayoutId id="2147490496" r:id="rId170"/>
    <p:sldLayoutId id="2147490497" r:id="rId171"/>
    <p:sldLayoutId id="2147490498" r:id="rId172"/>
    <p:sldLayoutId id="2147490499" r:id="rId173"/>
    <p:sldLayoutId id="2147490501" r:id="rId174"/>
    <p:sldLayoutId id="2147490502" r:id="rId175"/>
    <p:sldLayoutId id="2147490503" r:id="rId176"/>
    <p:sldLayoutId id="2147490504" r:id="rId177"/>
    <p:sldLayoutId id="2147490505" r:id="rId178"/>
    <p:sldLayoutId id="2147490506" r:id="rId179"/>
    <p:sldLayoutId id="2147490507" r:id="rId180"/>
    <p:sldLayoutId id="2147490508" r:id="rId181"/>
    <p:sldLayoutId id="2147490509" r:id="rId182"/>
    <p:sldLayoutId id="2147490510" r:id="rId183"/>
    <p:sldLayoutId id="2147490511" r:id="rId184"/>
    <p:sldLayoutId id="2147490512" r:id="rId185"/>
    <p:sldLayoutId id="2147490513" r:id="rId186"/>
    <p:sldLayoutId id="2147490514" r:id="rId187"/>
    <p:sldLayoutId id="2147490515" r:id="rId188"/>
    <p:sldLayoutId id="2147490516" r:id="rId189"/>
    <p:sldLayoutId id="2147490517" r:id="rId190"/>
    <p:sldLayoutId id="2147490519" r:id="rId191"/>
    <p:sldLayoutId id="2147490520" r:id="rId192"/>
    <p:sldLayoutId id="2147490521" r:id="rId193"/>
    <p:sldLayoutId id="2147490522" r:id="rId194"/>
    <p:sldLayoutId id="2147490523" r:id="rId195"/>
    <p:sldLayoutId id="2147490524" r:id="rId196"/>
    <p:sldLayoutId id="2147490525" r:id="rId197"/>
    <p:sldLayoutId id="2147490526" r:id="rId198"/>
    <p:sldLayoutId id="2147490527" r:id="rId199"/>
    <p:sldLayoutId id="2147490528" r:id="rId200"/>
    <p:sldLayoutId id="2147490529" r:id="rId201"/>
    <p:sldLayoutId id="2147490530" r:id="rId202"/>
    <p:sldLayoutId id="2147490531" r:id="rId203"/>
    <p:sldLayoutId id="2147490532" r:id="rId204"/>
    <p:sldLayoutId id="2147490533" r:id="rId205"/>
    <p:sldLayoutId id="2147490534" r:id="rId206"/>
    <p:sldLayoutId id="2147490536" r:id="rId207"/>
    <p:sldLayoutId id="2147490537" r:id="rId208"/>
    <p:sldLayoutId id="2147490538" r:id="rId209"/>
    <p:sldLayoutId id="2147490539" r:id="rId210"/>
    <p:sldLayoutId id="2147490540" r:id="rId211"/>
    <p:sldLayoutId id="2147490541" r:id="rId212"/>
    <p:sldLayoutId id="2147490542" r:id="rId213"/>
    <p:sldLayoutId id="2147490543" r:id="rId214"/>
    <p:sldLayoutId id="2147490544" r:id="rId215"/>
    <p:sldLayoutId id="2147490545" r:id="rId216"/>
    <p:sldLayoutId id="2147490546" r:id="rId217"/>
    <p:sldLayoutId id="2147490547" r:id="rId218"/>
    <p:sldLayoutId id="2147490548" r:id="rId219"/>
    <p:sldLayoutId id="2147490549" r:id="rId220"/>
    <p:sldLayoutId id="2147490550" r:id="rId221"/>
    <p:sldLayoutId id="2147490551" r:id="rId222"/>
    <p:sldLayoutId id="2147490552" r:id="rId223"/>
    <p:sldLayoutId id="2147490553" r:id="rId224"/>
    <p:sldLayoutId id="2147490554" r:id="rId225"/>
    <p:sldLayoutId id="2147490555" r:id="rId226"/>
    <p:sldLayoutId id="2147490556" r:id="rId227"/>
    <p:sldLayoutId id="2147490557" r:id="rId228"/>
    <p:sldLayoutId id="2147490558" r:id="rId229"/>
    <p:sldLayoutId id="2147490559" r:id="rId230"/>
    <p:sldLayoutId id="2147490560" r:id="rId231"/>
    <p:sldLayoutId id="2147490561" r:id="rId232"/>
    <p:sldLayoutId id="2147490562" r:id="rId233"/>
    <p:sldLayoutId id="2147490563" r:id="rId234"/>
    <p:sldLayoutId id="2147490564" r:id="rId235"/>
    <p:sldLayoutId id="2147490566" r:id="rId236"/>
    <p:sldLayoutId id="2147490567" r:id="rId237"/>
    <p:sldLayoutId id="2147490568" r:id="rId238"/>
    <p:sldLayoutId id="2147490569" r:id="rId239"/>
    <p:sldLayoutId id="2147490570" r:id="rId240"/>
    <p:sldLayoutId id="2147490571" r:id="rId241"/>
    <p:sldLayoutId id="2147490572" r:id="rId242"/>
    <p:sldLayoutId id="2147490573" r:id="rId243"/>
    <p:sldLayoutId id="2147490574" r:id="rId244"/>
    <p:sldLayoutId id="2147490575" r:id="rId245"/>
    <p:sldLayoutId id="2147490576" r:id="rId246"/>
    <p:sldLayoutId id="2147490577" r:id="rId247"/>
    <p:sldLayoutId id="2147490578" r:id="rId248"/>
    <p:sldLayoutId id="2147490579" r:id="rId249"/>
    <p:sldLayoutId id="2147490580" r:id="rId250"/>
    <p:sldLayoutId id="2147490581" r:id="rId251"/>
    <p:sldLayoutId id="2147490582" r:id="rId252"/>
    <p:sldLayoutId id="2147490583" r:id="rId253"/>
    <p:sldLayoutId id="2147490584" r:id="rId254"/>
    <p:sldLayoutId id="2147490585" r:id="rId255"/>
    <p:sldLayoutId id="2147490586" r:id="rId256"/>
    <p:sldLayoutId id="2147490587" r:id="rId257"/>
    <p:sldLayoutId id="2147490588" r:id="rId258"/>
    <p:sldLayoutId id="2147490590" r:id="rId259"/>
    <p:sldLayoutId id="2147490591" r:id="rId260"/>
    <p:sldLayoutId id="2147490592" r:id="rId261"/>
    <p:sldLayoutId id="2147490593" r:id="rId262"/>
    <p:sldLayoutId id="2147490594" r:id="rId263"/>
    <p:sldLayoutId id="2147490595" r:id="rId264"/>
    <p:sldLayoutId id="2147490596" r:id="rId265"/>
    <p:sldLayoutId id="2147490597" r:id="rId266"/>
    <p:sldLayoutId id="2147490598" r:id="rId267"/>
    <p:sldLayoutId id="2147490599" r:id="rId268"/>
    <p:sldLayoutId id="2147490600" r:id="rId269"/>
    <p:sldLayoutId id="2147490602" r:id="rId270"/>
    <p:sldLayoutId id="2147490603" r:id="rId271"/>
    <p:sldLayoutId id="2147490604" r:id="rId272"/>
    <p:sldLayoutId id="2147490605" r:id="rId273"/>
    <p:sldLayoutId id="2147490606" r:id="rId274"/>
    <p:sldLayoutId id="2147490607" r:id="rId275"/>
    <p:sldLayoutId id="2147490608" r:id="rId276"/>
    <p:sldLayoutId id="2147490609" r:id="rId277"/>
    <p:sldLayoutId id="2147490610" r:id="rId278"/>
    <p:sldLayoutId id="2147490611" r:id="rId279"/>
    <p:sldLayoutId id="2147490612" r:id="rId280"/>
    <p:sldLayoutId id="2147490613" r:id="rId281"/>
    <p:sldLayoutId id="2147490614" r:id="rId282"/>
    <p:sldLayoutId id="2147490615" r:id="rId283"/>
    <p:sldLayoutId id="2147490617" r:id="rId284"/>
    <p:sldLayoutId id="2147490618" r:id="rId285"/>
    <p:sldLayoutId id="2147490619" r:id="rId286"/>
    <p:sldLayoutId id="2147490620" r:id="rId287"/>
    <p:sldLayoutId id="2147490621" r:id="rId288"/>
    <p:sldLayoutId id="2147490622" r:id="rId289"/>
    <p:sldLayoutId id="2147490629" r:id="rId290"/>
    <p:sldLayoutId id="2147490630" r:id="rId291"/>
    <p:sldLayoutId id="2147490631" r:id="rId292"/>
    <p:sldLayoutId id="2147490633" r:id="rId293"/>
    <p:sldLayoutId id="2147490634" r:id="rId294"/>
    <p:sldLayoutId id="2147490635" r:id="rId295"/>
    <p:sldLayoutId id="2147490636" r:id="rId296"/>
    <p:sldLayoutId id="2147490638" r:id="rId297"/>
    <p:sldLayoutId id="2147490639" r:id="rId298"/>
    <p:sldLayoutId id="2147490640" r:id="rId299"/>
    <p:sldLayoutId id="2147490641" r:id="rId300"/>
    <p:sldLayoutId id="2147490642" r:id="rId301"/>
    <p:sldLayoutId id="2147490643" r:id="rId302"/>
    <p:sldLayoutId id="2147490644" r:id="rId303"/>
    <p:sldLayoutId id="2147490645" r:id="rId304"/>
    <p:sldLayoutId id="2147490647" r:id="rId305"/>
    <p:sldLayoutId id="2147490649" r:id="rId306"/>
    <p:sldLayoutId id="2147490650" r:id="rId307"/>
    <p:sldLayoutId id="2147490651" r:id="rId308"/>
    <p:sldLayoutId id="2147490653" r:id="rId309"/>
    <p:sldLayoutId id="2147490654" r:id="rId310"/>
    <p:sldLayoutId id="2147490655" r:id="rId311"/>
    <p:sldLayoutId id="2147490656" r:id="rId312"/>
    <p:sldLayoutId id="2147490657" r:id="rId313"/>
    <p:sldLayoutId id="2147490658" r:id="rId314"/>
    <p:sldLayoutId id="2147490659" r:id="rId315"/>
    <p:sldLayoutId id="2147490660" r:id="rId316"/>
    <p:sldLayoutId id="2147490661" r:id="rId317"/>
    <p:sldLayoutId id="2147490663" r:id="rId318"/>
    <p:sldLayoutId id="2147490664" r:id="rId319"/>
    <p:sldLayoutId id="2147490665" r:id="rId320"/>
    <p:sldLayoutId id="2147490666" r:id="rId321"/>
    <p:sldLayoutId id="2147490667" r:id="rId322"/>
    <p:sldLayoutId id="2147490668" r:id="rId323"/>
    <p:sldLayoutId id="2147490670" r:id="rId324"/>
    <p:sldLayoutId id="2147490671" r:id="rId325"/>
    <p:sldLayoutId id="2147490672" r:id="rId326"/>
    <p:sldLayoutId id="2147490673" r:id="rId327"/>
    <p:sldLayoutId id="2147490674" r:id="rId328"/>
    <p:sldLayoutId id="2147490675" r:id="rId329"/>
    <p:sldLayoutId id="2147490676" r:id="rId330"/>
    <p:sldLayoutId id="2147490677" r:id="rId331"/>
    <p:sldLayoutId id="2147490678" r:id="rId332"/>
    <p:sldLayoutId id="2147490679" r:id="rId333"/>
    <p:sldLayoutId id="2147490680" r:id="rId334"/>
    <p:sldLayoutId id="2147490681" r:id="rId335"/>
    <p:sldLayoutId id="2147490682" r:id="rId336"/>
    <p:sldLayoutId id="2147490683" r:id="rId337"/>
    <p:sldLayoutId id="2147490684" r:id="rId338"/>
    <p:sldLayoutId id="2147490685" r:id="rId339"/>
    <p:sldLayoutId id="2147490686" r:id="rId340"/>
    <p:sldLayoutId id="2147490687" r:id="rId341"/>
    <p:sldLayoutId id="2147490688" r:id="rId342"/>
    <p:sldLayoutId id="2147490689" r:id="rId343"/>
    <p:sldLayoutId id="2147490690" r:id="rId344"/>
    <p:sldLayoutId id="2147490691" r:id="rId345"/>
    <p:sldLayoutId id="2147490692" r:id="rId346"/>
    <p:sldLayoutId id="2147490693" r:id="rId347"/>
    <p:sldLayoutId id="2147490694" r:id="rId348"/>
    <p:sldLayoutId id="2147490695" r:id="rId349"/>
    <p:sldLayoutId id="2147490696" r:id="rId350"/>
    <p:sldLayoutId id="2147490697" r:id="rId351"/>
    <p:sldLayoutId id="2147490698" r:id="rId352"/>
    <p:sldLayoutId id="2147490699" r:id="rId353"/>
    <p:sldLayoutId id="2147490700" r:id="rId354"/>
    <p:sldLayoutId id="2147490701" r:id="rId355"/>
    <p:sldLayoutId id="2147490702" r:id="rId356"/>
    <p:sldLayoutId id="2147490703" r:id="rId357"/>
    <p:sldLayoutId id="2147490704" r:id="rId358"/>
    <p:sldLayoutId id="2147490705" r:id="rId359"/>
    <p:sldLayoutId id="2147490706" r:id="rId360"/>
    <p:sldLayoutId id="2147490707" r:id="rId361"/>
    <p:sldLayoutId id="2147490708" r:id="rId362"/>
    <p:sldLayoutId id="2147490709" r:id="rId363"/>
    <p:sldLayoutId id="2147490710" r:id="rId364"/>
    <p:sldLayoutId id="2147490711" r:id="rId365"/>
    <p:sldLayoutId id="2147490712" r:id="rId366"/>
    <p:sldLayoutId id="2147490713" r:id="rId367"/>
    <p:sldLayoutId id="2147490714" r:id="rId368"/>
    <p:sldLayoutId id="2147490715" r:id="rId369"/>
    <p:sldLayoutId id="2147490716" r:id="rId370"/>
    <p:sldLayoutId id="2147490717" r:id="rId371"/>
    <p:sldLayoutId id="2147490718" r:id="rId372"/>
    <p:sldLayoutId id="2147490719" r:id="rId373"/>
    <p:sldLayoutId id="2147490720" r:id="rId374"/>
    <p:sldLayoutId id="2147490721" r:id="rId375"/>
    <p:sldLayoutId id="2147490722" r:id="rId376"/>
    <p:sldLayoutId id="2147490723" r:id="rId377"/>
    <p:sldLayoutId id="2147490724" r:id="rId378"/>
    <p:sldLayoutId id="2147490725" r:id="rId379"/>
    <p:sldLayoutId id="2147490726" r:id="rId380"/>
    <p:sldLayoutId id="2147490727" r:id="rId381"/>
    <p:sldLayoutId id="2147490728" r:id="rId382"/>
    <p:sldLayoutId id="2147490729" r:id="rId383"/>
    <p:sldLayoutId id="2147490730" r:id="rId384"/>
    <p:sldLayoutId id="2147490731" r:id="rId385"/>
    <p:sldLayoutId id="2147490732" r:id="rId386"/>
    <p:sldLayoutId id="2147490733" r:id="rId387"/>
    <p:sldLayoutId id="2147490734" r:id="rId388"/>
    <p:sldLayoutId id="2147490735" r:id="rId389"/>
    <p:sldLayoutId id="2147490736" r:id="rId390"/>
    <p:sldLayoutId id="2147490737" r:id="rId391"/>
    <p:sldLayoutId id="2147490738" r:id="rId392"/>
    <p:sldLayoutId id="2147490739" r:id="rId393"/>
    <p:sldLayoutId id="2147490740" r:id="rId394"/>
    <p:sldLayoutId id="2147490741" r:id="rId395"/>
    <p:sldLayoutId id="2147490743" r:id="rId396"/>
    <p:sldLayoutId id="2147490744" r:id="rId397"/>
    <p:sldLayoutId id="2147490745" r:id="rId398"/>
    <p:sldLayoutId id="2147490746" r:id="rId399"/>
    <p:sldLayoutId id="2147490747" r:id="rId400"/>
    <p:sldLayoutId id="2147490749" r:id="rId401"/>
    <p:sldLayoutId id="2147490750" r:id="rId402"/>
    <p:sldLayoutId id="2147490751" r:id="rId403"/>
    <p:sldLayoutId id="2147490752" r:id="rId404"/>
    <p:sldLayoutId id="2147490753" r:id="rId405"/>
    <p:sldLayoutId id="2147490754" r:id="rId406"/>
    <p:sldLayoutId id="2147490755" r:id="rId407"/>
    <p:sldLayoutId id="2147490756" r:id="rId408"/>
    <p:sldLayoutId id="2147490757" r:id="rId409"/>
    <p:sldLayoutId id="2147490758" r:id="rId410"/>
    <p:sldLayoutId id="2147490759" r:id="rId411"/>
    <p:sldLayoutId id="2147490760" r:id="rId412"/>
    <p:sldLayoutId id="2147490761" r:id="rId413"/>
    <p:sldLayoutId id="2147490762" r:id="rId414"/>
    <p:sldLayoutId id="2147490763" r:id="rId415"/>
    <p:sldLayoutId id="2147490764" r:id="rId416"/>
    <p:sldLayoutId id="2147490765" r:id="rId417"/>
    <p:sldLayoutId id="2147490766" r:id="rId418"/>
    <p:sldLayoutId id="2147490767" r:id="rId419"/>
    <p:sldLayoutId id="2147490768" r:id="rId420"/>
    <p:sldLayoutId id="2147490769" r:id="rId421"/>
    <p:sldLayoutId id="2147490770" r:id="rId422"/>
    <p:sldLayoutId id="2147490771" r:id="rId423"/>
    <p:sldLayoutId id="2147490772" r:id="rId424"/>
    <p:sldLayoutId id="2147490773" r:id="rId425"/>
    <p:sldLayoutId id="2147490774" r:id="rId426"/>
    <p:sldLayoutId id="2147490775" r:id="rId427"/>
    <p:sldLayoutId id="2147490777" r:id="rId428"/>
    <p:sldLayoutId id="2147490778" r:id="rId429"/>
    <p:sldLayoutId id="2147490779" r:id="rId430"/>
    <p:sldLayoutId id="2147490780" r:id="rId431"/>
    <p:sldLayoutId id="2147490781" r:id="rId432"/>
    <p:sldLayoutId id="2147490783" r:id="rId433"/>
    <p:sldLayoutId id="2147490784" r:id="rId434"/>
    <p:sldLayoutId id="2147490785" r:id="rId435"/>
    <p:sldLayoutId id="2147490786" r:id="rId436"/>
    <p:sldLayoutId id="2147490787" r:id="rId437"/>
    <p:sldLayoutId id="2147490788" r:id="rId43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99" r:id="rId1"/>
    <p:sldLayoutId id="2147484100" r:id="rId2"/>
    <p:sldLayoutId id="2147484101" r:id="rId3"/>
    <p:sldLayoutId id="2147484102" r:id="rId4"/>
    <p:sldLayoutId id="2147484103" r:id="rId5"/>
    <p:sldLayoutId id="2147484104" r:id="rId6"/>
    <p:sldLayoutId id="2147484105" r:id="rId7"/>
    <p:sldLayoutId id="2147484106" r:id="rId8"/>
    <p:sldLayoutId id="2147484107" r:id="rId9"/>
    <p:sldLayoutId id="2147484108" r:id="rId10"/>
    <p:sldLayoutId id="214748410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7177" y="187253"/>
            <a:ext cx="12909176" cy="7793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7177" y="1091046"/>
            <a:ext cx="12909176" cy="30858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17176" y="4333875"/>
            <a:ext cx="3346824" cy="2489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1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5/28/20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900706" y="4333875"/>
            <a:ext cx="4542118" cy="2489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1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279529" y="4333875"/>
            <a:ext cx="3346824" cy="24894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1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544" r:id="rId1"/>
    <p:sldLayoutId id="2147487550" r:id="rId2"/>
    <p:sldLayoutId id="2147487551" r:id="rId3"/>
    <p:sldLayoutId id="2147487552" r:id="rId4"/>
    <p:sldLayoutId id="2147487656" r:id="rId5"/>
    <p:sldLayoutId id="2147487547" r:id="rId6"/>
    <p:sldLayoutId id="2147487548" r:id="rId7"/>
    <p:sldLayoutId id="2147487549" r:id="rId8"/>
    <p:sldLayoutId id="2147487524" r:id="rId9"/>
    <p:sldLayoutId id="2147487380" r:id="rId10"/>
    <p:sldLayoutId id="2147487381" r:id="rId11"/>
  </p:sldLayoutIdLst>
  <p:txStyles>
    <p:titleStyle>
      <a:lvl1pPr algn="ctr" defTabSz="623438" rtl="0" eaLnBrk="1" latinLnBrk="0" hangingPunct="1">
        <a:spcBef>
          <a:spcPct val="0"/>
        </a:spcBef>
        <a:buNone/>
        <a:defRPr sz="3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789" indent="-233789" algn="l" defTabSz="623438" rtl="0" eaLnBrk="1" latinLnBrk="0" hangingPunct="1">
        <a:spcBef>
          <a:spcPct val="20000"/>
        </a:spcBef>
        <a:buFont typeface="Arial" pitchFamily="34" charset="0"/>
        <a:buChar char="•"/>
        <a:defRPr sz="2182" kern="1200">
          <a:solidFill>
            <a:schemeClr val="tx1"/>
          </a:solidFill>
          <a:latin typeface="+mn-lt"/>
          <a:ea typeface="+mn-ea"/>
          <a:cs typeface="+mn-cs"/>
        </a:defRPr>
      </a:lvl1pPr>
      <a:lvl2pPr marL="506543" indent="-194824" algn="l" defTabSz="623438" rtl="0" eaLnBrk="1" latinLnBrk="0" hangingPunct="1">
        <a:spcBef>
          <a:spcPct val="20000"/>
        </a:spcBef>
        <a:buFont typeface="Arial" pitchFamily="34" charset="0"/>
        <a:buChar char="–"/>
        <a:defRPr sz="1909" kern="1200">
          <a:solidFill>
            <a:schemeClr val="tx1"/>
          </a:solidFill>
          <a:latin typeface="+mn-lt"/>
          <a:ea typeface="+mn-ea"/>
          <a:cs typeface="+mn-cs"/>
        </a:defRPr>
      </a:lvl2pPr>
      <a:lvl3pPr marL="779297" indent="-155859" algn="l" defTabSz="623438" rtl="0" eaLnBrk="1" latinLnBrk="0" hangingPunct="1">
        <a:spcBef>
          <a:spcPct val="20000"/>
        </a:spcBef>
        <a:buFont typeface="Arial" pitchFamily="34" charset="0"/>
        <a:buChar char="•"/>
        <a:defRPr sz="1636" kern="1200">
          <a:solidFill>
            <a:schemeClr val="tx1"/>
          </a:solidFill>
          <a:latin typeface="+mn-lt"/>
          <a:ea typeface="+mn-ea"/>
          <a:cs typeface="+mn-cs"/>
        </a:defRPr>
      </a:lvl3pPr>
      <a:lvl4pPr marL="1091016" indent="-155859" algn="l" defTabSz="623438" rtl="0" eaLnBrk="1" latinLnBrk="0" hangingPunct="1">
        <a:spcBef>
          <a:spcPct val="20000"/>
        </a:spcBef>
        <a:buFont typeface="Arial" pitchFamily="34" charset="0"/>
        <a:buChar char="–"/>
        <a:defRPr sz="1364" kern="1200">
          <a:solidFill>
            <a:schemeClr val="tx1"/>
          </a:solidFill>
          <a:latin typeface="+mn-lt"/>
          <a:ea typeface="+mn-ea"/>
          <a:cs typeface="+mn-cs"/>
        </a:defRPr>
      </a:lvl4pPr>
      <a:lvl5pPr marL="1402735" indent="-155859" algn="l" defTabSz="623438" rtl="0" eaLnBrk="1" latinLnBrk="0" hangingPunct="1">
        <a:spcBef>
          <a:spcPct val="20000"/>
        </a:spcBef>
        <a:buFont typeface="Arial" pitchFamily="34" charset="0"/>
        <a:buChar char="»"/>
        <a:defRPr sz="1364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4" indent="-155859" algn="l" defTabSz="623438" rtl="0" eaLnBrk="1" latinLnBrk="0" hangingPunct="1">
        <a:spcBef>
          <a:spcPct val="20000"/>
        </a:spcBef>
        <a:buFont typeface="Arial" pitchFamily="34" charset="0"/>
        <a:buChar char="•"/>
        <a:defRPr sz="1364" kern="1200">
          <a:solidFill>
            <a:schemeClr val="tx1"/>
          </a:solidFill>
          <a:latin typeface="+mn-lt"/>
          <a:ea typeface="+mn-ea"/>
          <a:cs typeface="+mn-cs"/>
        </a:defRPr>
      </a:lvl6pPr>
      <a:lvl7pPr marL="2026173" indent="-155859" algn="l" defTabSz="623438" rtl="0" eaLnBrk="1" latinLnBrk="0" hangingPunct="1">
        <a:spcBef>
          <a:spcPct val="20000"/>
        </a:spcBef>
        <a:buFont typeface="Arial" pitchFamily="34" charset="0"/>
        <a:buChar char="•"/>
        <a:defRPr sz="1364" kern="1200">
          <a:solidFill>
            <a:schemeClr val="tx1"/>
          </a:solidFill>
          <a:latin typeface="+mn-lt"/>
          <a:ea typeface="+mn-ea"/>
          <a:cs typeface="+mn-cs"/>
        </a:defRPr>
      </a:lvl7pPr>
      <a:lvl8pPr marL="2337892" indent="-155859" algn="l" defTabSz="623438" rtl="0" eaLnBrk="1" latinLnBrk="0" hangingPunct="1">
        <a:spcBef>
          <a:spcPct val="20000"/>
        </a:spcBef>
        <a:buFont typeface="Arial" pitchFamily="34" charset="0"/>
        <a:buChar char="•"/>
        <a:defRPr sz="1364" kern="1200">
          <a:solidFill>
            <a:schemeClr val="tx1"/>
          </a:solidFill>
          <a:latin typeface="+mn-lt"/>
          <a:ea typeface="+mn-ea"/>
          <a:cs typeface="+mn-cs"/>
        </a:defRPr>
      </a:lvl8pPr>
      <a:lvl9pPr marL="2649611" indent="-155859" algn="l" defTabSz="623438" rtl="0" eaLnBrk="1" latinLnBrk="0" hangingPunct="1">
        <a:spcBef>
          <a:spcPct val="20000"/>
        </a:spcBef>
        <a:buFont typeface="Arial" pitchFamily="34" charset="0"/>
        <a:buChar char="•"/>
        <a:defRPr sz="136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23438" rtl="0" eaLnBrk="1" latinLnBrk="0" hangingPunct="1">
        <a:defRPr sz="1227" kern="1200">
          <a:solidFill>
            <a:schemeClr val="tx1"/>
          </a:solidFill>
          <a:latin typeface="+mn-lt"/>
          <a:ea typeface="+mn-ea"/>
          <a:cs typeface="+mn-cs"/>
        </a:defRPr>
      </a:lvl1pPr>
      <a:lvl2pPr marL="311719" algn="l" defTabSz="623438" rtl="0" eaLnBrk="1" latinLnBrk="0" hangingPunct="1">
        <a:defRPr sz="1227" kern="1200">
          <a:solidFill>
            <a:schemeClr val="tx1"/>
          </a:solidFill>
          <a:latin typeface="+mn-lt"/>
          <a:ea typeface="+mn-ea"/>
          <a:cs typeface="+mn-cs"/>
        </a:defRPr>
      </a:lvl2pPr>
      <a:lvl3pPr marL="623438" algn="l" defTabSz="623438" rtl="0" eaLnBrk="1" latinLnBrk="0" hangingPunct="1">
        <a:defRPr sz="1227" kern="1200">
          <a:solidFill>
            <a:schemeClr val="tx1"/>
          </a:solidFill>
          <a:latin typeface="+mn-lt"/>
          <a:ea typeface="+mn-ea"/>
          <a:cs typeface="+mn-cs"/>
        </a:defRPr>
      </a:lvl3pPr>
      <a:lvl4pPr marL="935157" algn="l" defTabSz="623438" rtl="0" eaLnBrk="1" latinLnBrk="0" hangingPunct="1">
        <a:defRPr sz="1227" kern="1200">
          <a:solidFill>
            <a:schemeClr val="tx1"/>
          </a:solidFill>
          <a:latin typeface="+mn-lt"/>
          <a:ea typeface="+mn-ea"/>
          <a:cs typeface="+mn-cs"/>
        </a:defRPr>
      </a:lvl4pPr>
      <a:lvl5pPr marL="1246876" algn="l" defTabSz="623438" rtl="0" eaLnBrk="1" latinLnBrk="0" hangingPunct="1">
        <a:defRPr sz="1227" kern="1200">
          <a:solidFill>
            <a:schemeClr val="tx1"/>
          </a:solidFill>
          <a:latin typeface="+mn-lt"/>
          <a:ea typeface="+mn-ea"/>
          <a:cs typeface="+mn-cs"/>
        </a:defRPr>
      </a:lvl5pPr>
      <a:lvl6pPr marL="1558595" algn="l" defTabSz="623438" rtl="0" eaLnBrk="1" latinLnBrk="0" hangingPunct="1">
        <a:defRPr sz="1227" kern="1200">
          <a:solidFill>
            <a:schemeClr val="tx1"/>
          </a:solidFill>
          <a:latin typeface="+mn-lt"/>
          <a:ea typeface="+mn-ea"/>
          <a:cs typeface="+mn-cs"/>
        </a:defRPr>
      </a:lvl6pPr>
      <a:lvl7pPr marL="1870314" algn="l" defTabSz="623438" rtl="0" eaLnBrk="1" latinLnBrk="0" hangingPunct="1">
        <a:defRPr sz="1227" kern="1200">
          <a:solidFill>
            <a:schemeClr val="tx1"/>
          </a:solidFill>
          <a:latin typeface="+mn-lt"/>
          <a:ea typeface="+mn-ea"/>
          <a:cs typeface="+mn-cs"/>
        </a:defRPr>
      </a:lvl7pPr>
      <a:lvl8pPr marL="2182033" algn="l" defTabSz="623438" rtl="0" eaLnBrk="1" latinLnBrk="0" hangingPunct="1">
        <a:defRPr sz="1227" kern="1200">
          <a:solidFill>
            <a:schemeClr val="tx1"/>
          </a:solidFill>
          <a:latin typeface="+mn-lt"/>
          <a:ea typeface="+mn-ea"/>
          <a:cs typeface="+mn-cs"/>
        </a:defRPr>
      </a:lvl8pPr>
      <a:lvl9pPr marL="2493752" algn="l" defTabSz="623438" rtl="0" eaLnBrk="1" latinLnBrk="0" hangingPunct="1">
        <a:defRPr sz="122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7028" r:id="rId1"/>
    <p:sldLayoutId id="2147487029" r:id="rId2"/>
    <p:sldLayoutId id="2147487030" r:id="rId3"/>
    <p:sldLayoutId id="2147487031" r:id="rId4"/>
    <p:sldLayoutId id="2147487582" r:id="rId5"/>
    <p:sldLayoutId id="2147487033" r:id="rId6"/>
    <p:sldLayoutId id="2147487583" r:id="rId7"/>
    <p:sldLayoutId id="2147487035" r:id="rId8"/>
    <p:sldLayoutId id="2147487036" r:id="rId9"/>
    <p:sldLayoutId id="2147487037" r:id="rId10"/>
    <p:sldLayoutId id="2147487038" r:id="rId11"/>
    <p:sldLayoutId id="2147487476" r:id="rId12"/>
    <p:sldLayoutId id="2147487179" r:id="rId13"/>
    <p:sldLayoutId id="2147487180" r:id="rId14"/>
    <p:sldLayoutId id="2147487039" r:id="rId15"/>
    <p:sldLayoutId id="2147487182" r:id="rId16"/>
    <p:sldLayoutId id="2147487183" r:id="rId17"/>
    <p:sldLayoutId id="2147487184" r:id="rId18"/>
    <p:sldLayoutId id="2147487185" r:id="rId19"/>
    <p:sldLayoutId id="2147487040" r:id="rId20"/>
    <p:sldLayoutId id="2147487041" r:id="rId21"/>
    <p:sldLayoutId id="2147487188" r:id="rId22"/>
    <p:sldLayoutId id="2147487189" r:id="rId23"/>
    <p:sldLayoutId id="2147487190" r:id="rId24"/>
    <p:sldLayoutId id="2147487042" r:id="rId25"/>
    <p:sldLayoutId id="2147487584" r:id="rId26"/>
    <p:sldLayoutId id="2147487193" r:id="rId27"/>
    <p:sldLayoutId id="2147487043" r:id="rId28"/>
    <p:sldLayoutId id="2147487044" r:id="rId29"/>
    <p:sldLayoutId id="2147487480" r:id="rId30"/>
    <p:sldLayoutId id="2147487046" r:id="rId31"/>
    <p:sldLayoutId id="2147487047" r:id="rId32"/>
    <p:sldLayoutId id="2147487048" r:id="rId33"/>
    <p:sldLayoutId id="2147487049" r:id="rId34"/>
    <p:sldLayoutId id="2147487050" r:id="rId35"/>
    <p:sldLayoutId id="2147487051" r:id="rId36"/>
    <p:sldLayoutId id="2147487052" r:id="rId37"/>
    <p:sldLayoutId id="2147487053" r:id="rId38"/>
    <p:sldLayoutId id="2147487482" r:id="rId39"/>
    <p:sldLayoutId id="2147487207" r:id="rId40"/>
    <p:sldLayoutId id="2147487208" r:id="rId41"/>
    <p:sldLayoutId id="2147487209" r:id="rId42"/>
    <p:sldLayoutId id="2147487210" r:id="rId43"/>
    <p:sldLayoutId id="2147487211" r:id="rId44"/>
    <p:sldLayoutId id="2147487212" r:id="rId45"/>
    <p:sldLayoutId id="2147487213" r:id="rId46"/>
    <p:sldLayoutId id="2147487214" r:id="rId47"/>
    <p:sldLayoutId id="2147487215" r:id="rId48"/>
    <p:sldLayoutId id="2147487225" r:id="rId49"/>
    <p:sldLayoutId id="2147487226" r:id="rId50"/>
    <p:sldLayoutId id="2147487227" r:id="rId51"/>
    <p:sldLayoutId id="2147487483" r:id="rId52"/>
    <p:sldLayoutId id="2147487484" r:id="rId53"/>
    <p:sldLayoutId id="2147487058" r:id="rId54"/>
    <p:sldLayoutId id="2147487231" r:id="rId55"/>
    <p:sldLayoutId id="2147487232" r:id="rId56"/>
    <p:sldLayoutId id="2147487233" r:id="rId57"/>
    <p:sldLayoutId id="2147487234" r:id="rId58"/>
    <p:sldLayoutId id="2147487235" r:id="rId59"/>
    <p:sldLayoutId id="2147487236" r:id="rId60"/>
    <p:sldLayoutId id="2147487237" r:id="rId61"/>
    <p:sldLayoutId id="2147487485" r:id="rId62"/>
    <p:sldLayoutId id="2147487060" r:id="rId63"/>
    <p:sldLayoutId id="2147487061" r:id="rId64"/>
    <p:sldLayoutId id="2147487062" r:id="rId65"/>
    <p:sldLayoutId id="2147487242" r:id="rId66"/>
    <p:sldLayoutId id="2147487063" r:id="rId67"/>
    <p:sldLayoutId id="2147487244" r:id="rId68"/>
    <p:sldLayoutId id="2147487245" r:id="rId69"/>
    <p:sldLayoutId id="2147487246" r:id="rId70"/>
    <p:sldLayoutId id="2147487064" r:id="rId71"/>
    <p:sldLayoutId id="2147487486" r:id="rId72"/>
    <p:sldLayoutId id="2147487249" r:id="rId73"/>
    <p:sldLayoutId id="2147487250" r:id="rId74"/>
    <p:sldLayoutId id="2147487251" r:id="rId75"/>
    <p:sldLayoutId id="2147487252" r:id="rId76"/>
    <p:sldLayoutId id="2147487487" r:id="rId77"/>
    <p:sldLayoutId id="2147487065" r:id="rId78"/>
    <p:sldLayoutId id="2147487066" r:id="rId79"/>
    <p:sldLayoutId id="2147487067" r:id="rId80"/>
    <p:sldLayoutId id="2147487068" r:id="rId81"/>
    <p:sldLayoutId id="2147487488" r:id="rId82"/>
    <p:sldLayoutId id="2147487070" r:id="rId83"/>
    <p:sldLayoutId id="2147487071" r:id="rId84"/>
    <p:sldLayoutId id="2147487072" r:id="rId85"/>
    <p:sldLayoutId id="2147487073" r:id="rId86"/>
    <p:sldLayoutId id="2147487074" r:id="rId87"/>
    <p:sldLayoutId id="2147487075" r:id="rId88"/>
    <p:sldLayoutId id="2147487489" r:id="rId89"/>
    <p:sldLayoutId id="2147487265" r:id="rId90"/>
    <p:sldLayoutId id="2147487266" r:id="rId91"/>
    <p:sldLayoutId id="2147487076" r:id="rId92"/>
    <p:sldLayoutId id="2147487078" r:id="rId93"/>
    <p:sldLayoutId id="2147487270" r:id="rId94"/>
    <p:sldLayoutId id="2147487271" r:id="rId95"/>
    <p:sldLayoutId id="2147487272" r:id="rId96"/>
    <p:sldLayoutId id="2147487273" r:id="rId97"/>
    <p:sldLayoutId id="2147487274" r:id="rId98"/>
    <p:sldLayoutId id="2147487275" r:id="rId99"/>
    <p:sldLayoutId id="2147487276" r:id="rId100"/>
    <p:sldLayoutId id="2147487490" r:id="rId101"/>
    <p:sldLayoutId id="2147487079" r:id="rId102"/>
    <p:sldLayoutId id="2147487491" r:id="rId103"/>
    <p:sldLayoutId id="2147487081" r:id="rId104"/>
    <p:sldLayoutId id="2147487082" r:id="rId105"/>
    <p:sldLayoutId id="2147487083" r:id="rId106"/>
    <p:sldLayoutId id="2147487084" r:id="rId107"/>
    <p:sldLayoutId id="2147487085" r:id="rId108"/>
    <p:sldLayoutId id="2147487086" r:id="rId109"/>
    <p:sldLayoutId id="2147487311" r:id="rId110"/>
    <p:sldLayoutId id="2147487492" r:id="rId111"/>
    <p:sldLayoutId id="2147487493" r:id="rId112"/>
    <p:sldLayoutId id="2147487104" r:id="rId113"/>
    <p:sldLayoutId id="2147487326" r:id="rId114"/>
    <p:sldLayoutId id="2147487105" r:id="rId115"/>
    <p:sldLayoutId id="2147487494" r:id="rId116"/>
    <p:sldLayoutId id="2147487495" r:id="rId117"/>
    <p:sldLayoutId id="2147487108" r:id="rId118"/>
    <p:sldLayoutId id="2147487109" r:id="rId119"/>
    <p:sldLayoutId id="2147487110" r:id="rId120"/>
    <p:sldLayoutId id="2147487111" r:id="rId121"/>
    <p:sldLayoutId id="2147487112" r:id="rId122"/>
    <p:sldLayoutId id="2147487113" r:id="rId123"/>
    <p:sldLayoutId id="2147487496" r:id="rId124"/>
    <p:sldLayoutId id="2147487497" r:id="rId125"/>
    <p:sldLayoutId id="2147487498" r:id="rId126"/>
    <p:sldLayoutId id="2147487499" r:id="rId127"/>
    <p:sldLayoutId id="2147487122" r:id="rId128"/>
    <p:sldLayoutId id="2147487123" r:id="rId129"/>
    <p:sldLayoutId id="2147487346" r:id="rId130"/>
    <p:sldLayoutId id="2147487500" r:id="rId131"/>
    <p:sldLayoutId id="2147487348" r:id="rId132"/>
    <p:sldLayoutId id="2147487349" r:id="rId133"/>
    <p:sldLayoutId id="2147487914" r:id="rId134"/>
    <p:sldLayoutId id="2147483848" r:id="rId135"/>
    <p:sldLayoutId id="2147483849" r:id="rId136"/>
    <p:sldLayoutId id="2147483850" r:id="rId137"/>
    <p:sldLayoutId id="2147483862" r:id="rId138"/>
    <p:sldLayoutId id="2147483863" r:id="rId139"/>
    <p:sldLayoutId id="2147483864" r:id="rId140"/>
    <p:sldLayoutId id="2147487501" r:id="rId141"/>
    <p:sldLayoutId id="2147483866" r:id="rId142"/>
    <p:sldLayoutId id="2147483867" r:id="rId143"/>
    <p:sldLayoutId id="2147483868" r:id="rId144"/>
    <p:sldLayoutId id="2147483869" r:id="rId145"/>
    <p:sldLayoutId id="2147483870" r:id="rId146"/>
    <p:sldLayoutId id="2147483871" r:id="rId147"/>
    <p:sldLayoutId id="2147487502" r:id="rId148"/>
    <p:sldLayoutId id="2147483875" r:id="rId149"/>
    <p:sldLayoutId id="2147483876" r:id="rId150"/>
    <p:sldLayoutId id="2147483877" r:id="rId151"/>
    <p:sldLayoutId id="2147483878" r:id="rId152"/>
    <p:sldLayoutId id="2147483879" r:id="rId153"/>
    <p:sldLayoutId id="2147483880" r:id="rId154"/>
    <p:sldLayoutId id="2147483881" r:id="rId155"/>
    <p:sldLayoutId id="2147483882" r:id="rId156"/>
    <p:sldLayoutId id="2147483883" r:id="rId157"/>
    <p:sldLayoutId id="2147483884" r:id="rId158"/>
    <p:sldLayoutId id="2147483885" r:id="rId159"/>
    <p:sldLayoutId id="2147483886" r:id="rId160"/>
    <p:sldLayoutId id="2147483887" r:id="rId161"/>
    <p:sldLayoutId id="2147483888" r:id="rId162"/>
    <p:sldLayoutId id="2147483889" r:id="rId163"/>
    <p:sldLayoutId id="2147483890" r:id="rId164"/>
    <p:sldLayoutId id="2147483891" r:id="rId165"/>
    <p:sldLayoutId id="2147483892" r:id="rId166"/>
    <p:sldLayoutId id="2147483893" r:id="rId167"/>
    <p:sldLayoutId id="2147483894" r:id="rId168"/>
    <p:sldLayoutId id="2147483897" r:id="rId169"/>
    <p:sldLayoutId id="2147483898" r:id="rId170"/>
    <p:sldLayoutId id="2147483899" r:id="rId171"/>
    <p:sldLayoutId id="2147483900" r:id="rId172"/>
    <p:sldLayoutId id="2147483901" r:id="rId173"/>
    <p:sldLayoutId id="2147483902" r:id="rId174"/>
    <p:sldLayoutId id="2147487975" r:id="rId175"/>
    <p:sldLayoutId id="2147487126" r:id="rId176"/>
    <p:sldLayoutId id="2147487127" r:id="rId177"/>
    <p:sldLayoutId id="2147487128" r:id="rId178"/>
    <p:sldLayoutId id="2147487129" r:id="rId179"/>
    <p:sldLayoutId id="2147487130" r:id="rId180"/>
    <p:sldLayoutId id="2147487585" r:id="rId181"/>
    <p:sldLayoutId id="2147486987" r:id="rId182"/>
    <p:sldLayoutId id="2147487785" r:id="rId183"/>
    <p:sldLayoutId id="2147487810" r:id="rId184"/>
    <p:sldLayoutId id="2147487786" r:id="rId185"/>
    <p:sldLayoutId id="2147487787" r:id="rId186"/>
    <p:sldLayoutId id="2147487788" r:id="rId187"/>
    <p:sldLayoutId id="2147487131" r:id="rId188"/>
    <p:sldLayoutId id="2147487132" r:id="rId189"/>
    <p:sldLayoutId id="2147487133" r:id="rId190"/>
    <p:sldLayoutId id="2147487134" r:id="rId191"/>
    <p:sldLayoutId id="2147487509" r:id="rId192"/>
    <p:sldLayoutId id="2147487136" r:id="rId193"/>
    <p:sldLayoutId id="2147487137" r:id="rId194"/>
    <p:sldLayoutId id="2147487138" r:id="rId195"/>
    <p:sldLayoutId id="2147487139" r:id="rId196"/>
    <p:sldLayoutId id="2147487140" r:id="rId197"/>
    <p:sldLayoutId id="2147487141" r:id="rId198"/>
    <p:sldLayoutId id="2147487980" r:id="rId199"/>
    <p:sldLayoutId id="2147487981" r:id="rId200"/>
    <p:sldLayoutId id="2147487982" r:id="rId201"/>
    <p:sldLayoutId id="2147486087" r:id="rId202"/>
    <p:sldLayoutId id="2147485074" r:id="rId203"/>
    <p:sldLayoutId id="2147485075" r:id="rId204"/>
    <p:sldLayoutId id="2147485076" r:id="rId205"/>
    <p:sldLayoutId id="2147487512" r:id="rId206"/>
    <p:sldLayoutId id="2147485078" r:id="rId207"/>
    <p:sldLayoutId id="2147484851" r:id="rId208"/>
    <p:sldLayoutId id="2147487790" r:id="rId209"/>
    <p:sldLayoutId id="2147487593" r:id="rId210"/>
    <p:sldLayoutId id="2147487789" r:id="rId211"/>
    <p:sldLayoutId id="2147487791" r:id="rId212"/>
    <p:sldLayoutId id="2147487609" r:id="rId213"/>
    <p:sldLayoutId id="2147487620" r:id="rId214"/>
    <p:sldLayoutId id="2147487621" r:id="rId215"/>
    <p:sldLayoutId id="2147484335" r:id="rId216"/>
    <p:sldLayoutId id="2147484336" r:id="rId217"/>
    <p:sldLayoutId id="2147484337" r:id="rId218"/>
    <p:sldLayoutId id="2147487528" r:id="rId219"/>
    <p:sldLayoutId id="2147487529" r:id="rId220"/>
    <p:sldLayoutId id="2147484339" r:id="rId221"/>
    <p:sldLayoutId id="2147484340" r:id="rId222"/>
    <p:sldLayoutId id="2147484341" r:id="rId223"/>
    <p:sldLayoutId id="2147484342" r:id="rId224"/>
    <p:sldLayoutId id="2147484343" r:id="rId225"/>
    <p:sldLayoutId id="2147484344" r:id="rId226"/>
    <p:sldLayoutId id="2147485468" r:id="rId227"/>
    <p:sldLayoutId id="2147485865" r:id="rId228"/>
    <p:sldLayoutId id="2147484364" r:id="rId229"/>
    <p:sldLayoutId id="2147487530" r:id="rId230"/>
    <p:sldLayoutId id="2147485868" r:id="rId231"/>
    <p:sldLayoutId id="2147485869" r:id="rId232"/>
    <p:sldLayoutId id="2147485870" r:id="rId233"/>
    <p:sldLayoutId id="2147485385" r:id="rId234"/>
    <p:sldLayoutId id="2147485871" r:id="rId235"/>
    <p:sldLayoutId id="2147485469" r:id="rId236"/>
    <p:sldLayoutId id="2147487930" r:id="rId237"/>
    <p:sldLayoutId id="2147487531" r:id="rId238"/>
    <p:sldLayoutId id="2147485079" r:id="rId239"/>
    <p:sldLayoutId id="2147485080" r:id="rId240"/>
    <p:sldLayoutId id="2147485081" r:id="rId241"/>
    <p:sldLayoutId id="2147485082" r:id="rId242"/>
    <p:sldLayoutId id="2147485083" r:id="rId243"/>
    <p:sldLayoutId id="2147484596" r:id="rId244"/>
    <p:sldLayoutId id="2147484835" r:id="rId245"/>
    <p:sldLayoutId id="2147484353" r:id="rId246"/>
    <p:sldLayoutId id="2147484627" r:id="rId247"/>
    <p:sldLayoutId id="2147485879" r:id="rId248"/>
    <p:sldLayoutId id="2147487532" r:id="rId249"/>
    <p:sldLayoutId id="2147487533" r:id="rId250"/>
    <p:sldLayoutId id="2147485858" r:id="rId251"/>
    <p:sldLayoutId id="2147485859" r:id="rId252"/>
    <p:sldLayoutId id="2147485860" r:id="rId253"/>
    <p:sldLayoutId id="2147485861" r:id="rId254"/>
    <p:sldLayoutId id="2147484634" r:id="rId255"/>
    <p:sldLayoutId id="2147484635" r:id="rId256"/>
    <p:sldLayoutId id="2147487939" r:id="rId257"/>
    <p:sldLayoutId id="2147486915" r:id="rId258"/>
    <p:sldLayoutId id="2147487534" r:id="rId259"/>
    <p:sldLayoutId id="2147486917" r:id="rId260"/>
    <p:sldLayoutId id="2147487922" r:id="rId261"/>
    <p:sldLayoutId id="2147487923" r:id="rId262"/>
    <p:sldLayoutId id="2147487924" r:id="rId263"/>
    <p:sldLayoutId id="2147487925" r:id="rId264"/>
    <p:sldLayoutId id="2147487938" r:id="rId265"/>
    <p:sldLayoutId id="2147487926" r:id="rId266"/>
    <p:sldLayoutId id="2147485064" r:id="rId267"/>
    <p:sldLayoutId id="2147485065" r:id="rId268"/>
    <p:sldLayoutId id="2147487535" r:id="rId269"/>
    <p:sldLayoutId id="2147485066" r:id="rId270"/>
    <p:sldLayoutId id="2147485067" r:id="rId271"/>
    <p:sldLayoutId id="2147485068" r:id="rId272"/>
    <p:sldLayoutId id="2147485069" r:id="rId273"/>
    <p:sldLayoutId id="2147487536" r:id="rId274"/>
    <p:sldLayoutId id="2147485070" r:id="rId275"/>
    <p:sldLayoutId id="2147486030" r:id="rId276"/>
    <p:sldLayoutId id="2147485071" r:id="rId277"/>
    <p:sldLayoutId id="2147487168" r:id="rId278"/>
    <p:sldLayoutId id="2147487537" r:id="rId279"/>
    <p:sldLayoutId id="2147484836" r:id="rId280"/>
    <p:sldLayoutId id="2147484837" r:id="rId281"/>
    <p:sldLayoutId id="2147487169" r:id="rId282"/>
    <p:sldLayoutId id="2147484602" r:id="rId283"/>
    <p:sldLayoutId id="2147484603" r:id="rId284"/>
    <p:sldLayoutId id="2147484604" r:id="rId285"/>
    <p:sldLayoutId id="2147487538" r:id="rId286"/>
    <p:sldLayoutId id="2147485847" r:id="rId287"/>
    <p:sldLayoutId id="2147485848" r:id="rId288"/>
    <p:sldLayoutId id="2147485849" r:id="rId289"/>
    <p:sldLayoutId id="2147487539" r:id="rId290"/>
    <p:sldLayoutId id="2147485851" r:id="rId291"/>
    <p:sldLayoutId id="2147485852" r:id="rId292"/>
    <p:sldLayoutId id="2147485853" r:id="rId293"/>
    <p:sldLayoutId id="2147485854" r:id="rId294"/>
    <p:sldLayoutId id="2147485855" r:id="rId295"/>
    <p:sldLayoutId id="2147485856" r:id="rId296"/>
    <p:sldLayoutId id="2147484384" r:id="rId297"/>
    <p:sldLayoutId id="2147485405" r:id="rId298"/>
    <p:sldLayoutId id="2147487540" r:id="rId299"/>
    <p:sldLayoutId id="2147484385" r:id="rId300"/>
    <p:sldLayoutId id="2147487541" r:id="rId301"/>
    <p:sldLayoutId id="2147484387" r:id="rId302"/>
    <p:sldLayoutId id="2147484388" r:id="rId303"/>
    <p:sldLayoutId id="2147484389" r:id="rId304"/>
    <p:sldLayoutId id="2147484390" r:id="rId305"/>
    <p:sldLayoutId id="2147484391" r:id="rId306"/>
    <p:sldLayoutId id="2147484392" r:id="rId307"/>
    <p:sldLayoutId id="2147484355" r:id="rId308"/>
    <p:sldLayoutId id="2147485444" r:id="rId309"/>
    <p:sldLayoutId id="2147484356" r:id="rId310"/>
    <p:sldLayoutId id="2147483860" r:id="rId311"/>
    <p:sldLayoutId id="2147487556" r:id="rId312"/>
    <p:sldLayoutId id="2147484358" r:id="rId313"/>
    <p:sldLayoutId id="2147484359" r:id="rId314"/>
    <p:sldLayoutId id="2147484360" r:id="rId315"/>
    <p:sldLayoutId id="2147484361" r:id="rId316"/>
    <p:sldLayoutId id="2147484393" r:id="rId317"/>
    <p:sldLayoutId id="2147484394" r:id="rId318"/>
    <p:sldLayoutId id="2147487557" r:id="rId319"/>
    <p:sldLayoutId id="2147487558" r:id="rId320"/>
    <p:sldLayoutId id="2147487559" r:id="rId321"/>
    <p:sldLayoutId id="2147487560" r:id="rId322"/>
    <p:sldLayoutId id="2147487932" r:id="rId323"/>
    <p:sldLayoutId id="2147487955" r:id="rId324"/>
    <p:sldLayoutId id="2147487936" r:id="rId325"/>
    <p:sldLayoutId id="2147487561" r:id="rId326"/>
    <p:sldLayoutId id="2147487941" r:id="rId327"/>
    <p:sldLayoutId id="2147487952" r:id="rId328"/>
    <p:sldLayoutId id="2147486955" r:id="rId329"/>
    <p:sldLayoutId id="2147485238" r:id="rId330"/>
    <p:sldLayoutId id="2147486956" r:id="rId331"/>
    <p:sldLayoutId id="2147487934" r:id="rId332"/>
    <p:sldLayoutId id="2147484821" r:id="rId333"/>
    <p:sldLayoutId id="2147486952" r:id="rId334"/>
    <p:sldLayoutId id="2147485239" r:id="rId335"/>
    <p:sldLayoutId id="2147487562" r:id="rId336"/>
    <p:sldLayoutId id="2147486048" r:id="rId337"/>
    <p:sldLayoutId id="2147486954" r:id="rId338"/>
    <p:sldLayoutId id="2147484400" r:id="rId339"/>
    <p:sldLayoutId id="2147484401" r:id="rId340"/>
    <p:sldLayoutId id="2147484402" r:id="rId341"/>
    <p:sldLayoutId id="2147484822" r:id="rId342"/>
    <p:sldLayoutId id="2147487563" r:id="rId343"/>
    <p:sldLayoutId id="2147486887" r:id="rId344"/>
    <p:sldLayoutId id="2147486990" r:id="rId345"/>
    <p:sldLayoutId id="2147484585" r:id="rId346"/>
    <p:sldLayoutId id="2147484586" r:id="rId347"/>
    <p:sldLayoutId id="2147484587" r:id="rId348"/>
    <p:sldLayoutId id="2147484588" r:id="rId349"/>
    <p:sldLayoutId id="2147484592" r:id="rId350"/>
    <p:sldLayoutId id="2147484593" r:id="rId351"/>
    <p:sldLayoutId id="2147484594" r:id="rId352"/>
    <p:sldLayoutId id="2147487156" r:id="rId353"/>
    <p:sldLayoutId id="2147485370" r:id="rId354"/>
    <p:sldLayoutId id="2147485872" r:id="rId355"/>
    <p:sldLayoutId id="2147486927" r:id="rId356"/>
    <p:sldLayoutId id="2147485367" r:id="rId357"/>
    <p:sldLayoutId id="2147485368" r:id="rId358"/>
    <p:sldLayoutId id="2147485369" r:id="rId359"/>
    <p:sldLayoutId id="2147485400" r:id="rId360"/>
    <p:sldLayoutId id="2147485401" r:id="rId361"/>
    <p:sldLayoutId id="2147485402" r:id="rId362"/>
    <p:sldLayoutId id="2147485403" r:id="rId363"/>
    <p:sldLayoutId id="2147487622" r:id="rId364"/>
    <p:sldLayoutId id="2147487623" r:id="rId365"/>
    <p:sldLayoutId id="2147487624" r:id="rId366"/>
    <p:sldLayoutId id="2147484386" r:id="rId367"/>
    <p:sldLayoutId id="2147484815" r:id="rId368"/>
    <p:sldLayoutId id="2147484816" r:id="rId369"/>
    <p:sldLayoutId id="2147484817" r:id="rId370"/>
    <p:sldLayoutId id="2147484330" r:id="rId371"/>
    <p:sldLayoutId id="2147484331" r:id="rId372"/>
    <p:sldLayoutId id="2147484332" r:id="rId373"/>
    <p:sldLayoutId id="2147484485" r:id="rId374"/>
    <p:sldLayoutId id="2147484486" r:id="rId375"/>
    <p:sldLayoutId id="2147484609" r:id="rId376"/>
    <p:sldLayoutId id="2147484477" r:id="rId377"/>
    <p:sldLayoutId id="2147484478" r:id="rId378"/>
    <p:sldLayoutId id="2147487951" r:id="rId379"/>
    <p:sldLayoutId id="2147487568" r:id="rId380"/>
    <p:sldLayoutId id="2147484480" r:id="rId381"/>
    <p:sldLayoutId id="2147487954" r:id="rId382"/>
    <p:sldLayoutId id="2147484481" r:id="rId383"/>
    <p:sldLayoutId id="2147484482" r:id="rId384"/>
    <p:sldLayoutId id="2147484483" r:id="rId385"/>
    <p:sldLayoutId id="2147484484" r:id="rId386"/>
    <p:sldLayoutId id="2147486991" r:id="rId387"/>
    <p:sldLayoutId id="2147486992" r:id="rId388"/>
    <p:sldLayoutId id="2147486252" r:id="rId389"/>
    <p:sldLayoutId id="2147486253" r:id="rId390"/>
    <p:sldLayoutId id="2147486363" r:id="rId391"/>
    <p:sldLayoutId id="2147487006" r:id="rId392"/>
    <p:sldLayoutId id="2147486365" r:id="rId393"/>
    <p:sldLayoutId id="2147487007" r:id="rId394"/>
    <p:sldLayoutId id="2147487983" r:id="rId395"/>
    <p:sldLayoutId id="2147486367" r:id="rId396"/>
    <p:sldLayoutId id="2147486368" r:id="rId397"/>
    <p:sldLayoutId id="2147486369" r:id="rId398"/>
    <p:sldLayoutId id="2147487985" r:id="rId399"/>
    <p:sldLayoutId id="2147487986" r:id="rId400"/>
    <p:sldLayoutId id="2147487987" r:id="rId401"/>
    <p:sldLayoutId id="2147488001" r:id="rId402"/>
    <p:sldLayoutId id="2147488002" r:id="rId403"/>
    <p:sldLayoutId id="2147488003" r:id="rId404"/>
    <p:sldLayoutId id="2147488004" r:id="rId405"/>
    <p:sldLayoutId id="2147488005" r:id="rId406"/>
    <p:sldLayoutId id="2147488006" r:id="rId407"/>
    <p:sldLayoutId id="2147488007" r:id="rId408"/>
    <p:sldLayoutId id="2147488009" r:id="rId409"/>
    <p:sldLayoutId id="2147488010" r:id="rId410"/>
    <p:sldLayoutId id="2147488011" r:id="rId411"/>
    <p:sldLayoutId id="2147488016" r:id="rId412"/>
    <p:sldLayoutId id="2147488017" r:id="rId413"/>
    <p:sldLayoutId id="2147487569" r:id="rId414"/>
    <p:sldLayoutId id="2147487570" r:id="rId415"/>
    <p:sldLayoutId id="2147488020" r:id="rId416"/>
    <p:sldLayoutId id="2147488021" r:id="rId417"/>
    <p:sldLayoutId id="2147488022" r:id="rId418"/>
    <p:sldLayoutId id="2147487571" r:id="rId419"/>
    <p:sldLayoutId id="2147487572" r:id="rId420"/>
    <p:sldLayoutId id="2147488025" r:id="rId421"/>
    <p:sldLayoutId id="2147488026" r:id="rId422"/>
    <p:sldLayoutId id="2147488027" r:id="rId423"/>
    <p:sldLayoutId id="2147488028" r:id="rId424"/>
    <p:sldLayoutId id="2147488029" r:id="rId425"/>
    <p:sldLayoutId id="2147488030" r:id="rId426"/>
    <p:sldLayoutId id="2147487008" r:id="rId427"/>
    <p:sldLayoutId id="2147487009" r:id="rId428"/>
    <p:sldLayoutId id="2147487010" r:id="rId429"/>
    <p:sldLayoutId id="2147487472" r:id="rId430"/>
    <p:sldLayoutId id="2147487011" r:id="rId431"/>
    <p:sldLayoutId id="2147487012" r:id="rId432"/>
    <p:sldLayoutId id="2147487013" r:id="rId433"/>
    <p:sldLayoutId id="2147484999" r:id="rId434"/>
    <p:sldLayoutId id="2147485002" r:id="rId435"/>
    <p:sldLayoutId id="2147485006" r:id="rId436"/>
    <p:sldLayoutId id="2147485877" r:id="rId437"/>
    <p:sldLayoutId id="2147487626" r:id="rId438"/>
    <p:sldLayoutId id="2147487761" r:id="rId439"/>
    <p:sldLayoutId id="2147487762" r:id="rId440"/>
    <p:sldLayoutId id="2147484608" r:id="rId441"/>
    <p:sldLayoutId id="2147485213" r:id="rId442"/>
    <p:sldLayoutId id="2147485214" r:id="rId443"/>
    <p:sldLayoutId id="2147486360" r:id="rId444"/>
    <p:sldLayoutId id="2147485556" r:id="rId445"/>
    <p:sldLayoutId id="2147486361" r:id="rId446"/>
    <p:sldLayoutId id="2147485215" r:id="rId447"/>
    <p:sldLayoutId id="2147485425" r:id="rId448"/>
    <p:sldLayoutId id="2147487578" r:id="rId449"/>
    <p:sldLayoutId id="2147487579" r:id="rId450"/>
    <p:sldLayoutId id="2147485391" r:id="rId451"/>
    <p:sldLayoutId id="2147485392" r:id="rId452"/>
    <p:sldLayoutId id="2147484376" r:id="rId453"/>
    <p:sldLayoutId id="2147487580" r:id="rId454"/>
    <p:sldLayoutId id="2147487581" r:id="rId455"/>
    <p:sldLayoutId id="2147485394" r:id="rId456"/>
    <p:sldLayoutId id="2147485395" r:id="rId457"/>
    <p:sldLayoutId id="2147486284" r:id="rId458"/>
    <p:sldLayoutId id="2147484378" r:id="rId459"/>
    <p:sldLayoutId id="2147484379" r:id="rId460"/>
    <p:sldLayoutId id="2147485396" r:id="rId461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1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7732" r:id="rId1"/>
    <p:sldLayoutId id="2147487733" r:id="rId2"/>
    <p:sldLayoutId id="2147487734" r:id="rId3"/>
    <p:sldLayoutId id="2147487735" r:id="rId4"/>
    <p:sldLayoutId id="2147487736" r:id="rId5"/>
    <p:sldLayoutId id="2147487737" r:id="rId6"/>
    <p:sldLayoutId id="2147487738" r:id="rId7"/>
    <p:sldLayoutId id="2147487739" r:id="rId8"/>
    <p:sldLayoutId id="2147487740" r:id="rId9"/>
    <p:sldLayoutId id="2147487741" r:id="rId10"/>
    <p:sldLayoutId id="2147487742" r:id="rId11"/>
    <p:sldLayoutId id="2147487743" r:id="rId12"/>
    <p:sldLayoutId id="2147487744" r:id="rId13"/>
    <p:sldLayoutId id="2147487745" r:id="rId14"/>
    <p:sldLayoutId id="2147487746" r:id="rId15"/>
    <p:sldLayoutId id="2147487747" r:id="rId16"/>
    <p:sldLayoutId id="2147487748" r:id="rId17"/>
    <p:sldLayoutId id="2147487749" r:id="rId18"/>
    <p:sldLayoutId id="2147487750" r:id="rId19"/>
    <p:sldLayoutId id="2147487751" r:id="rId20"/>
    <p:sldLayoutId id="2147487752" r:id="rId21"/>
    <p:sldLayoutId id="2147487753" r:id="rId22"/>
    <p:sldLayoutId id="2147487754" r:id="rId23"/>
    <p:sldLayoutId id="2147487755" r:id="rId24"/>
    <p:sldLayoutId id="2147487756" r:id="rId25"/>
    <p:sldLayoutId id="2147487757" r:id="rId26"/>
    <p:sldLayoutId id="2147487758" r:id="rId27"/>
    <p:sldLayoutId id="2147483676" r:id="rId28"/>
    <p:sldLayoutId id="2147483677" r:id="rId29"/>
    <p:sldLayoutId id="2147483678" r:id="rId30"/>
    <p:sldLayoutId id="2147483679" r:id="rId31"/>
    <p:sldLayoutId id="2147487763" r:id="rId32"/>
    <p:sldLayoutId id="2147487764" r:id="rId33"/>
    <p:sldLayoutId id="2147487765" r:id="rId34"/>
    <p:sldLayoutId id="2147487766" r:id="rId35"/>
    <p:sldLayoutId id="2147487767" r:id="rId36"/>
    <p:sldLayoutId id="2147487768" r:id="rId37"/>
    <p:sldLayoutId id="2147487769" r:id="rId38"/>
    <p:sldLayoutId id="2147487770" r:id="rId39"/>
    <p:sldLayoutId id="2147487771" r:id="rId40"/>
    <p:sldLayoutId id="2147487772" r:id="rId41"/>
    <p:sldLayoutId id="2147487773" r:id="rId42"/>
    <p:sldLayoutId id="2147487774" r:id="rId43"/>
    <p:sldLayoutId id="2147487775" r:id="rId44"/>
    <p:sldLayoutId id="2147487776" r:id="rId45"/>
    <p:sldLayoutId id="2147487777" r:id="rId46"/>
    <p:sldLayoutId id="2147487778" r:id="rId47"/>
    <p:sldLayoutId id="2147487779" r:id="rId48"/>
    <p:sldLayoutId id="2147487780" r:id="rId49"/>
    <p:sldLayoutId id="2147487781" r:id="rId50"/>
    <p:sldLayoutId id="2147487782" r:id="rId51"/>
    <p:sldLayoutId id="2147487783" r:id="rId52"/>
    <p:sldLayoutId id="2147483701" r:id="rId53"/>
    <p:sldLayoutId id="2147483702" r:id="rId54"/>
    <p:sldLayoutId id="2147487784" r:id="rId55"/>
    <p:sldLayoutId id="2147483704" r:id="rId56"/>
    <p:sldLayoutId id="2147483705" r:id="rId57"/>
    <p:sldLayoutId id="2147483706" r:id="rId58"/>
    <p:sldLayoutId id="2147483707" r:id="rId59"/>
    <p:sldLayoutId id="2147483708" r:id="rId60"/>
    <p:sldLayoutId id="2147483709" r:id="rId61"/>
    <p:sldLayoutId id="2147483710" r:id="rId62"/>
    <p:sldLayoutId id="2147483711" r:id="rId63"/>
    <p:sldLayoutId id="2147483712" r:id="rId64"/>
    <p:sldLayoutId id="2147483713" r:id="rId65"/>
    <p:sldLayoutId id="2147483714" r:id="rId66"/>
    <p:sldLayoutId id="2147483715" r:id="rId67"/>
    <p:sldLayoutId id="2147483716" r:id="rId68"/>
    <p:sldLayoutId id="2147483717" r:id="rId69"/>
    <p:sldLayoutId id="2147483718" r:id="rId70"/>
    <p:sldLayoutId id="2147483719" r:id="rId71"/>
    <p:sldLayoutId id="2147483720" r:id="rId72"/>
    <p:sldLayoutId id="2147483721" r:id="rId73"/>
    <p:sldLayoutId id="2147483722" r:id="rId74"/>
    <p:sldLayoutId id="2147483723" r:id="rId75"/>
    <p:sldLayoutId id="2147487793" r:id="rId76"/>
    <p:sldLayoutId id="2147487794" r:id="rId77"/>
    <p:sldLayoutId id="2147487795" r:id="rId78"/>
    <p:sldLayoutId id="2147487796" r:id="rId79"/>
    <p:sldLayoutId id="2147487797" r:id="rId80"/>
    <p:sldLayoutId id="2147487798" r:id="rId81"/>
    <p:sldLayoutId id="2147487799" r:id="rId82"/>
    <p:sldLayoutId id="2147487800" r:id="rId83"/>
    <p:sldLayoutId id="2147487801" r:id="rId84"/>
    <p:sldLayoutId id="2147487802" r:id="rId85"/>
    <p:sldLayoutId id="2147487803" r:id="rId86"/>
    <p:sldLayoutId id="2147483735" r:id="rId87"/>
    <p:sldLayoutId id="2147483736" r:id="rId88"/>
    <p:sldLayoutId id="2147487806" r:id="rId89"/>
    <p:sldLayoutId id="2147487807" r:id="rId90"/>
    <p:sldLayoutId id="2147483739" r:id="rId91"/>
    <p:sldLayoutId id="2147487809" r:id="rId92"/>
    <p:sldLayoutId id="2147483741" r:id="rId93"/>
    <p:sldLayoutId id="2147487811" r:id="rId94"/>
    <p:sldLayoutId id="2147483743" r:id="rId95"/>
    <p:sldLayoutId id="2147483744" r:id="rId96"/>
    <p:sldLayoutId id="2147483745" r:id="rId97"/>
    <p:sldLayoutId id="2147483746" r:id="rId98"/>
    <p:sldLayoutId id="2147483747" r:id="rId99"/>
    <p:sldLayoutId id="2147483748" r:id="rId100"/>
    <p:sldLayoutId id="2147483749" r:id="rId101"/>
    <p:sldLayoutId id="2147483750" r:id="rId102"/>
    <p:sldLayoutId id="2147483751" r:id="rId103"/>
    <p:sldLayoutId id="2147483752" r:id="rId104"/>
    <p:sldLayoutId id="2147483753" r:id="rId105"/>
    <p:sldLayoutId id="2147483754" r:id="rId106"/>
    <p:sldLayoutId id="2147483755" r:id="rId107"/>
    <p:sldLayoutId id="2147487825" r:id="rId108"/>
    <p:sldLayoutId id="2147483757" r:id="rId109"/>
    <p:sldLayoutId id="2147483758" r:id="rId110"/>
    <p:sldLayoutId id="2147483759" r:id="rId111"/>
    <p:sldLayoutId id="2147483760" r:id="rId112"/>
    <p:sldLayoutId id="2147483761" r:id="rId113"/>
    <p:sldLayoutId id="2147483762" r:id="rId114"/>
    <p:sldLayoutId id="2147483763" r:id="rId115"/>
    <p:sldLayoutId id="2147483764" r:id="rId116"/>
    <p:sldLayoutId id="2147483765" r:id="rId117"/>
    <p:sldLayoutId id="2147483766" r:id="rId118"/>
    <p:sldLayoutId id="2147483767" r:id="rId119"/>
    <p:sldLayoutId id="2147487837" r:id="rId120"/>
    <p:sldLayoutId id="2147487838" r:id="rId121"/>
    <p:sldLayoutId id="2147487839" r:id="rId122"/>
    <p:sldLayoutId id="2147487840" r:id="rId123"/>
    <p:sldLayoutId id="2147487841" r:id="rId124"/>
    <p:sldLayoutId id="2147487842" r:id="rId125"/>
    <p:sldLayoutId id="2147487843" r:id="rId126"/>
    <p:sldLayoutId id="2147487844" r:id="rId127"/>
    <p:sldLayoutId id="2147487845" r:id="rId128"/>
    <p:sldLayoutId id="2147487846" r:id="rId129"/>
    <p:sldLayoutId id="2147487847" r:id="rId130"/>
    <p:sldLayoutId id="2147487848" r:id="rId131"/>
    <p:sldLayoutId id="2147487849" r:id="rId132"/>
    <p:sldLayoutId id="2147487850" r:id="rId133"/>
    <p:sldLayoutId id="2147487851" r:id="rId134"/>
    <p:sldLayoutId id="2147487852" r:id="rId135"/>
    <p:sldLayoutId id="2147487853" r:id="rId136"/>
    <p:sldLayoutId id="2147487854" r:id="rId137"/>
    <p:sldLayoutId id="2147487855" r:id="rId138"/>
    <p:sldLayoutId id="2147487856" r:id="rId139"/>
    <p:sldLayoutId id="2147487857" r:id="rId140"/>
    <p:sldLayoutId id="2147487858" r:id="rId141"/>
    <p:sldLayoutId id="2147487859" r:id="rId142"/>
    <p:sldLayoutId id="2147487860" r:id="rId143"/>
    <p:sldLayoutId id="2147487861" r:id="rId144"/>
    <p:sldLayoutId id="2147487862" r:id="rId145"/>
    <p:sldLayoutId id="2147487863" r:id="rId146"/>
    <p:sldLayoutId id="2147487864" r:id="rId147"/>
    <p:sldLayoutId id="2147487865" r:id="rId148"/>
    <p:sldLayoutId id="2147487866" r:id="rId149"/>
    <p:sldLayoutId id="2147487867" r:id="rId150"/>
    <p:sldLayoutId id="2147487868" r:id="rId151"/>
    <p:sldLayoutId id="2147487869" r:id="rId152"/>
    <p:sldLayoutId id="2147487870" r:id="rId153"/>
    <p:sldLayoutId id="2147487871" r:id="rId154"/>
    <p:sldLayoutId id="2147487872" r:id="rId155"/>
    <p:sldLayoutId id="2147487873" r:id="rId156"/>
    <p:sldLayoutId id="2147487874" r:id="rId157"/>
    <p:sldLayoutId id="2147487875" r:id="rId158"/>
    <p:sldLayoutId id="2147487876" r:id="rId159"/>
    <p:sldLayoutId id="2147487877" r:id="rId160"/>
    <p:sldLayoutId id="2147487878" r:id="rId161"/>
    <p:sldLayoutId id="2147487879" r:id="rId162"/>
    <p:sldLayoutId id="2147487880" r:id="rId163"/>
    <p:sldLayoutId id="2147487881" r:id="rId164"/>
    <p:sldLayoutId id="2147487882" r:id="rId165"/>
    <p:sldLayoutId id="2147487883" r:id="rId166"/>
    <p:sldLayoutId id="2147487884" r:id="rId167"/>
    <p:sldLayoutId id="2147487885" r:id="rId168"/>
    <p:sldLayoutId id="2147487886" r:id="rId169"/>
    <p:sldLayoutId id="2147487887" r:id="rId170"/>
    <p:sldLayoutId id="2147487888" r:id="rId171"/>
    <p:sldLayoutId id="2147487889" r:id="rId172"/>
    <p:sldLayoutId id="2147487890" r:id="rId173"/>
    <p:sldLayoutId id="2147487891" r:id="rId174"/>
    <p:sldLayoutId id="2147487892" r:id="rId175"/>
    <p:sldLayoutId id="2147487893" r:id="rId176"/>
    <p:sldLayoutId id="2147487894" r:id="rId177"/>
    <p:sldLayoutId id="2147487895" r:id="rId178"/>
    <p:sldLayoutId id="2147487896" r:id="rId179"/>
    <p:sldLayoutId id="2147487897" r:id="rId180"/>
    <p:sldLayoutId id="2147487898" r:id="rId181"/>
    <p:sldLayoutId id="2147487899" r:id="rId182"/>
    <p:sldLayoutId id="2147487900" r:id="rId183"/>
    <p:sldLayoutId id="2147487901" r:id="rId184"/>
    <p:sldLayoutId id="2147487902" r:id="rId185"/>
    <p:sldLayoutId id="2147487903" r:id="rId186"/>
    <p:sldLayoutId id="2147487904" r:id="rId187"/>
    <p:sldLayoutId id="2147487905" r:id="rId188"/>
    <p:sldLayoutId id="2147487906" r:id="rId189"/>
    <p:sldLayoutId id="2147487907" r:id="rId190"/>
    <p:sldLayoutId id="2147487908" r:id="rId191"/>
    <p:sldLayoutId id="2147487909" r:id="rId192"/>
    <p:sldLayoutId id="2147487910" r:id="rId193"/>
    <p:sldLayoutId id="2147487911" r:id="rId194"/>
    <p:sldLayoutId id="2147487912" r:id="rId195"/>
    <p:sldLayoutId id="2147487913" r:id="rId196"/>
    <p:sldLayoutId id="2147483845" r:id="rId197"/>
    <p:sldLayoutId id="2147483846" r:id="rId198"/>
    <p:sldLayoutId id="2147483847" r:id="rId19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  <p:sldLayoutId id="2147483918" r:id="rId15"/>
    <p:sldLayoutId id="2147483919" r:id="rId16"/>
    <p:sldLayoutId id="2147483920" r:id="rId17"/>
    <p:sldLayoutId id="2147483921" r:id="rId18"/>
    <p:sldLayoutId id="2147483922" r:id="rId19"/>
    <p:sldLayoutId id="2147483923" r:id="rId20"/>
    <p:sldLayoutId id="2147483924" r:id="rId21"/>
    <p:sldLayoutId id="2147483925" r:id="rId22"/>
    <p:sldLayoutId id="2147483926" r:id="rId23"/>
    <p:sldLayoutId id="2147483927" r:id="rId24"/>
    <p:sldLayoutId id="2147483928" r:id="rId25"/>
    <p:sldLayoutId id="2147483929" r:id="rId26"/>
    <p:sldLayoutId id="2147483930" r:id="rId27"/>
    <p:sldLayoutId id="2147483931" r:id="rId28"/>
    <p:sldLayoutId id="2147483932" r:id="rId29"/>
    <p:sldLayoutId id="2147483933" r:id="rId30"/>
    <p:sldLayoutId id="2147483934" r:id="rId31"/>
    <p:sldLayoutId id="2147483935" r:id="rId32"/>
    <p:sldLayoutId id="2147483936" r:id="rId33"/>
    <p:sldLayoutId id="2147483937" r:id="rId34"/>
    <p:sldLayoutId id="2147483938" r:id="rId35"/>
    <p:sldLayoutId id="2147483939" r:id="rId36"/>
    <p:sldLayoutId id="2147483940" r:id="rId37"/>
    <p:sldLayoutId id="2147483941" r:id="rId38"/>
    <p:sldLayoutId id="2147483942" r:id="rId39"/>
    <p:sldLayoutId id="2147483943" r:id="rId40"/>
    <p:sldLayoutId id="2147483944" r:id="rId41"/>
    <p:sldLayoutId id="2147483945" r:id="rId42"/>
    <p:sldLayoutId id="2147483946" r:id="rId43"/>
    <p:sldLayoutId id="2147483947" r:id="rId44"/>
    <p:sldLayoutId id="2147483948" r:id="rId45"/>
    <p:sldLayoutId id="2147483949" r:id="rId46"/>
    <p:sldLayoutId id="2147483950" r:id="rId47"/>
    <p:sldLayoutId id="2147483951" r:id="rId48"/>
    <p:sldLayoutId id="2147483952" r:id="rId49"/>
    <p:sldLayoutId id="2147483953" r:id="rId50"/>
    <p:sldLayoutId id="2147483954" r:id="rId51"/>
    <p:sldLayoutId id="2147483955" r:id="rId52"/>
    <p:sldLayoutId id="2147483956" r:id="rId53"/>
    <p:sldLayoutId id="2147483957" r:id="rId54"/>
    <p:sldLayoutId id="2147483958" r:id="rId55"/>
    <p:sldLayoutId id="2147483959" r:id="rId56"/>
    <p:sldLayoutId id="2147483960" r:id="rId57"/>
    <p:sldLayoutId id="2147483961" r:id="rId58"/>
    <p:sldLayoutId id="2147483962" r:id="rId59"/>
    <p:sldLayoutId id="2147483963" r:id="rId60"/>
    <p:sldLayoutId id="2147483964" r:id="rId61"/>
    <p:sldLayoutId id="2147483965" r:id="rId62"/>
    <p:sldLayoutId id="2147483966" r:id="rId63"/>
    <p:sldLayoutId id="2147483967" r:id="rId64"/>
    <p:sldLayoutId id="2147483968" r:id="rId65"/>
    <p:sldLayoutId id="2147483969" r:id="rId66"/>
    <p:sldLayoutId id="2147483970" r:id="rId67"/>
    <p:sldLayoutId id="2147483971" r:id="rId68"/>
    <p:sldLayoutId id="2147483972" r:id="rId69"/>
    <p:sldLayoutId id="2147483973" r:id="rId70"/>
    <p:sldLayoutId id="2147483974" r:id="rId71"/>
    <p:sldLayoutId id="2147483975" r:id="rId72"/>
    <p:sldLayoutId id="2147483976" r:id="rId73"/>
    <p:sldLayoutId id="2147483977" r:id="rId74"/>
    <p:sldLayoutId id="2147483978" r:id="rId75"/>
    <p:sldLayoutId id="2147483979" r:id="rId76"/>
    <p:sldLayoutId id="2147483980" r:id="rId77"/>
    <p:sldLayoutId id="2147483981" r:id="rId78"/>
    <p:sldLayoutId id="2147483982" r:id="rId79"/>
    <p:sldLayoutId id="2147483983" r:id="rId80"/>
    <p:sldLayoutId id="2147483984" r:id="rId81"/>
    <p:sldLayoutId id="2147483985" r:id="rId82"/>
    <p:sldLayoutId id="2147483986" r:id="rId83"/>
    <p:sldLayoutId id="2147483987" r:id="rId84"/>
    <p:sldLayoutId id="2147483988" r:id="rId85"/>
    <p:sldLayoutId id="2147483989" r:id="rId86"/>
    <p:sldLayoutId id="2147483990" r:id="rId87"/>
    <p:sldLayoutId id="2147483991" r:id="rId88"/>
    <p:sldLayoutId id="2147483992" r:id="rId89"/>
    <p:sldLayoutId id="2147483993" r:id="rId90"/>
    <p:sldLayoutId id="2147483994" r:id="rId91"/>
    <p:sldLayoutId id="2147483995" r:id="rId92"/>
    <p:sldLayoutId id="2147483996" r:id="rId93"/>
    <p:sldLayoutId id="2147483997" r:id="rId94"/>
    <p:sldLayoutId id="2147483998" r:id="rId95"/>
    <p:sldLayoutId id="2147483999" r:id="rId96"/>
    <p:sldLayoutId id="2147484000" r:id="rId97"/>
    <p:sldLayoutId id="2147484001" r:id="rId98"/>
    <p:sldLayoutId id="2147484002" r:id="rId99"/>
    <p:sldLayoutId id="2147484003" r:id="rId100"/>
    <p:sldLayoutId id="2147484004" r:id="rId101"/>
    <p:sldLayoutId id="2147484005" r:id="rId102"/>
    <p:sldLayoutId id="2147484006" r:id="rId103"/>
    <p:sldLayoutId id="2147484007" r:id="rId104"/>
    <p:sldLayoutId id="2147484008" r:id="rId105"/>
    <p:sldLayoutId id="2147484009" r:id="rId106"/>
    <p:sldLayoutId id="2147484010" r:id="rId107"/>
    <p:sldLayoutId id="2147484011" r:id="rId108"/>
    <p:sldLayoutId id="2147484012" r:id="rId109"/>
    <p:sldLayoutId id="2147484013" r:id="rId110"/>
    <p:sldLayoutId id="2147484014" r:id="rId111"/>
    <p:sldLayoutId id="2147484015" r:id="rId112"/>
    <p:sldLayoutId id="2147484016" r:id="rId113"/>
    <p:sldLayoutId id="2147484017" r:id="rId114"/>
    <p:sldLayoutId id="2147484018" r:id="rId115"/>
    <p:sldLayoutId id="2147484019" r:id="rId116"/>
    <p:sldLayoutId id="2147484020" r:id="rId117"/>
    <p:sldLayoutId id="2147484021" r:id="rId118"/>
    <p:sldLayoutId id="2147484022" r:id="rId119"/>
    <p:sldLayoutId id="2147484023" r:id="rId120"/>
    <p:sldLayoutId id="2147484024" r:id="rId121"/>
    <p:sldLayoutId id="2147484025" r:id="rId122"/>
    <p:sldLayoutId id="2147484026" r:id="rId123"/>
    <p:sldLayoutId id="2147484027" r:id="rId124"/>
    <p:sldLayoutId id="2147484028" r:id="rId125"/>
    <p:sldLayoutId id="2147484029" r:id="rId126"/>
    <p:sldLayoutId id="2147484030" r:id="rId127"/>
    <p:sldLayoutId id="2147484031" r:id="rId128"/>
    <p:sldLayoutId id="2147484032" r:id="rId129"/>
    <p:sldLayoutId id="2147484033" r:id="rId130"/>
    <p:sldLayoutId id="2147484034" r:id="rId131"/>
    <p:sldLayoutId id="2147484035" r:id="rId132"/>
    <p:sldLayoutId id="2147484036" r:id="rId133"/>
    <p:sldLayoutId id="2147484037" r:id="rId134"/>
    <p:sldLayoutId id="2147484038" r:id="rId135"/>
    <p:sldLayoutId id="2147488031" r:id="rId136"/>
    <p:sldLayoutId id="2147484040" r:id="rId137"/>
    <p:sldLayoutId id="2147484041" r:id="rId138"/>
    <p:sldLayoutId id="2147488032" r:id="rId139"/>
    <p:sldLayoutId id="2147484043" r:id="rId140"/>
    <p:sldLayoutId id="2147484044" r:id="rId141"/>
    <p:sldLayoutId id="2147484045" r:id="rId142"/>
    <p:sldLayoutId id="2147488033" r:id="rId143"/>
    <p:sldLayoutId id="2147488034" r:id="rId144"/>
    <p:sldLayoutId id="2147488035" r:id="rId145"/>
    <p:sldLayoutId id="2147488036" r:id="rId146"/>
    <p:sldLayoutId id="2147488037" r:id="rId147"/>
    <p:sldLayoutId id="2147488038" r:id="rId148"/>
    <p:sldLayoutId id="2147488039" r:id="rId149"/>
    <p:sldLayoutId id="2147488040" r:id="rId150"/>
    <p:sldLayoutId id="2147488041" r:id="rId151"/>
    <p:sldLayoutId id="2147488042" r:id="rId152"/>
    <p:sldLayoutId id="2147488043" r:id="rId153"/>
    <p:sldLayoutId id="2147488044" r:id="rId154"/>
    <p:sldLayoutId id="2147488045" r:id="rId155"/>
    <p:sldLayoutId id="2147488046" r:id="rId156"/>
    <p:sldLayoutId id="2147488047" r:id="rId157"/>
    <p:sldLayoutId id="2147488048" r:id="rId158"/>
    <p:sldLayoutId id="2147488049" r:id="rId159"/>
    <p:sldLayoutId id="2147488050" r:id="rId160"/>
    <p:sldLayoutId id="2147488051" r:id="rId161"/>
    <p:sldLayoutId id="2147488052" r:id="rId162"/>
    <p:sldLayoutId id="2147484066" r:id="rId163"/>
    <p:sldLayoutId id="2147484067" r:id="rId164"/>
    <p:sldLayoutId id="2147484068" r:id="rId165"/>
    <p:sldLayoutId id="2147484069" r:id="rId166"/>
    <p:sldLayoutId id="2147484070" r:id="rId167"/>
    <p:sldLayoutId id="2147484071" r:id="rId168"/>
    <p:sldLayoutId id="2147484072" r:id="rId169"/>
    <p:sldLayoutId id="2147484073" r:id="rId170"/>
    <p:sldLayoutId id="2147484074" r:id="rId171"/>
    <p:sldLayoutId id="2147484075" r:id="rId172"/>
    <p:sldLayoutId id="2147484076" r:id="rId173"/>
    <p:sldLayoutId id="2147484077" r:id="rId174"/>
    <p:sldLayoutId id="2147484078" r:id="rId175"/>
    <p:sldLayoutId id="2147484079" r:id="rId176"/>
    <p:sldLayoutId id="2147484080" r:id="rId177"/>
    <p:sldLayoutId id="2147484081" r:id="rId178"/>
    <p:sldLayoutId id="2147484082" r:id="rId179"/>
    <p:sldLayoutId id="2147484083" r:id="rId180"/>
    <p:sldLayoutId id="2147484084" r:id="rId181"/>
    <p:sldLayoutId id="2147484085" r:id="rId182"/>
    <p:sldLayoutId id="2147484086" r:id="rId183"/>
    <p:sldLayoutId id="2147484087" r:id="rId184"/>
    <p:sldLayoutId id="2147484088" r:id="rId185"/>
    <p:sldLayoutId id="2147484089" r:id="rId186"/>
    <p:sldLayoutId id="2147484090" r:id="rId187"/>
    <p:sldLayoutId id="2147484091" r:id="rId188"/>
    <p:sldLayoutId id="2147484092" r:id="rId189"/>
    <p:sldLayoutId id="2147484093" r:id="rId190"/>
    <p:sldLayoutId id="2147484094" r:id="rId191"/>
    <p:sldLayoutId id="2147484095" r:id="rId192"/>
    <p:sldLayoutId id="2147484096" r:id="rId193"/>
    <p:sldLayoutId id="2147484097" r:id="rId194"/>
    <p:sldLayoutId id="2147488053" r:id="rId195"/>
    <p:sldLayoutId id="2147488054" r:id="rId196"/>
    <p:sldLayoutId id="2147488055" r:id="rId197"/>
    <p:sldLayoutId id="2147488056" r:id="rId198"/>
    <p:sldLayoutId id="2147488057" r:id="rId199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46753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060" r:id="rId1"/>
    <p:sldLayoutId id="2147488061" r:id="rId2"/>
    <p:sldLayoutId id="2147488062" r:id="rId3"/>
    <p:sldLayoutId id="2147488063" r:id="rId4"/>
    <p:sldLayoutId id="2147488064" r:id="rId5"/>
    <p:sldLayoutId id="2147488065" r:id="rId6"/>
    <p:sldLayoutId id="2147488066" r:id="rId7"/>
    <p:sldLayoutId id="2147488067" r:id="rId8"/>
    <p:sldLayoutId id="2147488068" r:id="rId9"/>
    <p:sldLayoutId id="2147488069" r:id="rId10"/>
    <p:sldLayoutId id="2147488070" r:id="rId11"/>
    <p:sldLayoutId id="2147488071" r:id="rId12"/>
    <p:sldLayoutId id="2147488072" r:id="rId13"/>
    <p:sldLayoutId id="2147488073" r:id="rId14"/>
    <p:sldLayoutId id="2147488074" r:id="rId15"/>
    <p:sldLayoutId id="2147488075" r:id="rId16"/>
    <p:sldLayoutId id="2147488076" r:id="rId17"/>
    <p:sldLayoutId id="2147488077" r:id="rId18"/>
    <p:sldLayoutId id="2147488078" r:id="rId19"/>
    <p:sldLayoutId id="2147488079" r:id="rId20"/>
    <p:sldLayoutId id="2147488080" r:id="rId21"/>
    <p:sldLayoutId id="2147488081" r:id="rId22"/>
    <p:sldLayoutId id="2147488082" r:id="rId23"/>
    <p:sldLayoutId id="2147488091" r:id="rId24"/>
    <p:sldLayoutId id="2147488092" r:id="rId25"/>
    <p:sldLayoutId id="2147488093" r:id="rId26"/>
    <p:sldLayoutId id="2147488094" r:id="rId27"/>
    <p:sldLayoutId id="2147488095" r:id="rId28"/>
    <p:sldLayoutId id="2147488096" r:id="rId29"/>
    <p:sldLayoutId id="2147488097" r:id="rId30"/>
    <p:sldLayoutId id="2147488098" r:id="rId31"/>
    <p:sldLayoutId id="2147488099" r:id="rId32"/>
    <p:sldLayoutId id="2147488100" r:id="rId33"/>
    <p:sldLayoutId id="2147488101" r:id="rId34"/>
    <p:sldLayoutId id="2147488102" r:id="rId35"/>
    <p:sldLayoutId id="2147488109" r:id="rId36"/>
    <p:sldLayoutId id="2147488126" r:id="rId37"/>
    <p:sldLayoutId id="2147488127" r:id="rId38"/>
    <p:sldLayoutId id="2147488128" r:id="rId39"/>
    <p:sldLayoutId id="2147488129" r:id="rId40"/>
    <p:sldLayoutId id="2147488130" r:id="rId41"/>
    <p:sldLayoutId id="2147488131" r:id="rId42"/>
    <p:sldLayoutId id="2147488132" r:id="rId43"/>
    <p:sldLayoutId id="2147488133" r:id="rId44"/>
    <p:sldLayoutId id="2147488134" r:id="rId45"/>
    <p:sldLayoutId id="2147488135" r:id="rId46"/>
    <p:sldLayoutId id="2147488139" r:id="rId47"/>
    <p:sldLayoutId id="2147488140" r:id="rId48"/>
    <p:sldLayoutId id="2147488142" r:id="rId49"/>
    <p:sldLayoutId id="2147488143" r:id="rId50"/>
    <p:sldLayoutId id="2147488144" r:id="rId51"/>
    <p:sldLayoutId id="2147488145" r:id="rId52"/>
    <p:sldLayoutId id="2147488146" r:id="rId53"/>
    <p:sldLayoutId id="2147488147" r:id="rId54"/>
    <p:sldLayoutId id="2147488148" r:id="rId55"/>
    <p:sldLayoutId id="2147488149" r:id="rId56"/>
    <p:sldLayoutId id="2147488150" r:id="rId57"/>
    <p:sldLayoutId id="2147488151" r:id="rId58"/>
    <p:sldLayoutId id="2147488163" r:id="rId59"/>
    <p:sldLayoutId id="2147488164" r:id="rId60"/>
    <p:sldLayoutId id="2147488165" r:id="rId61"/>
    <p:sldLayoutId id="2147488166" r:id="rId62"/>
    <p:sldLayoutId id="2147488167" r:id="rId63"/>
    <p:sldLayoutId id="2147488168" r:id="rId64"/>
    <p:sldLayoutId id="2147488169" r:id="rId65"/>
    <p:sldLayoutId id="2147488170" r:id="rId66"/>
    <p:sldLayoutId id="2147488171" r:id="rId67"/>
    <p:sldLayoutId id="2147488172" r:id="rId68"/>
    <p:sldLayoutId id="2147488173" r:id="rId69"/>
    <p:sldLayoutId id="2147488174" r:id="rId70"/>
    <p:sldLayoutId id="2147488175" r:id="rId71"/>
    <p:sldLayoutId id="2147488176" r:id="rId72"/>
    <p:sldLayoutId id="2147488186" r:id="rId73"/>
    <p:sldLayoutId id="2147488187" r:id="rId74"/>
    <p:sldLayoutId id="2147488188" r:id="rId75"/>
    <p:sldLayoutId id="2147488189" r:id="rId76"/>
    <p:sldLayoutId id="2147488190" r:id="rId77"/>
    <p:sldLayoutId id="2147488191" r:id="rId78"/>
    <p:sldLayoutId id="2147488192" r:id="rId79"/>
    <p:sldLayoutId id="2147488193" r:id="rId80"/>
    <p:sldLayoutId id="2147488194" r:id="rId81"/>
    <p:sldLayoutId id="2147488195" r:id="rId82"/>
    <p:sldLayoutId id="2147488196" r:id="rId83"/>
    <p:sldLayoutId id="2147488197" r:id="rId84"/>
    <p:sldLayoutId id="2147488198" r:id="rId85"/>
    <p:sldLayoutId id="2147488199" r:id="rId86"/>
    <p:sldLayoutId id="2147488200" r:id="rId87"/>
    <p:sldLayoutId id="2147488201" r:id="rId88"/>
    <p:sldLayoutId id="2147488202" r:id="rId89"/>
    <p:sldLayoutId id="2147488203" r:id="rId90"/>
    <p:sldLayoutId id="2147488204" r:id="rId91"/>
    <p:sldLayoutId id="2147488205" r:id="rId92"/>
    <p:sldLayoutId id="2147488206" r:id="rId93"/>
    <p:sldLayoutId id="2147488207" r:id="rId94"/>
    <p:sldLayoutId id="2147488208" r:id="rId95"/>
    <p:sldLayoutId id="2147488209" r:id="rId96"/>
    <p:sldLayoutId id="2147488210" r:id="rId97"/>
    <p:sldLayoutId id="2147488211" r:id="rId98"/>
    <p:sldLayoutId id="2147488218" r:id="rId99"/>
    <p:sldLayoutId id="2147488219" r:id="rId100"/>
    <p:sldLayoutId id="2147488220" r:id="rId101"/>
    <p:sldLayoutId id="2147488221" r:id="rId102"/>
    <p:sldLayoutId id="2147488248" r:id="rId10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70598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250" r:id="rId1"/>
    <p:sldLayoutId id="2147488251" r:id="rId2"/>
    <p:sldLayoutId id="2147488252" r:id="rId3"/>
    <p:sldLayoutId id="2147488253" r:id="rId4"/>
    <p:sldLayoutId id="2147488254" r:id="rId5"/>
    <p:sldLayoutId id="2147488255" r:id="rId6"/>
    <p:sldLayoutId id="2147488256" r:id="rId7"/>
    <p:sldLayoutId id="2147488257" r:id="rId8"/>
    <p:sldLayoutId id="2147488258" r:id="rId9"/>
    <p:sldLayoutId id="2147488259" r:id="rId10"/>
    <p:sldLayoutId id="2147488260" r:id="rId11"/>
    <p:sldLayoutId id="2147488261" r:id="rId12"/>
    <p:sldLayoutId id="2147488262" r:id="rId13"/>
    <p:sldLayoutId id="2147488263" r:id="rId14"/>
    <p:sldLayoutId id="2147488264" r:id="rId15"/>
    <p:sldLayoutId id="2147488265" r:id="rId16"/>
    <p:sldLayoutId id="2147488266" r:id="rId17"/>
    <p:sldLayoutId id="2147488267" r:id="rId18"/>
    <p:sldLayoutId id="2147488268" r:id="rId19"/>
    <p:sldLayoutId id="2147488269" r:id="rId20"/>
    <p:sldLayoutId id="2147488270" r:id="rId21"/>
    <p:sldLayoutId id="2147488271" r:id="rId22"/>
    <p:sldLayoutId id="2147488272" r:id="rId23"/>
    <p:sldLayoutId id="2147488273" r:id="rId24"/>
    <p:sldLayoutId id="2147488274" r:id="rId25"/>
    <p:sldLayoutId id="2147488275" r:id="rId26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6.png"/><Relationship Id="rId18" Type="http://schemas.openxmlformats.org/officeDocument/2006/relationships/image" Target="../media/image101.png"/><Relationship Id="rId3" Type="http://schemas.openxmlformats.org/officeDocument/2006/relationships/image" Target="../media/image86.png"/><Relationship Id="rId21" Type="http://schemas.openxmlformats.org/officeDocument/2006/relationships/image" Target="../media/image104.png"/><Relationship Id="rId7" Type="http://schemas.openxmlformats.org/officeDocument/2006/relationships/image" Target="../media/image90.png"/><Relationship Id="rId12" Type="http://schemas.openxmlformats.org/officeDocument/2006/relationships/image" Target="../media/image95.png"/><Relationship Id="rId17" Type="http://schemas.openxmlformats.org/officeDocument/2006/relationships/image" Target="../media/image100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99.png"/><Relationship Id="rId20" Type="http://schemas.openxmlformats.org/officeDocument/2006/relationships/image" Target="../media/image103.png"/><Relationship Id="rId1" Type="http://schemas.openxmlformats.org/officeDocument/2006/relationships/slideLayout" Target="../slideLayouts/slideLayout1182.xml"/><Relationship Id="rId6" Type="http://schemas.openxmlformats.org/officeDocument/2006/relationships/image" Target="../media/image89.png"/><Relationship Id="rId11" Type="http://schemas.openxmlformats.org/officeDocument/2006/relationships/image" Target="../media/image94.png"/><Relationship Id="rId5" Type="http://schemas.openxmlformats.org/officeDocument/2006/relationships/image" Target="../media/image88.png"/><Relationship Id="rId15" Type="http://schemas.openxmlformats.org/officeDocument/2006/relationships/image" Target="../media/image98.png"/><Relationship Id="rId23" Type="http://schemas.openxmlformats.org/officeDocument/2006/relationships/image" Target="../media/image106.png"/><Relationship Id="rId10" Type="http://schemas.openxmlformats.org/officeDocument/2006/relationships/image" Target="../media/image93.gif"/><Relationship Id="rId19" Type="http://schemas.openxmlformats.org/officeDocument/2006/relationships/image" Target="../media/image102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Relationship Id="rId14" Type="http://schemas.openxmlformats.org/officeDocument/2006/relationships/image" Target="../media/image97.png"/><Relationship Id="rId22" Type="http://schemas.openxmlformats.org/officeDocument/2006/relationships/image" Target="../media/image10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8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image" Target="../media/image139.png"/><Relationship Id="rId1" Type="http://schemas.openxmlformats.org/officeDocument/2006/relationships/slideLayout" Target="../slideLayouts/slideLayout1339.xml"/><Relationship Id="rId5" Type="http://schemas.openxmlformats.org/officeDocument/2006/relationships/image" Target="../media/image142.png"/><Relationship Id="rId4" Type="http://schemas.openxmlformats.org/officeDocument/2006/relationships/image" Target="../media/image14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4.png"/><Relationship Id="rId2" Type="http://schemas.openxmlformats.org/officeDocument/2006/relationships/image" Target="../media/image143.png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svg"/><Relationship Id="rId13" Type="http://schemas.openxmlformats.org/officeDocument/2006/relationships/image" Target="../media/image155.png"/><Relationship Id="rId3" Type="http://schemas.openxmlformats.org/officeDocument/2006/relationships/image" Target="../media/image145.png"/><Relationship Id="rId7" Type="http://schemas.openxmlformats.org/officeDocument/2006/relationships/image" Target="../media/image149.png"/><Relationship Id="rId12" Type="http://schemas.openxmlformats.org/officeDocument/2006/relationships/image" Target="../media/image154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50.xml"/><Relationship Id="rId6" Type="http://schemas.openxmlformats.org/officeDocument/2006/relationships/image" Target="../media/image148.svg"/><Relationship Id="rId11" Type="http://schemas.openxmlformats.org/officeDocument/2006/relationships/image" Target="../media/image153.png"/><Relationship Id="rId5" Type="http://schemas.openxmlformats.org/officeDocument/2006/relationships/image" Target="../media/image147.png"/><Relationship Id="rId15" Type="http://schemas.openxmlformats.org/officeDocument/2006/relationships/image" Target="../media/image88.png"/><Relationship Id="rId10" Type="http://schemas.openxmlformats.org/officeDocument/2006/relationships/image" Target="../media/image152.svg"/><Relationship Id="rId4" Type="http://schemas.openxmlformats.org/officeDocument/2006/relationships/image" Target="../media/image146.svg"/><Relationship Id="rId9" Type="http://schemas.openxmlformats.org/officeDocument/2006/relationships/image" Target="../media/image151.png"/><Relationship Id="rId14" Type="http://schemas.openxmlformats.org/officeDocument/2006/relationships/image" Target="../media/image156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jpeg"/><Relationship Id="rId1" Type="http://schemas.openxmlformats.org/officeDocument/2006/relationships/slideLayout" Target="../slideLayouts/slideLayout209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4.png"/><Relationship Id="rId13" Type="http://schemas.openxmlformats.org/officeDocument/2006/relationships/image" Target="../media/image169.png"/><Relationship Id="rId18" Type="http://schemas.microsoft.com/office/2007/relationships/diagramDrawing" Target="../diagrams/drawing1.xml"/><Relationship Id="rId3" Type="http://schemas.openxmlformats.org/officeDocument/2006/relationships/image" Target="../media/image159.png"/><Relationship Id="rId7" Type="http://schemas.openxmlformats.org/officeDocument/2006/relationships/image" Target="../media/image163.png"/><Relationship Id="rId12" Type="http://schemas.openxmlformats.org/officeDocument/2006/relationships/image" Target="../media/image168.png"/><Relationship Id="rId17" Type="http://schemas.openxmlformats.org/officeDocument/2006/relationships/diagramColors" Target="../diagrams/colors1.xml"/><Relationship Id="rId2" Type="http://schemas.openxmlformats.org/officeDocument/2006/relationships/notesSlide" Target="../notesSlides/notesSlide11.xml"/><Relationship Id="rId16" Type="http://schemas.openxmlformats.org/officeDocument/2006/relationships/diagramQuickStyle" Target="../diagrams/quickStyle1.xml"/><Relationship Id="rId1" Type="http://schemas.openxmlformats.org/officeDocument/2006/relationships/slideLayout" Target="../slideLayouts/slideLayout2108.xml"/><Relationship Id="rId6" Type="http://schemas.openxmlformats.org/officeDocument/2006/relationships/image" Target="../media/image162.png"/><Relationship Id="rId11" Type="http://schemas.openxmlformats.org/officeDocument/2006/relationships/image" Target="../media/image167.jpeg"/><Relationship Id="rId5" Type="http://schemas.openxmlformats.org/officeDocument/2006/relationships/image" Target="../media/image161.png"/><Relationship Id="rId15" Type="http://schemas.openxmlformats.org/officeDocument/2006/relationships/diagramLayout" Target="../diagrams/layout1.xml"/><Relationship Id="rId10" Type="http://schemas.openxmlformats.org/officeDocument/2006/relationships/image" Target="../media/image166.png"/><Relationship Id="rId4" Type="http://schemas.openxmlformats.org/officeDocument/2006/relationships/image" Target="../media/image160.png"/><Relationship Id="rId9" Type="http://schemas.openxmlformats.org/officeDocument/2006/relationships/image" Target="../media/image165.png"/><Relationship Id="rId14" Type="http://schemas.openxmlformats.org/officeDocument/2006/relationships/diagramData" Target="../diagrams/data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8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9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png"/><Relationship Id="rId2" Type="http://schemas.openxmlformats.org/officeDocument/2006/relationships/image" Target="../media/image172.png"/><Relationship Id="rId1" Type="http://schemas.openxmlformats.org/officeDocument/2006/relationships/slideLayout" Target="../slideLayouts/slideLayout2103.xml"/><Relationship Id="rId6" Type="http://schemas.openxmlformats.org/officeDocument/2006/relationships/image" Target="../media/image176.png"/><Relationship Id="rId5" Type="http://schemas.openxmlformats.org/officeDocument/2006/relationships/image" Target="../media/image175.png"/><Relationship Id="rId4" Type="http://schemas.openxmlformats.org/officeDocument/2006/relationships/image" Target="../media/image174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2.svg"/><Relationship Id="rId13" Type="http://schemas.openxmlformats.org/officeDocument/2006/relationships/image" Target="../media/image187.png"/><Relationship Id="rId3" Type="http://schemas.openxmlformats.org/officeDocument/2006/relationships/image" Target="../media/image177.png"/><Relationship Id="rId7" Type="http://schemas.openxmlformats.org/officeDocument/2006/relationships/image" Target="../media/image181.png"/><Relationship Id="rId12" Type="http://schemas.openxmlformats.org/officeDocument/2006/relationships/image" Target="../media/image186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80.svg"/><Relationship Id="rId11" Type="http://schemas.openxmlformats.org/officeDocument/2006/relationships/image" Target="../media/image185.png"/><Relationship Id="rId5" Type="http://schemas.openxmlformats.org/officeDocument/2006/relationships/image" Target="../media/image179.png"/><Relationship Id="rId10" Type="http://schemas.openxmlformats.org/officeDocument/2006/relationships/image" Target="../media/image184.svg"/><Relationship Id="rId4" Type="http://schemas.openxmlformats.org/officeDocument/2006/relationships/image" Target="../media/image178.svg"/><Relationship Id="rId9" Type="http://schemas.openxmlformats.org/officeDocument/2006/relationships/image" Target="../media/image183.png"/><Relationship Id="rId14" Type="http://schemas.openxmlformats.org/officeDocument/2006/relationships/image" Target="../media/image188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5.svg"/><Relationship Id="rId13" Type="http://schemas.openxmlformats.org/officeDocument/2006/relationships/image" Target="../media/image200.png"/><Relationship Id="rId3" Type="http://schemas.openxmlformats.org/officeDocument/2006/relationships/image" Target="../media/image190.svg"/><Relationship Id="rId7" Type="http://schemas.openxmlformats.org/officeDocument/2006/relationships/image" Target="../media/image194.png"/><Relationship Id="rId12" Type="http://schemas.openxmlformats.org/officeDocument/2006/relationships/image" Target="../media/image199.svg"/><Relationship Id="rId2" Type="http://schemas.openxmlformats.org/officeDocument/2006/relationships/image" Target="../media/image189.png"/><Relationship Id="rId16" Type="http://schemas.openxmlformats.org/officeDocument/2006/relationships/image" Target="../media/image203.sv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93.png"/><Relationship Id="rId11" Type="http://schemas.openxmlformats.org/officeDocument/2006/relationships/image" Target="../media/image198.png"/><Relationship Id="rId5" Type="http://schemas.openxmlformats.org/officeDocument/2006/relationships/image" Target="../media/image192.svg"/><Relationship Id="rId15" Type="http://schemas.openxmlformats.org/officeDocument/2006/relationships/image" Target="../media/image202.png"/><Relationship Id="rId10" Type="http://schemas.openxmlformats.org/officeDocument/2006/relationships/image" Target="../media/image197.svg"/><Relationship Id="rId4" Type="http://schemas.openxmlformats.org/officeDocument/2006/relationships/image" Target="../media/image191.png"/><Relationship Id="rId9" Type="http://schemas.openxmlformats.org/officeDocument/2006/relationships/image" Target="../media/image196.png"/><Relationship Id="rId14" Type="http://schemas.openxmlformats.org/officeDocument/2006/relationships/image" Target="../media/image201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9.png"/><Relationship Id="rId3" Type="http://schemas.openxmlformats.org/officeDocument/2006/relationships/image" Target="../media/image204.png"/><Relationship Id="rId7" Type="http://schemas.openxmlformats.org/officeDocument/2006/relationships/image" Target="../media/image208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07.png"/><Relationship Id="rId5" Type="http://schemas.openxmlformats.org/officeDocument/2006/relationships/image" Target="../media/image206.png"/><Relationship Id="rId4" Type="http://schemas.openxmlformats.org/officeDocument/2006/relationships/image" Target="../media/image20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3.svg"/><Relationship Id="rId5" Type="http://schemas.openxmlformats.org/officeDocument/2006/relationships/image" Target="../media/image212.png"/><Relationship Id="rId4" Type="http://schemas.openxmlformats.org/officeDocument/2006/relationships/image" Target="../media/image211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5.svg"/><Relationship Id="rId2" Type="http://schemas.openxmlformats.org/officeDocument/2006/relationships/image" Target="../media/image21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8.png"/><Relationship Id="rId5" Type="http://schemas.openxmlformats.org/officeDocument/2006/relationships/image" Target="../media/image217.svg"/><Relationship Id="rId4" Type="http://schemas.openxmlformats.org/officeDocument/2006/relationships/image" Target="../media/image21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9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2.png"/><Relationship Id="rId7" Type="http://schemas.openxmlformats.org/officeDocument/2006/relationships/image" Target="../media/image226.sv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5.png"/><Relationship Id="rId5" Type="http://schemas.openxmlformats.org/officeDocument/2006/relationships/image" Target="../media/image224.png"/><Relationship Id="rId4" Type="http://schemas.openxmlformats.org/officeDocument/2006/relationships/image" Target="../media/image223.sv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F_0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28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4.jpeg"/><Relationship Id="rId3" Type="http://schemas.openxmlformats.org/officeDocument/2006/relationships/image" Target="../media/image229.png"/><Relationship Id="rId7" Type="http://schemas.openxmlformats.org/officeDocument/2006/relationships/image" Target="../media/image233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32.jpeg"/><Relationship Id="rId5" Type="http://schemas.openxmlformats.org/officeDocument/2006/relationships/image" Target="../media/image231.jpeg"/><Relationship Id="rId4" Type="http://schemas.openxmlformats.org/officeDocument/2006/relationships/image" Target="../media/image230.jpe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0.svg"/><Relationship Id="rId13" Type="http://schemas.openxmlformats.org/officeDocument/2006/relationships/image" Target="../media/image245.png"/><Relationship Id="rId18" Type="http://schemas.openxmlformats.org/officeDocument/2006/relationships/image" Target="../media/image250.svg"/><Relationship Id="rId3" Type="http://schemas.openxmlformats.org/officeDocument/2006/relationships/image" Target="../media/image235.png"/><Relationship Id="rId7" Type="http://schemas.openxmlformats.org/officeDocument/2006/relationships/image" Target="../media/image239.png"/><Relationship Id="rId12" Type="http://schemas.openxmlformats.org/officeDocument/2006/relationships/image" Target="../media/image244.svg"/><Relationship Id="rId17" Type="http://schemas.openxmlformats.org/officeDocument/2006/relationships/image" Target="../media/image249.png"/><Relationship Id="rId2" Type="http://schemas.openxmlformats.org/officeDocument/2006/relationships/notesSlide" Target="../notesSlides/notesSlide25.xml"/><Relationship Id="rId16" Type="http://schemas.openxmlformats.org/officeDocument/2006/relationships/image" Target="../media/image248.svg"/><Relationship Id="rId20" Type="http://schemas.openxmlformats.org/officeDocument/2006/relationships/image" Target="../media/image252.svg"/><Relationship Id="rId1" Type="http://schemas.openxmlformats.org/officeDocument/2006/relationships/slideLayout" Target="../slideLayouts/slideLayout303.xml"/><Relationship Id="rId6" Type="http://schemas.openxmlformats.org/officeDocument/2006/relationships/image" Target="../media/image238.svg"/><Relationship Id="rId11" Type="http://schemas.openxmlformats.org/officeDocument/2006/relationships/image" Target="../media/image243.png"/><Relationship Id="rId5" Type="http://schemas.openxmlformats.org/officeDocument/2006/relationships/image" Target="../media/image237.png"/><Relationship Id="rId15" Type="http://schemas.openxmlformats.org/officeDocument/2006/relationships/image" Target="../media/image247.png"/><Relationship Id="rId10" Type="http://schemas.openxmlformats.org/officeDocument/2006/relationships/image" Target="../media/image242.svg"/><Relationship Id="rId19" Type="http://schemas.openxmlformats.org/officeDocument/2006/relationships/image" Target="../media/image251.png"/><Relationship Id="rId4" Type="http://schemas.openxmlformats.org/officeDocument/2006/relationships/image" Target="../media/image236.svg"/><Relationship Id="rId9" Type="http://schemas.openxmlformats.org/officeDocument/2006/relationships/image" Target="../media/image241.png"/><Relationship Id="rId14" Type="http://schemas.openxmlformats.org/officeDocument/2006/relationships/image" Target="../media/image246.sv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4.svg"/><Relationship Id="rId2" Type="http://schemas.openxmlformats.org/officeDocument/2006/relationships/image" Target="../media/image253.png"/><Relationship Id="rId1" Type="http://schemas.openxmlformats.org/officeDocument/2006/relationships/slideLayout" Target="../slideLayouts/slideLayout303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5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57.png"/><Relationship Id="rId4" Type="http://schemas.openxmlformats.org/officeDocument/2006/relationships/image" Target="../media/image256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14.xml"/><Relationship Id="rId4" Type="http://schemas.openxmlformats.org/officeDocument/2006/relationships/image" Target="../media/image258.png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5.png"/><Relationship Id="rId13" Type="http://schemas.openxmlformats.org/officeDocument/2006/relationships/image" Target="../media/image270.png"/><Relationship Id="rId3" Type="http://schemas.openxmlformats.org/officeDocument/2006/relationships/image" Target="../media/image260.svg"/><Relationship Id="rId7" Type="http://schemas.openxmlformats.org/officeDocument/2006/relationships/image" Target="../media/image264.svg"/><Relationship Id="rId12" Type="http://schemas.openxmlformats.org/officeDocument/2006/relationships/image" Target="../media/image269.png"/><Relationship Id="rId2" Type="http://schemas.openxmlformats.org/officeDocument/2006/relationships/image" Target="../media/image25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63.png"/><Relationship Id="rId11" Type="http://schemas.openxmlformats.org/officeDocument/2006/relationships/image" Target="../media/image268.svg"/><Relationship Id="rId5" Type="http://schemas.openxmlformats.org/officeDocument/2006/relationships/image" Target="../media/image262.svg"/><Relationship Id="rId10" Type="http://schemas.openxmlformats.org/officeDocument/2006/relationships/image" Target="../media/image267.png"/><Relationship Id="rId4" Type="http://schemas.openxmlformats.org/officeDocument/2006/relationships/image" Target="../media/image261.png"/><Relationship Id="rId9" Type="http://schemas.openxmlformats.org/officeDocument/2006/relationships/image" Target="../media/image266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2.png"/><Relationship Id="rId2" Type="http://schemas.openxmlformats.org/officeDocument/2006/relationships/image" Target="../media/image271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75.png"/><Relationship Id="rId5" Type="http://schemas.openxmlformats.org/officeDocument/2006/relationships/image" Target="../media/image274.png"/><Relationship Id="rId4" Type="http://schemas.openxmlformats.org/officeDocument/2006/relationships/image" Target="../media/image27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6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78.png"/><Relationship Id="rId4" Type="http://schemas.openxmlformats.org/officeDocument/2006/relationships/image" Target="../media/image277.png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4.jpeg"/><Relationship Id="rId3" Type="http://schemas.openxmlformats.org/officeDocument/2006/relationships/image" Target="../media/image279.jpeg"/><Relationship Id="rId7" Type="http://schemas.openxmlformats.org/officeDocument/2006/relationships/image" Target="../media/image283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69.xml"/><Relationship Id="rId6" Type="http://schemas.openxmlformats.org/officeDocument/2006/relationships/image" Target="../media/image282.png"/><Relationship Id="rId5" Type="http://schemas.openxmlformats.org/officeDocument/2006/relationships/image" Target="../media/image281.png"/><Relationship Id="rId10" Type="http://schemas.openxmlformats.org/officeDocument/2006/relationships/image" Target="../media/image286.jpeg"/><Relationship Id="rId4" Type="http://schemas.openxmlformats.org/officeDocument/2006/relationships/image" Target="../media/image280.jpeg"/><Relationship Id="rId9" Type="http://schemas.openxmlformats.org/officeDocument/2006/relationships/image" Target="../media/image285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7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89.png"/><Relationship Id="rId4" Type="http://schemas.openxmlformats.org/officeDocument/2006/relationships/image" Target="../media/image288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1.png"/><Relationship Id="rId2" Type="http://schemas.openxmlformats.org/officeDocument/2006/relationships/image" Target="../media/image290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93.png"/><Relationship Id="rId4" Type="http://schemas.openxmlformats.org/officeDocument/2006/relationships/image" Target="../media/image292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5.png"/><Relationship Id="rId2" Type="http://schemas.openxmlformats.org/officeDocument/2006/relationships/image" Target="../media/image294.png"/><Relationship Id="rId1" Type="http://schemas.openxmlformats.org/officeDocument/2006/relationships/slideLayout" Target="../slideLayouts/slideLayout2570.xml"/></Relationships>
</file>

<file path=ppt/slides/_rels/slide4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49_75110E4C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2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6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284.xml"/><Relationship Id="rId5" Type="http://schemas.openxmlformats.org/officeDocument/2006/relationships/image" Target="../media/image298.jpeg"/><Relationship Id="rId4" Type="http://schemas.openxmlformats.org/officeDocument/2006/relationships/image" Target="../media/image297.jpe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1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0.png"/><Relationship Id="rId2" Type="http://schemas.openxmlformats.org/officeDocument/2006/relationships/image" Target="../media/image299.jpeg"/><Relationship Id="rId1" Type="http://schemas.openxmlformats.org/officeDocument/2006/relationships/slideLayout" Target="../slideLayouts/slideLayout314.xml"/><Relationship Id="rId5" Type="http://schemas.openxmlformats.org/officeDocument/2006/relationships/image" Target="../media/image302.png"/><Relationship Id="rId4" Type="http://schemas.openxmlformats.org/officeDocument/2006/relationships/image" Target="../media/image301.sv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8.png"/><Relationship Id="rId3" Type="http://schemas.openxmlformats.org/officeDocument/2006/relationships/image" Target="../media/image303.png"/><Relationship Id="rId7" Type="http://schemas.openxmlformats.org/officeDocument/2006/relationships/image" Target="../media/image307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816.xml"/><Relationship Id="rId6" Type="http://schemas.openxmlformats.org/officeDocument/2006/relationships/image" Target="../media/image306.jpeg"/><Relationship Id="rId5" Type="http://schemas.openxmlformats.org/officeDocument/2006/relationships/image" Target="../media/image305.png"/><Relationship Id="rId4" Type="http://schemas.openxmlformats.org/officeDocument/2006/relationships/image" Target="../media/image304.png"/><Relationship Id="rId9" Type="http://schemas.openxmlformats.org/officeDocument/2006/relationships/image" Target="../media/image30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90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0.jpe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313.png"/><Relationship Id="rId5" Type="http://schemas.openxmlformats.org/officeDocument/2006/relationships/image" Target="../media/image312.png"/><Relationship Id="rId4" Type="http://schemas.openxmlformats.org/officeDocument/2006/relationships/image" Target="../media/image311.png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4.jpe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878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0.svg"/><Relationship Id="rId13" Type="http://schemas.openxmlformats.org/officeDocument/2006/relationships/image" Target="../media/image325.png"/><Relationship Id="rId3" Type="http://schemas.openxmlformats.org/officeDocument/2006/relationships/image" Target="../media/image315.png"/><Relationship Id="rId7" Type="http://schemas.openxmlformats.org/officeDocument/2006/relationships/image" Target="../media/image319.png"/><Relationship Id="rId12" Type="http://schemas.openxmlformats.org/officeDocument/2006/relationships/image" Target="../media/image324.sv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18.svg"/><Relationship Id="rId11" Type="http://schemas.openxmlformats.org/officeDocument/2006/relationships/image" Target="../media/image323.png"/><Relationship Id="rId5" Type="http://schemas.openxmlformats.org/officeDocument/2006/relationships/image" Target="../media/image317.png"/><Relationship Id="rId10" Type="http://schemas.openxmlformats.org/officeDocument/2006/relationships/image" Target="../media/image322.svg"/><Relationship Id="rId4" Type="http://schemas.openxmlformats.org/officeDocument/2006/relationships/image" Target="../media/image316.svg"/><Relationship Id="rId9" Type="http://schemas.openxmlformats.org/officeDocument/2006/relationships/image" Target="../media/image321.png"/><Relationship Id="rId14" Type="http://schemas.openxmlformats.org/officeDocument/2006/relationships/image" Target="../media/image326.sv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mailto:info@ilpqc.org" TargetMode="Externa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www.ariadnelabs.org/delivery-decisions-initiative/teambirth/" TargetMode="External"/><Relationship Id="rId4" Type="http://schemas.openxmlformats.org/officeDocument/2006/relationships/image" Target="../media/image327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8.png"/><Relationship Id="rId1" Type="http://schemas.openxmlformats.org/officeDocument/2006/relationships/slideLayout" Target="../slideLayouts/slideLayout2129.xml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png"/><Relationship Id="rId13" Type="http://schemas.openxmlformats.org/officeDocument/2006/relationships/image" Target="../media/image96.png"/><Relationship Id="rId18" Type="http://schemas.openxmlformats.org/officeDocument/2006/relationships/image" Target="../media/image101.png"/><Relationship Id="rId3" Type="http://schemas.openxmlformats.org/officeDocument/2006/relationships/image" Target="../media/image86.png"/><Relationship Id="rId21" Type="http://schemas.openxmlformats.org/officeDocument/2006/relationships/image" Target="../media/image104.png"/><Relationship Id="rId7" Type="http://schemas.openxmlformats.org/officeDocument/2006/relationships/image" Target="../media/image90.png"/><Relationship Id="rId12" Type="http://schemas.openxmlformats.org/officeDocument/2006/relationships/image" Target="../media/image95.png"/><Relationship Id="rId17" Type="http://schemas.openxmlformats.org/officeDocument/2006/relationships/image" Target="../media/image100.png"/><Relationship Id="rId2" Type="http://schemas.openxmlformats.org/officeDocument/2006/relationships/notesSlide" Target="../notesSlides/notesSlide39.xml"/><Relationship Id="rId16" Type="http://schemas.openxmlformats.org/officeDocument/2006/relationships/image" Target="../media/image99.png"/><Relationship Id="rId20" Type="http://schemas.openxmlformats.org/officeDocument/2006/relationships/image" Target="../media/image103.png"/><Relationship Id="rId1" Type="http://schemas.openxmlformats.org/officeDocument/2006/relationships/slideLayout" Target="../slideLayouts/slideLayout1182.xml"/><Relationship Id="rId6" Type="http://schemas.openxmlformats.org/officeDocument/2006/relationships/image" Target="../media/image89.png"/><Relationship Id="rId11" Type="http://schemas.openxmlformats.org/officeDocument/2006/relationships/image" Target="../media/image94.png"/><Relationship Id="rId5" Type="http://schemas.openxmlformats.org/officeDocument/2006/relationships/image" Target="../media/image88.png"/><Relationship Id="rId15" Type="http://schemas.openxmlformats.org/officeDocument/2006/relationships/image" Target="../media/image98.png"/><Relationship Id="rId23" Type="http://schemas.openxmlformats.org/officeDocument/2006/relationships/image" Target="../media/image106.png"/><Relationship Id="rId10" Type="http://schemas.openxmlformats.org/officeDocument/2006/relationships/image" Target="../media/image93.gif"/><Relationship Id="rId19" Type="http://schemas.openxmlformats.org/officeDocument/2006/relationships/image" Target="../media/image102.png"/><Relationship Id="rId4" Type="http://schemas.openxmlformats.org/officeDocument/2006/relationships/image" Target="../media/image87.png"/><Relationship Id="rId9" Type="http://schemas.openxmlformats.org/officeDocument/2006/relationships/image" Target="../media/image92.png"/><Relationship Id="rId14" Type="http://schemas.openxmlformats.org/officeDocument/2006/relationships/image" Target="../media/image97.png"/><Relationship Id="rId22" Type="http://schemas.openxmlformats.org/officeDocument/2006/relationships/image" Target="../media/image10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13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5.png"/><Relationship Id="rId13" Type="http://schemas.openxmlformats.org/officeDocument/2006/relationships/image" Target="../media/image120.svg"/><Relationship Id="rId18" Type="http://schemas.openxmlformats.org/officeDocument/2006/relationships/image" Target="../media/image125.png"/><Relationship Id="rId26" Type="http://schemas.openxmlformats.org/officeDocument/2006/relationships/image" Target="../media/image133.svg"/><Relationship Id="rId3" Type="http://schemas.openxmlformats.org/officeDocument/2006/relationships/image" Target="../media/image110.png"/><Relationship Id="rId21" Type="http://schemas.openxmlformats.org/officeDocument/2006/relationships/image" Target="../media/image128.png"/><Relationship Id="rId7" Type="http://schemas.openxmlformats.org/officeDocument/2006/relationships/image" Target="../media/image114.svg"/><Relationship Id="rId12" Type="http://schemas.openxmlformats.org/officeDocument/2006/relationships/image" Target="../media/image119.png"/><Relationship Id="rId17" Type="http://schemas.openxmlformats.org/officeDocument/2006/relationships/image" Target="../media/image124.svg"/><Relationship Id="rId25" Type="http://schemas.openxmlformats.org/officeDocument/2006/relationships/image" Target="../media/image132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123.png"/><Relationship Id="rId20" Type="http://schemas.openxmlformats.org/officeDocument/2006/relationships/image" Target="../media/image127.jpeg"/><Relationship Id="rId1" Type="http://schemas.openxmlformats.org/officeDocument/2006/relationships/slideLayout" Target="../slideLayouts/slideLayout303.xml"/><Relationship Id="rId6" Type="http://schemas.openxmlformats.org/officeDocument/2006/relationships/image" Target="../media/image113.png"/><Relationship Id="rId11" Type="http://schemas.openxmlformats.org/officeDocument/2006/relationships/image" Target="../media/image118.svg"/><Relationship Id="rId24" Type="http://schemas.openxmlformats.org/officeDocument/2006/relationships/image" Target="../media/image131.svg"/><Relationship Id="rId5" Type="http://schemas.openxmlformats.org/officeDocument/2006/relationships/image" Target="../media/image112.svg"/><Relationship Id="rId15" Type="http://schemas.openxmlformats.org/officeDocument/2006/relationships/image" Target="../media/image122.svg"/><Relationship Id="rId23" Type="http://schemas.openxmlformats.org/officeDocument/2006/relationships/image" Target="../media/image130.png"/><Relationship Id="rId10" Type="http://schemas.openxmlformats.org/officeDocument/2006/relationships/image" Target="../media/image117.png"/><Relationship Id="rId19" Type="http://schemas.openxmlformats.org/officeDocument/2006/relationships/image" Target="../media/image126.svg"/><Relationship Id="rId4" Type="http://schemas.openxmlformats.org/officeDocument/2006/relationships/image" Target="../media/image111.png"/><Relationship Id="rId9" Type="http://schemas.openxmlformats.org/officeDocument/2006/relationships/image" Target="../media/image116.svg"/><Relationship Id="rId14" Type="http://schemas.openxmlformats.org/officeDocument/2006/relationships/image" Target="../media/image121.png"/><Relationship Id="rId22" Type="http://schemas.openxmlformats.org/officeDocument/2006/relationships/image" Target="../media/image129.png"/><Relationship Id="rId27" Type="http://schemas.openxmlformats.org/officeDocument/2006/relationships/image" Target="../media/image13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132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85.xml"/><Relationship Id="rId4" Type="http://schemas.openxmlformats.org/officeDocument/2006/relationships/image" Target="../media/image1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B87E502-B226-8CC8-9CD8-4D6D0EEB5A46}"/>
              </a:ext>
            </a:extLst>
          </p:cNvPr>
          <p:cNvSpPr/>
          <p:nvPr/>
        </p:nvSpPr>
        <p:spPr>
          <a:xfrm>
            <a:off x="7117466" y="0"/>
            <a:ext cx="5105400" cy="2247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F04537-23BF-21CC-C67C-621776B6EE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F354D6-E765-6068-4572-8AAC509F5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59911C8-FB04-AB1E-9DF3-1719F4A8E412}"/>
              </a:ext>
            </a:extLst>
          </p:cNvPr>
          <p:cNvSpPr txBox="1">
            <a:spLocks/>
          </p:cNvSpPr>
          <p:nvPr/>
        </p:nvSpPr>
        <p:spPr>
          <a:xfrm>
            <a:off x="3414623" y="6796"/>
            <a:ext cx="5306742" cy="593308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79818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Thanks to our Funders</a:t>
            </a:r>
          </a:p>
        </p:txBody>
      </p:sp>
      <p:pic>
        <p:nvPicPr>
          <p:cNvPr id="11" name="Picture 8" descr="IDPH | Protecting health, improving lives.">
            <a:extLst>
              <a:ext uri="{FF2B5EF4-FFF2-40B4-BE49-F238E27FC236}">
                <a16:creationId xmlns:a16="http://schemas.microsoft.com/office/drawing/2014/main" id="{79E5BE18-815B-2128-14F6-55F28E4E9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196" y="1370687"/>
            <a:ext cx="2558009" cy="6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File:US CDC logo.svg - Wikimedia Commons">
            <a:extLst>
              <a:ext uri="{FF2B5EF4-FFF2-40B4-BE49-F238E27FC236}">
                <a16:creationId xmlns:a16="http://schemas.microsoft.com/office/drawing/2014/main" id="{2089DC53-0BA7-A340-049B-28714F3ABB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9332" y="1022630"/>
            <a:ext cx="1398959" cy="1057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Logo&#10;&#10;Description automatically generated">
            <a:extLst>
              <a:ext uri="{FF2B5EF4-FFF2-40B4-BE49-F238E27FC236}">
                <a16:creationId xmlns:a16="http://schemas.microsoft.com/office/drawing/2014/main" id="{DADE1F50-90C5-48DA-A421-40E43ECF4B0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3340" y="952418"/>
            <a:ext cx="1161691" cy="1151682"/>
          </a:xfrm>
          <a:prstGeom prst="rect">
            <a:avLst/>
          </a:prstGeom>
        </p:spPr>
      </p:pic>
      <p:pic>
        <p:nvPicPr>
          <p:cNvPr id="19" name="Picture 6" descr="https://cpcqc.org/wp-content/uploads/2021/03/aim.png">
            <a:extLst>
              <a:ext uri="{FF2B5EF4-FFF2-40B4-BE49-F238E27FC236}">
                <a16:creationId xmlns:a16="http://schemas.microsoft.com/office/drawing/2014/main" id="{E0BEE24B-C711-AF67-8719-D780030A01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3059" y="3866296"/>
            <a:ext cx="1589596" cy="787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9D083F7A-AFCE-F54E-02B9-D4B8C1C92D81}"/>
              </a:ext>
            </a:extLst>
          </p:cNvPr>
          <p:cNvSpPr txBox="1">
            <a:spLocks/>
          </p:cNvSpPr>
          <p:nvPr/>
        </p:nvSpPr>
        <p:spPr>
          <a:xfrm>
            <a:off x="3008923" y="2079341"/>
            <a:ext cx="5306742" cy="5933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79818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CME Provider: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50000"/>
                </a:srgbClr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23" name="Picture 2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A20C2A0-D821-113D-2E8F-F2901D13645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517" y="4838846"/>
            <a:ext cx="1997974" cy="461295"/>
          </a:xfrm>
          <a:prstGeom prst="rect">
            <a:avLst/>
          </a:prstGeom>
        </p:spPr>
      </p:pic>
      <p:pic>
        <p:nvPicPr>
          <p:cNvPr id="26" name="Picture 26" descr="Shape&#10;&#10;Description automatically generated">
            <a:extLst>
              <a:ext uri="{FF2B5EF4-FFF2-40B4-BE49-F238E27FC236}">
                <a16:creationId xmlns:a16="http://schemas.microsoft.com/office/drawing/2014/main" id="{96D5ACFE-CE81-CDDB-1B02-7080CC2813D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117" y="5475300"/>
            <a:ext cx="2098063" cy="629257"/>
          </a:xfrm>
          <a:prstGeom prst="rect">
            <a:avLst/>
          </a:prstGeom>
        </p:spPr>
      </p:pic>
      <p:pic>
        <p:nvPicPr>
          <p:cNvPr id="28" name="Picture 28" descr="Logo, company name&#10;&#10;Description automatically generated">
            <a:extLst>
              <a:ext uri="{FF2B5EF4-FFF2-40B4-BE49-F238E27FC236}">
                <a16:creationId xmlns:a16="http://schemas.microsoft.com/office/drawing/2014/main" id="{8E8BA1E6-1D6A-7763-4368-7FD49A2FB6F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42063" y="2533110"/>
            <a:ext cx="2146800" cy="985575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8C324D09-08DE-21B5-8F28-FE8F4773F51B}"/>
              </a:ext>
            </a:extLst>
          </p:cNvPr>
          <p:cNvSpPr txBox="1">
            <a:spLocks/>
          </p:cNvSpPr>
          <p:nvPr/>
        </p:nvSpPr>
        <p:spPr>
          <a:xfrm>
            <a:off x="3048000" y="3531454"/>
            <a:ext cx="5306742" cy="5933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79818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Supporters: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50000"/>
                </a:srgbClr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3" name="Picture 2" descr="Laboratory of Neurogenomics and Novel Therapies Web Site – Research and  Patient Care at Northwestern">
            <a:extLst>
              <a:ext uri="{FF2B5EF4-FFF2-40B4-BE49-F238E27FC236}">
                <a16:creationId xmlns:a16="http://schemas.microsoft.com/office/drawing/2014/main" id="{8822425D-6509-8E77-A66A-276D5D3411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26" y="4784402"/>
            <a:ext cx="1608068" cy="624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 descr="Text&#10;&#10;Description automatically generated">
            <a:extLst>
              <a:ext uri="{FF2B5EF4-FFF2-40B4-BE49-F238E27FC236}">
                <a16:creationId xmlns:a16="http://schemas.microsoft.com/office/drawing/2014/main" id="{0CD0FDDE-DB87-D374-3714-F8397751BF14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3413" y="4839998"/>
            <a:ext cx="1364749" cy="593817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1A47E77-6815-0449-DB09-7302D615E620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8844" y="4923984"/>
            <a:ext cx="2140342" cy="428068"/>
          </a:xfrm>
          <a:prstGeom prst="rect">
            <a:avLst/>
          </a:prstGeom>
        </p:spPr>
      </p:pic>
      <p:pic>
        <p:nvPicPr>
          <p:cNvPr id="38" name="Picture 3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C50CA5DC-22F1-D5B7-FDC4-9802303D2C06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884" y="4044970"/>
            <a:ext cx="1664899" cy="598041"/>
          </a:xfrm>
          <a:prstGeom prst="rect">
            <a:avLst/>
          </a:prstGeom>
        </p:spPr>
      </p:pic>
      <p:pic>
        <p:nvPicPr>
          <p:cNvPr id="39" name="Picture 39" descr="Text&#10;&#10;Description automatically generated">
            <a:extLst>
              <a:ext uri="{FF2B5EF4-FFF2-40B4-BE49-F238E27FC236}">
                <a16:creationId xmlns:a16="http://schemas.microsoft.com/office/drawing/2014/main" id="{7C577206-38B5-60CD-FDA3-3A06519F7501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6743" y="3922201"/>
            <a:ext cx="2743200" cy="733720"/>
          </a:xfrm>
          <a:prstGeom prst="rect">
            <a:avLst/>
          </a:prstGeom>
        </p:spPr>
      </p:pic>
      <p:pic>
        <p:nvPicPr>
          <p:cNvPr id="40" name="Picture 40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7506A5BC-3C62-323D-5694-C030537B5693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7513" y="4004943"/>
            <a:ext cx="2743200" cy="773944"/>
          </a:xfrm>
          <a:prstGeom prst="rect">
            <a:avLst/>
          </a:prstGeom>
        </p:spPr>
      </p:pic>
      <p:pic>
        <p:nvPicPr>
          <p:cNvPr id="41" name="Picture 41" descr="A picture containing icon&#10;&#10;Description automatically generated">
            <a:extLst>
              <a:ext uri="{FF2B5EF4-FFF2-40B4-BE49-F238E27FC236}">
                <a16:creationId xmlns:a16="http://schemas.microsoft.com/office/drawing/2014/main" id="{A1107B0C-0CBB-BEB9-1B05-6527881AAF1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0069" y="4042826"/>
            <a:ext cx="1905000" cy="476250"/>
          </a:xfrm>
          <a:prstGeom prst="rect">
            <a:avLst/>
          </a:prstGeom>
        </p:spPr>
      </p:pic>
      <p:pic>
        <p:nvPicPr>
          <p:cNvPr id="42" name="Picture 42">
            <a:extLst>
              <a:ext uri="{FF2B5EF4-FFF2-40B4-BE49-F238E27FC236}">
                <a16:creationId xmlns:a16="http://schemas.microsoft.com/office/drawing/2014/main" id="{424A60D3-9C09-2BC2-C30C-B160790D2B2D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029" y="5567481"/>
            <a:ext cx="2401277" cy="661260"/>
          </a:xfrm>
          <a:prstGeom prst="rect">
            <a:avLst/>
          </a:prstGeom>
        </p:spPr>
      </p:pic>
      <p:pic>
        <p:nvPicPr>
          <p:cNvPr id="44" name="Picture 44">
            <a:extLst>
              <a:ext uri="{FF2B5EF4-FFF2-40B4-BE49-F238E27FC236}">
                <a16:creationId xmlns:a16="http://schemas.microsoft.com/office/drawing/2014/main" id="{9D3A7F2A-2208-12DB-86D9-EC2D5EA56612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605" y="5480746"/>
            <a:ext cx="2137508" cy="785525"/>
          </a:xfrm>
          <a:prstGeom prst="rect">
            <a:avLst/>
          </a:prstGeom>
        </p:spPr>
      </p:pic>
      <p:pic>
        <p:nvPicPr>
          <p:cNvPr id="45" name="Picture 45" descr="Logo, company name&#10;&#10;Description automatically generated">
            <a:extLst>
              <a:ext uri="{FF2B5EF4-FFF2-40B4-BE49-F238E27FC236}">
                <a16:creationId xmlns:a16="http://schemas.microsoft.com/office/drawing/2014/main" id="{782F805C-EB35-7022-84B0-AD214D82CF4D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7457" y="5519059"/>
            <a:ext cx="2098431" cy="786263"/>
          </a:xfrm>
          <a:prstGeom prst="rect">
            <a:avLst/>
          </a:prstGeom>
        </p:spPr>
      </p:pic>
      <p:pic>
        <p:nvPicPr>
          <p:cNvPr id="46" name="Picture 46" descr="Logo&#10;&#10;Description automatically generated">
            <a:extLst>
              <a:ext uri="{FF2B5EF4-FFF2-40B4-BE49-F238E27FC236}">
                <a16:creationId xmlns:a16="http://schemas.microsoft.com/office/drawing/2014/main" id="{5C76C4E5-EF6E-7DCF-7A3D-7C6B7D099609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1356" y="5541092"/>
            <a:ext cx="1432414" cy="625964"/>
          </a:xfrm>
          <a:prstGeom prst="rect">
            <a:avLst/>
          </a:prstGeom>
        </p:spPr>
      </p:pic>
      <p:pic>
        <p:nvPicPr>
          <p:cNvPr id="2" name="Picture 1" descr="A blue and red logo&#10;&#10;Description automatically generated">
            <a:extLst>
              <a:ext uri="{FF2B5EF4-FFF2-40B4-BE49-F238E27FC236}">
                <a16:creationId xmlns:a16="http://schemas.microsoft.com/office/drawing/2014/main" id="{ECE903D3-6DF3-0A95-6FCE-C7B913CE91EE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9334" y="1495206"/>
            <a:ext cx="1895475" cy="581025"/>
          </a:xfrm>
          <a:prstGeom prst="rect">
            <a:avLst/>
          </a:prstGeom>
        </p:spPr>
      </p:pic>
      <p:pic>
        <p:nvPicPr>
          <p:cNvPr id="3" name="Picture 2" descr="A logo with a person in the middle&#10;&#10;Description automatically generated">
            <a:extLst>
              <a:ext uri="{FF2B5EF4-FFF2-40B4-BE49-F238E27FC236}">
                <a16:creationId xmlns:a16="http://schemas.microsoft.com/office/drawing/2014/main" id="{5E3DA647-E681-42AD-4697-9847DA8B541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4588" y="1052513"/>
            <a:ext cx="1476375" cy="1190625"/>
          </a:xfrm>
          <a:prstGeom prst="rect">
            <a:avLst/>
          </a:prstGeom>
        </p:spPr>
      </p:pic>
      <p:pic>
        <p:nvPicPr>
          <p:cNvPr id="10" name="Picture 9" descr="Endeavor Health Home Hero">
            <a:extLst>
              <a:ext uri="{FF2B5EF4-FFF2-40B4-BE49-F238E27FC236}">
                <a16:creationId xmlns:a16="http://schemas.microsoft.com/office/drawing/2014/main" id="{ABD007DF-74E2-3F24-66E5-63CC0F1D113A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08" t="56067" r="23325" b="2086"/>
          <a:stretch/>
        </p:blipFill>
        <p:spPr>
          <a:xfrm>
            <a:off x="66791" y="4921727"/>
            <a:ext cx="2951315" cy="553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10205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4" name="Google Shape;2024;g24847f8a41b_0_5724"/>
          <p:cNvSpPr/>
          <p:nvPr/>
        </p:nvSpPr>
        <p:spPr>
          <a:xfrm>
            <a:off x="0" y="0"/>
            <a:ext cx="12189000" cy="6858000"/>
          </a:xfrm>
          <a:prstGeom prst="rect">
            <a:avLst/>
          </a:prstGeom>
          <a:gradFill flip="none" rotWithShape="1">
            <a:gsLst>
              <a:gs pos="0">
                <a:srgbClr val="CA5C02">
                  <a:tint val="66000"/>
                  <a:satMod val="160000"/>
                </a:srgbClr>
              </a:gs>
              <a:gs pos="50000">
                <a:srgbClr val="CA5C02">
                  <a:tint val="44500"/>
                  <a:satMod val="160000"/>
                </a:srgbClr>
              </a:gs>
              <a:gs pos="100000">
                <a:srgbClr val="CA5C02">
                  <a:tint val="23500"/>
                  <a:satMod val="160000"/>
                </a:srgbClr>
              </a:gs>
            </a:gsLst>
            <a:lin ang="2700000" scaled="1"/>
            <a:tileRect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25" name="Google Shape;2025;g24847f8a41b_0_5724"/>
          <p:cNvSpPr txBox="1">
            <a:spLocks noGrp="1"/>
          </p:cNvSpPr>
          <p:nvPr>
            <p:ph type="title"/>
          </p:nvPr>
        </p:nvSpPr>
        <p:spPr>
          <a:xfrm>
            <a:off x="95358" y="-142447"/>
            <a:ext cx="4540278" cy="55203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800"/>
              <a:buFont typeface="Calibri"/>
              <a:buNone/>
            </a:pPr>
            <a:r>
              <a:rPr lang="en-US" sz="3800">
                <a:latin typeface="Aptos"/>
              </a:rPr>
              <a:t>Make Sure </a:t>
            </a:r>
            <a:endParaRPr>
              <a:latin typeface="Aptos"/>
            </a:endParaRPr>
          </a:p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800"/>
              <a:buFont typeface="Calibri"/>
              <a:buNone/>
            </a:pPr>
            <a:r>
              <a:rPr lang="en-US" sz="3800">
                <a:latin typeface="Aptos"/>
              </a:rPr>
              <a:t>to Come &amp; Visit</a:t>
            </a:r>
            <a:r>
              <a:rPr lang="en-US" sz="5400">
                <a:latin typeface="Aptos"/>
              </a:rPr>
              <a:t> </a:t>
            </a:r>
            <a:br>
              <a:rPr lang="en-US" sz="5400">
                <a:latin typeface="Aptos"/>
              </a:rPr>
            </a:br>
            <a:r>
              <a:rPr lang="en-US" sz="5400">
                <a:latin typeface="Aptos"/>
              </a:rPr>
              <a:t>ILPQC's</a:t>
            </a:r>
            <a:br>
              <a:rPr lang="en-US" sz="5400">
                <a:latin typeface="Aptos"/>
              </a:rPr>
            </a:br>
            <a:r>
              <a:rPr lang="en-US" sz="5400">
                <a:latin typeface="Aptos"/>
              </a:rPr>
              <a:t>Partner Tables</a:t>
            </a:r>
            <a:endParaRPr sz="5400">
              <a:latin typeface="Aptos"/>
            </a:endParaRPr>
          </a:p>
        </p:txBody>
      </p:sp>
      <p:sp>
        <p:nvSpPr>
          <p:cNvPr id="2026" name="Google Shape;2026;g24847f8a41b_0_5724"/>
          <p:cNvSpPr/>
          <p:nvPr/>
        </p:nvSpPr>
        <p:spPr>
          <a:xfrm rot="5400000">
            <a:off x="2201560" y="3452281"/>
            <a:ext cx="5410200" cy="18288"/>
          </a:xfrm>
          <a:custGeom>
            <a:avLst/>
            <a:gdLst/>
            <a:ahLst/>
            <a:cxnLst/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27" name="Google Shape;2027;g24847f8a41b_0_5724"/>
          <p:cNvSpPr txBox="1">
            <a:spLocks noGrp="1"/>
          </p:cNvSpPr>
          <p:nvPr>
            <p:ph type="sldNum" idx="12"/>
          </p:nvPr>
        </p:nvSpPr>
        <p:spPr>
          <a:xfrm>
            <a:off x="9915423" y="4914180"/>
            <a:ext cx="1633200" cy="217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</a:pPr>
            <a:fld id="{00000000-1234-1234-1234-123412341234}" type="slidenum">
              <a:rPr lang="en-US"/>
              <a:t>10</a:t>
            </a:fld>
            <a:endParaRPr/>
          </a:p>
        </p:txBody>
      </p:sp>
      <p:sp>
        <p:nvSpPr>
          <p:cNvPr id="2028" name="Google Shape;2028;g24847f8a41b_0_5724"/>
          <p:cNvSpPr txBox="1"/>
          <p:nvPr/>
        </p:nvSpPr>
        <p:spPr>
          <a:xfrm>
            <a:off x="4131" y="4751006"/>
            <a:ext cx="4254000" cy="831000"/>
          </a:xfrm>
          <a:prstGeom prst="rect">
            <a:avLst/>
          </a:prstGeom>
          <a:solidFill>
            <a:srgbClr val="F4D8CD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rgbClr val="000000"/>
                </a:solidFill>
                <a:latin typeface="Aptos"/>
                <a:ea typeface="Calibri"/>
                <a:cs typeface="Calibri"/>
                <a:sym typeface="Calibri"/>
              </a:rPr>
              <a:t>Open during Storyboard &amp; Lunch Sessions</a:t>
            </a:r>
            <a:endParaRPr sz="2400" b="1">
              <a:solidFill>
                <a:srgbClr val="000000"/>
              </a:solidFill>
              <a:latin typeface="Aptos"/>
              <a:ea typeface="Arial"/>
              <a:cs typeface="Arial"/>
              <a:sym typeface="Arial"/>
            </a:endParaRPr>
          </a:p>
        </p:txBody>
      </p:sp>
      <p:sp>
        <p:nvSpPr>
          <p:cNvPr id="2029" name="Google Shape;2029;g24847f8a41b_0_5724"/>
          <p:cNvSpPr txBox="1"/>
          <p:nvPr/>
        </p:nvSpPr>
        <p:spPr>
          <a:xfrm>
            <a:off x="3300" y="5712822"/>
            <a:ext cx="4254000" cy="446400"/>
          </a:xfrm>
          <a:prstGeom prst="rect">
            <a:avLst/>
          </a:prstGeom>
          <a:solidFill>
            <a:srgbClr val="F7F5F8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300" b="1">
                <a:solidFill>
                  <a:schemeClr val="accent1"/>
                </a:solidFill>
                <a:latin typeface="Aptos"/>
                <a:ea typeface="Calibri"/>
                <a:cs typeface="Calibri"/>
                <a:sym typeface="Calibri"/>
              </a:rPr>
              <a:t>Located outside the ballroom</a:t>
            </a:r>
            <a:endParaRPr sz="2300">
              <a:solidFill>
                <a:schemeClr val="accent1"/>
              </a:solidFill>
              <a:latin typeface="Aptos"/>
              <a:ea typeface="Arial"/>
              <a:cs typeface="Arial"/>
              <a:sym typeface="Arial"/>
            </a:endParaRPr>
          </a:p>
        </p:txBody>
      </p:sp>
      <p:pic>
        <p:nvPicPr>
          <p:cNvPr id="2" name="Picture 1" descr="A screenshot of a chart&#10;&#10;Description automatically generated">
            <a:extLst>
              <a:ext uri="{FF2B5EF4-FFF2-40B4-BE49-F238E27FC236}">
                <a16:creationId xmlns:a16="http://schemas.microsoft.com/office/drawing/2014/main" id="{CECC15C1-AC8E-D998-D9D3-EBBB10CDE89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2956" y="-1044"/>
            <a:ext cx="6860087" cy="6860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3748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E9C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rot="-5400000">
            <a:off x="3379978" y="-2270439"/>
            <a:ext cx="5511868" cy="11339301"/>
          </a:xfrm>
          <a:custGeom>
            <a:avLst/>
            <a:gdLst/>
            <a:ahLst/>
            <a:cxnLst/>
            <a:rect l="l" t="t" r="r" b="b"/>
            <a:pathLst>
              <a:path w="8267802" h="17008952">
                <a:moveTo>
                  <a:pt x="0" y="0"/>
                </a:moveTo>
                <a:lnTo>
                  <a:pt x="8267802" y="0"/>
                </a:lnTo>
                <a:lnTo>
                  <a:pt x="8267802" y="17008952"/>
                </a:lnTo>
                <a:lnTo>
                  <a:pt x="0" y="17008952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email">
              <a:alphaModFix am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l="-3243" t="-1530" r="-2099" b="-785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8099336" y="-2659880"/>
            <a:ext cx="6297310" cy="4085999"/>
          </a:xfrm>
          <a:custGeom>
            <a:avLst/>
            <a:gdLst/>
            <a:ahLst/>
            <a:cxnLst/>
            <a:rect l="l" t="t" r="r" b="b"/>
            <a:pathLst>
              <a:path w="9445965" h="6128999">
                <a:moveTo>
                  <a:pt x="0" y="0"/>
                </a:moveTo>
                <a:lnTo>
                  <a:pt x="9445965" y="0"/>
                </a:lnTo>
                <a:lnTo>
                  <a:pt x="9445965" y="6128999"/>
                </a:lnTo>
                <a:lnTo>
                  <a:pt x="0" y="612899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 flipH="1" flipV="1">
            <a:off x="-2325392" y="5590617"/>
            <a:ext cx="6297310" cy="4085999"/>
          </a:xfrm>
          <a:custGeom>
            <a:avLst/>
            <a:gdLst/>
            <a:ahLst/>
            <a:cxnLst/>
            <a:rect l="l" t="t" r="r" b="b"/>
            <a:pathLst>
              <a:path w="9445965" h="6128999">
                <a:moveTo>
                  <a:pt x="9445965" y="6128999"/>
                </a:moveTo>
                <a:lnTo>
                  <a:pt x="0" y="6128999"/>
                </a:lnTo>
                <a:lnTo>
                  <a:pt x="0" y="0"/>
                </a:lnTo>
                <a:lnTo>
                  <a:pt x="9445965" y="0"/>
                </a:lnTo>
                <a:lnTo>
                  <a:pt x="9445965" y="6128999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823263" y="-715778"/>
            <a:ext cx="2398488" cy="1181255"/>
          </a:xfrm>
          <a:custGeom>
            <a:avLst/>
            <a:gdLst/>
            <a:ahLst/>
            <a:cxnLst/>
            <a:rect l="l" t="t" r="r" b="b"/>
            <a:pathLst>
              <a:path w="3597732" h="1771883">
                <a:moveTo>
                  <a:pt x="0" y="0"/>
                </a:moveTo>
                <a:lnTo>
                  <a:pt x="3597732" y="0"/>
                </a:lnTo>
                <a:lnTo>
                  <a:pt x="3597732" y="1771883"/>
                </a:lnTo>
                <a:lnTo>
                  <a:pt x="0" y="1771883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5668438" y="668745"/>
            <a:ext cx="5760000" cy="5486400"/>
          </a:xfrm>
          <a:custGeom>
            <a:avLst/>
            <a:gdLst/>
            <a:ahLst/>
            <a:cxnLst/>
            <a:rect l="l" t="t" r="r" b="b"/>
            <a:pathLst>
              <a:path w="8640000" h="8229600">
                <a:moveTo>
                  <a:pt x="0" y="0"/>
                </a:moveTo>
                <a:lnTo>
                  <a:pt x="8640000" y="0"/>
                </a:lnTo>
                <a:lnTo>
                  <a:pt x="8640000" y="8229600"/>
                </a:lnTo>
                <a:lnTo>
                  <a:pt x="0" y="822960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5112779" y="6350001"/>
            <a:ext cx="2398488" cy="1181255"/>
          </a:xfrm>
          <a:custGeom>
            <a:avLst/>
            <a:gdLst/>
            <a:ahLst/>
            <a:cxnLst/>
            <a:rect l="l" t="t" r="r" b="b"/>
            <a:pathLst>
              <a:path w="3597732" h="1771883">
                <a:moveTo>
                  <a:pt x="0" y="0"/>
                </a:moveTo>
                <a:lnTo>
                  <a:pt x="3597732" y="0"/>
                </a:lnTo>
                <a:lnTo>
                  <a:pt x="3597732" y="1771883"/>
                </a:lnTo>
                <a:lnTo>
                  <a:pt x="0" y="1771883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TextBox 8"/>
          <p:cNvSpPr txBox="1"/>
          <p:nvPr/>
        </p:nvSpPr>
        <p:spPr>
          <a:xfrm>
            <a:off x="333759" y="1192186"/>
            <a:ext cx="5410200" cy="212878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ts val="8273"/>
              </a:lnSpc>
            </a:pPr>
            <a:r>
              <a:rPr lang="en-US" sz="7194">
                <a:solidFill>
                  <a:srgbClr val="3F5E4C"/>
                </a:solidFill>
                <a:latin typeface="Lilita One"/>
              </a:rPr>
              <a:t> </a:t>
            </a:r>
            <a:r>
              <a:rPr lang="en-US" sz="7194" b="1">
                <a:solidFill>
                  <a:srgbClr val="3F5E4C"/>
                </a:solidFill>
                <a:latin typeface="Lilita One"/>
              </a:rPr>
              <a:t>CONNECT WITH ILPQC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713443" y="3303189"/>
            <a:ext cx="4650831" cy="84638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ts val="3273"/>
              </a:lnSpc>
            </a:pPr>
            <a:r>
              <a:rPr lang="en-US" sz="2425" b="1" spc="291">
                <a:solidFill>
                  <a:srgbClr val="000000"/>
                </a:solidFill>
                <a:latin typeface="Kollektif Bold"/>
              </a:rPr>
              <a:t>VISIT THE ILPQC QI SUPPORT TABLE TODAY</a:t>
            </a:r>
            <a:r>
              <a:rPr lang="en-US" sz="2425" spc="291">
                <a:solidFill>
                  <a:srgbClr val="000000"/>
                </a:solidFill>
                <a:latin typeface="Kollektif Bold"/>
              </a:rPr>
              <a:t>!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730432" y="4297880"/>
            <a:ext cx="4982638" cy="76944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ts val="2955"/>
              </a:lnSpc>
            </a:pPr>
            <a:r>
              <a:rPr lang="en-US" sz="2189" spc="28">
                <a:solidFill>
                  <a:srgbClr val="000000"/>
                </a:solidFill>
                <a:latin typeface="Kollektif"/>
              </a:rPr>
              <a:t>Quality Improvement is top priority,</a:t>
            </a:r>
          </a:p>
          <a:p>
            <a:pPr defTabSz="609630">
              <a:lnSpc>
                <a:spcPts val="2955"/>
              </a:lnSpc>
            </a:pPr>
            <a:r>
              <a:rPr lang="en-US" sz="2189" spc="28">
                <a:solidFill>
                  <a:srgbClr val="000000"/>
                </a:solidFill>
                <a:latin typeface="Kollektif"/>
              </a:rPr>
              <a:t>ILPQC is here to support you! 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5894840" y="1512089"/>
            <a:ext cx="2363671" cy="16414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 defTabSz="609630">
              <a:lnSpc>
                <a:spcPts val="3225"/>
              </a:lnSpc>
            </a:pPr>
            <a:r>
              <a:rPr lang="en-US" sz="2389" spc="31">
                <a:solidFill>
                  <a:srgbClr val="000000"/>
                </a:solidFill>
                <a:latin typeface="Kollektif Bold"/>
              </a:rPr>
              <a:t>Connect with ILPQC for 1:1 </a:t>
            </a:r>
          </a:p>
          <a:p>
            <a:pPr algn="r" defTabSz="609630">
              <a:lnSpc>
                <a:spcPts val="3225"/>
              </a:lnSpc>
            </a:pPr>
            <a:r>
              <a:rPr lang="en-US" sz="2389" spc="31">
                <a:solidFill>
                  <a:srgbClr val="000000"/>
                </a:solidFill>
                <a:latin typeface="Kollektif Bold"/>
              </a:rPr>
              <a:t>Summer QI Support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8918133" y="1512088"/>
            <a:ext cx="2270616" cy="164147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ts val="3225"/>
              </a:lnSpc>
            </a:pPr>
            <a:r>
              <a:rPr lang="en-US" sz="2389" spc="31">
                <a:solidFill>
                  <a:srgbClr val="000000"/>
                </a:solidFill>
                <a:latin typeface="Kollektif Bold"/>
              </a:rPr>
              <a:t>Learn more about ILPQC’s QI Summer Series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5668439" y="884410"/>
            <a:ext cx="1055603" cy="615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>
              <a:lnSpc>
                <a:spcPts val="4827"/>
              </a:lnSpc>
            </a:pPr>
            <a:r>
              <a:rPr lang="en-US" sz="4198">
                <a:solidFill>
                  <a:srgbClr val="FFFFFF"/>
                </a:solidFill>
                <a:latin typeface="Lilita One"/>
              </a:rPr>
              <a:t>A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10450597" y="937180"/>
            <a:ext cx="1055603" cy="615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>
              <a:lnSpc>
                <a:spcPts val="4827"/>
              </a:lnSpc>
            </a:pPr>
            <a:r>
              <a:rPr lang="en-US" sz="4198">
                <a:solidFill>
                  <a:srgbClr val="FFFFFF"/>
                </a:solidFill>
                <a:latin typeface="Lilita One"/>
              </a:rPr>
              <a:t>B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5668439" y="5284322"/>
            <a:ext cx="1055603" cy="615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>
              <a:lnSpc>
                <a:spcPts val="4827"/>
              </a:lnSpc>
            </a:pPr>
            <a:r>
              <a:rPr lang="en-US" sz="4198">
                <a:solidFill>
                  <a:srgbClr val="FFFFFF"/>
                </a:solidFill>
                <a:latin typeface="Lilita One"/>
              </a:rPr>
              <a:t>C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10450597" y="5284322"/>
            <a:ext cx="1055603" cy="6155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 defTabSz="609630">
              <a:lnSpc>
                <a:spcPts val="4827"/>
              </a:lnSpc>
            </a:pPr>
            <a:r>
              <a:rPr lang="en-US" sz="4198">
                <a:solidFill>
                  <a:srgbClr val="FFFFFF"/>
                </a:solidFill>
                <a:latin typeface="Lilita One"/>
              </a:rPr>
              <a:t>D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5894840" y="3903226"/>
            <a:ext cx="2314177" cy="123110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 defTabSz="609630">
              <a:lnSpc>
                <a:spcPts val="3225"/>
              </a:lnSpc>
            </a:pPr>
            <a:r>
              <a:rPr lang="en-US" sz="2389" spc="31">
                <a:solidFill>
                  <a:srgbClr val="000000"/>
                </a:solidFill>
                <a:latin typeface="Kollektif Bold"/>
              </a:rPr>
              <a:t>Schedule PVB Key Players Meetings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8918133" y="3833616"/>
            <a:ext cx="2152132" cy="161973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ts val="3225"/>
              </a:lnSpc>
            </a:pPr>
            <a:r>
              <a:rPr lang="en-US" sz="2350" spc="31" dirty="0">
                <a:solidFill>
                  <a:srgbClr val="000000"/>
                </a:solidFill>
                <a:latin typeface="Kollektif Bold"/>
              </a:rPr>
              <a:t>Learn about Patient Partner Support</a:t>
            </a:r>
            <a:endParaRPr lang="en-US" dirty="0"/>
          </a:p>
          <a:p>
            <a:pPr defTabSz="609630">
              <a:lnSpc>
                <a:spcPts val="3225"/>
              </a:lnSpc>
            </a:pPr>
            <a:endParaRPr lang="en-US" sz="2389" spc="31">
              <a:solidFill>
                <a:srgbClr val="000000"/>
              </a:solidFill>
              <a:latin typeface="Kollektif Bold"/>
            </a:endParaRPr>
          </a:p>
        </p:txBody>
      </p:sp>
    </p:spTree>
    <p:extLst>
      <p:ext uri="{BB962C8B-B14F-4D97-AF65-F5344CB8AC3E}">
        <p14:creationId xmlns:p14="http://schemas.microsoft.com/office/powerpoint/2010/main" val="103806462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96359" y="928043"/>
            <a:ext cx="3452436" cy="2944735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2024 OB</a:t>
            </a:r>
            <a:br>
              <a:rPr lang="en-US">
                <a:ea typeface="Lato Medium"/>
                <a:cs typeface="Lato Medium"/>
              </a:rPr>
            </a:br>
            <a:r>
              <a:rPr lang="en-US">
                <a:ea typeface="Lato Medium"/>
                <a:cs typeface="Lato Medium"/>
              </a:rPr>
              <a:t>Face-to-Face Attendee Resource Folder</a:t>
            </a:r>
            <a:endParaRPr lang="en-US"/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36220" y="4370548"/>
            <a:ext cx="3983149" cy="874122"/>
          </a:xfrm>
        </p:spPr>
        <p:txBody>
          <a:bodyPr/>
          <a:lstStyle/>
          <a:p>
            <a:r>
              <a:rPr lang="en-US" sz="1600" b="1"/>
              <a:t>Resources also available at ilpqc.org</a:t>
            </a:r>
          </a:p>
        </p:txBody>
      </p:sp>
      <p:pic>
        <p:nvPicPr>
          <p:cNvPr id="7" name="Content Placeholder 5" descr="Shape&#10;&#10;Description automatically generated">
            <a:extLst>
              <a:ext uri="{FF2B5EF4-FFF2-40B4-BE49-F238E27FC236}">
                <a16:creationId xmlns:a16="http://schemas.microsoft.com/office/drawing/2014/main" id="{5C8FB445-19C7-88FA-3D27-10BE7D2737C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5740" y="-119920"/>
            <a:ext cx="8673120" cy="6977920"/>
          </a:xfrm>
          <a:prstGeom prst="rect">
            <a:avLst/>
          </a:prstGeom>
        </p:spPr>
      </p:pic>
      <p:sp>
        <p:nvSpPr>
          <p:cNvPr id="8" name="Explosion 2 9">
            <a:extLst>
              <a:ext uri="{FF2B5EF4-FFF2-40B4-BE49-F238E27FC236}">
                <a16:creationId xmlns:a16="http://schemas.microsoft.com/office/drawing/2014/main" id="{5CFD3B86-C241-8DF6-CF5F-70A23D7616BE}"/>
              </a:ext>
            </a:extLst>
          </p:cNvPr>
          <p:cNvSpPr/>
          <p:nvPr/>
        </p:nvSpPr>
        <p:spPr>
          <a:xfrm rot="344786">
            <a:off x="4312717" y="4499408"/>
            <a:ext cx="2777792" cy="1490524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reat ILPQC Resources for your team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1480196-FA5C-29BB-BE06-592AB9DE8D9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415795">
            <a:off x="9393230" y="5039229"/>
            <a:ext cx="1548667" cy="706138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 rot="240114">
            <a:off x="4114157" y="794972"/>
            <a:ext cx="3972734" cy="31854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spcAft>
                <a:spcPts val="3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Agenda</a:t>
            </a:r>
          </a:p>
          <a:p>
            <a:pPr marL="285750" lvl="0" indent="-285750">
              <a:spcAft>
                <a:spcPts val="3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PVB Shared Decision-Making Guide</a:t>
            </a:r>
          </a:p>
          <a:p>
            <a:pPr marL="285750" lvl="0" indent="-285750">
              <a:spcAft>
                <a:spcPts val="3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PVB Disparity Data Guide</a:t>
            </a:r>
          </a:p>
          <a:p>
            <a:pPr marL="285750" lvl="0" indent="-285750">
              <a:spcAft>
                <a:spcPts val="3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PVB Sustainability Plan</a:t>
            </a:r>
          </a:p>
          <a:p>
            <a:pPr marL="285750" lvl="0" indent="-285750">
              <a:spcAft>
                <a:spcPts val="3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MNO Save a Life Flyer</a:t>
            </a:r>
          </a:p>
          <a:p>
            <a:pPr marL="285750" lvl="0" indent="-285750">
              <a:spcAft>
                <a:spcPts val="3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MNO DOPP Pamphlet</a:t>
            </a:r>
          </a:p>
          <a:p>
            <a:pPr marL="285750" lvl="0" indent="-285750">
              <a:spcAft>
                <a:spcPts val="3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MAR NOW</a:t>
            </a:r>
          </a:p>
          <a:p>
            <a:pPr marL="285750" lvl="0" indent="-285750">
              <a:spcAft>
                <a:spcPts val="3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Steal Shamelessly</a:t>
            </a:r>
          </a:p>
          <a:p>
            <a:pPr marL="285750" lvl="0" indent="-285750">
              <a:spcAft>
                <a:spcPts val="3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PDSA &amp; 30-60-90 Day</a:t>
            </a:r>
          </a:p>
          <a:p>
            <a:pPr marL="285750" lvl="0" indent="-285750">
              <a:spcAft>
                <a:spcPts val="3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QI Summer Series Flyer</a:t>
            </a:r>
          </a:p>
          <a:p>
            <a:pPr marL="285750" lvl="0" indent="-285750">
              <a:spcAft>
                <a:spcPts val="300"/>
              </a:spcAft>
              <a:buFont typeface="Arial"/>
              <a:buChar char="•"/>
              <a:defRPr/>
            </a:pPr>
            <a:r>
              <a:rPr lang="en-US" sz="1600" err="1">
                <a:solidFill>
                  <a:srgbClr val="444C55"/>
                </a:solidFill>
                <a:ea typeface="+mn-lt"/>
                <a:cs typeface="+mn-lt"/>
              </a:rPr>
              <a:t>iCAN</a:t>
            </a: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 Fly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96D19F1-4323-9234-C222-A9D3DEBE79D7}"/>
              </a:ext>
            </a:extLst>
          </p:cNvPr>
          <p:cNvSpPr txBox="1"/>
          <p:nvPr/>
        </p:nvSpPr>
        <p:spPr>
          <a:xfrm rot="21353285">
            <a:off x="8304137" y="823346"/>
            <a:ext cx="3831117" cy="32316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F2F Storyboard Bingo</a:t>
            </a:r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RCP Flyer</a:t>
            </a:r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PREM Data Report Flyer</a:t>
            </a:r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PREM QR Code Flyer</a:t>
            </a:r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Respectful Care Breakfast Flyer</a:t>
            </a:r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600" err="1">
                <a:solidFill>
                  <a:srgbClr val="444C55"/>
                </a:solidFill>
                <a:ea typeface="+mn-lt"/>
                <a:cs typeface="+mn-lt"/>
              </a:rPr>
              <a:t>FindHelp</a:t>
            </a: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 Flyer</a:t>
            </a:r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Doula Flyer</a:t>
            </a:r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Home Visiting Flyer</a:t>
            </a:r>
            <a:endParaRPr lang="en-US" sz="1600">
              <a:solidFill>
                <a:srgbClr val="444C55"/>
              </a:solidFill>
              <a:cs typeface="Calibri"/>
            </a:endParaRPr>
          </a:p>
          <a:p>
            <a:pPr marL="285750" indent="-285750">
              <a:spcAft>
                <a:spcPts val="900"/>
              </a:spcAft>
              <a:buFont typeface="Arial"/>
              <a:buChar char="•"/>
              <a:defRPr/>
            </a:pPr>
            <a:r>
              <a:rPr lang="en-US" sz="1600">
                <a:solidFill>
                  <a:srgbClr val="444C55"/>
                </a:solidFill>
                <a:ea typeface="+mn-lt"/>
                <a:cs typeface="+mn-lt"/>
              </a:rPr>
              <a:t>BE Sustainability Flyer</a:t>
            </a:r>
            <a:endParaRPr lang="en-US" sz="1600">
              <a:solidFill>
                <a:srgbClr val="444C55"/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092892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53ACC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 rot="-693541">
            <a:off x="3553666" y="5742362"/>
            <a:ext cx="5113263" cy="2345709"/>
          </a:xfrm>
          <a:custGeom>
            <a:avLst/>
            <a:gdLst/>
            <a:ahLst/>
            <a:cxnLst/>
            <a:rect l="l" t="t" r="r" b="b"/>
            <a:pathLst>
              <a:path w="13635369" h="6255225">
                <a:moveTo>
                  <a:pt x="0" y="0"/>
                </a:moveTo>
                <a:lnTo>
                  <a:pt x="13635368" y="0"/>
                </a:lnTo>
                <a:lnTo>
                  <a:pt x="13635368" y="6255226"/>
                </a:lnTo>
                <a:lnTo>
                  <a:pt x="0" y="6255226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 flipH="1">
            <a:off x="3644634" y="4014362"/>
            <a:ext cx="1428803" cy="2478995"/>
          </a:xfrm>
          <a:custGeom>
            <a:avLst/>
            <a:gdLst/>
            <a:ahLst/>
            <a:cxnLst/>
            <a:rect l="l" t="t" r="r" b="b"/>
            <a:pathLst>
              <a:path w="3810140" h="6610654">
                <a:moveTo>
                  <a:pt x="3810140" y="0"/>
                </a:moveTo>
                <a:lnTo>
                  <a:pt x="0" y="0"/>
                </a:lnTo>
                <a:lnTo>
                  <a:pt x="0" y="6610653"/>
                </a:lnTo>
                <a:lnTo>
                  <a:pt x="3810140" y="6610653"/>
                </a:lnTo>
                <a:lnTo>
                  <a:pt x="3810140" y="0"/>
                </a:lnTo>
                <a:close/>
              </a:path>
            </a:pathLst>
          </a:cu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5615017" y="3993242"/>
            <a:ext cx="892438" cy="2478995"/>
          </a:xfrm>
          <a:custGeom>
            <a:avLst/>
            <a:gdLst/>
            <a:ahLst/>
            <a:cxnLst/>
            <a:rect l="l" t="t" r="r" b="b"/>
            <a:pathLst>
              <a:path w="2379835" h="6610654">
                <a:moveTo>
                  <a:pt x="0" y="0"/>
                </a:moveTo>
                <a:lnTo>
                  <a:pt x="2379835" y="0"/>
                </a:lnTo>
                <a:lnTo>
                  <a:pt x="2379835" y="6610654"/>
                </a:lnTo>
                <a:lnTo>
                  <a:pt x="0" y="6610654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 flipH="1">
            <a:off x="7248942" y="4035483"/>
            <a:ext cx="939258" cy="2436755"/>
          </a:xfrm>
          <a:custGeom>
            <a:avLst/>
            <a:gdLst/>
            <a:ahLst/>
            <a:cxnLst/>
            <a:rect l="l" t="t" r="r" b="b"/>
            <a:pathLst>
              <a:path w="2504688" h="6498012">
                <a:moveTo>
                  <a:pt x="2504689" y="0"/>
                </a:moveTo>
                <a:lnTo>
                  <a:pt x="0" y="0"/>
                </a:lnTo>
                <a:lnTo>
                  <a:pt x="0" y="6498012"/>
                </a:lnTo>
                <a:lnTo>
                  <a:pt x="2504689" y="6498012"/>
                </a:lnTo>
                <a:lnTo>
                  <a:pt x="2504689" y="0"/>
                </a:lnTo>
                <a:close/>
              </a:path>
            </a:pathLst>
          </a:custGeom>
          <a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6110298" y="3972305"/>
            <a:ext cx="1536322" cy="2499932"/>
          </a:xfrm>
          <a:custGeom>
            <a:avLst/>
            <a:gdLst/>
            <a:ahLst/>
            <a:cxnLst/>
            <a:rect l="l" t="t" r="r" b="b"/>
            <a:pathLst>
              <a:path w="4096859" h="6666486">
                <a:moveTo>
                  <a:pt x="0" y="0"/>
                </a:moveTo>
                <a:lnTo>
                  <a:pt x="4096859" y="0"/>
                </a:lnTo>
                <a:lnTo>
                  <a:pt x="4096859" y="6666486"/>
                </a:lnTo>
                <a:lnTo>
                  <a:pt x="0" y="6666486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4968626" y="3993242"/>
            <a:ext cx="797786" cy="2478995"/>
          </a:xfrm>
          <a:custGeom>
            <a:avLst/>
            <a:gdLst/>
            <a:ahLst/>
            <a:cxnLst/>
            <a:rect l="l" t="t" r="r" b="b"/>
            <a:pathLst>
              <a:path w="2127429" h="6610654">
                <a:moveTo>
                  <a:pt x="0" y="0"/>
                </a:moveTo>
                <a:lnTo>
                  <a:pt x="2127429" y="0"/>
                </a:lnTo>
                <a:lnTo>
                  <a:pt x="2127429" y="6610654"/>
                </a:lnTo>
                <a:lnTo>
                  <a:pt x="0" y="6610654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TextBox 8"/>
          <p:cNvSpPr txBox="1"/>
          <p:nvPr/>
        </p:nvSpPr>
        <p:spPr>
          <a:xfrm>
            <a:off x="2224478" y="2034020"/>
            <a:ext cx="8162044" cy="861774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342900">
              <a:spcBef>
                <a:spcPct val="0"/>
              </a:spcBef>
            </a:pPr>
            <a:r>
              <a:rPr lang="en-US" sz="2800">
                <a:solidFill>
                  <a:srgbClr val="03044D"/>
                </a:solidFill>
                <a:latin typeface="Josefin Sans Semi-Bold"/>
              </a:rPr>
              <a:t>In collaboration with IDHS, ILPQC welcomes bedside nurses from across the state of IL! 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2668450" y="585565"/>
            <a:ext cx="7150107" cy="128240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 defTabSz="342900">
              <a:lnSpc>
                <a:spcPts val="4996"/>
              </a:lnSpc>
              <a:spcBef>
                <a:spcPct val="0"/>
              </a:spcBef>
            </a:pPr>
            <a:r>
              <a:rPr lang="en-US" sz="4669" b="1">
                <a:solidFill>
                  <a:schemeClr val="bg1"/>
                </a:solidFill>
                <a:latin typeface="Tenor Sans"/>
              </a:rPr>
              <a:t>Welcome all Nurse Scholarship Recipients!</a:t>
            </a:r>
          </a:p>
        </p:txBody>
      </p:sp>
      <p:pic>
        <p:nvPicPr>
          <p:cNvPr id="22" name="Picture 2" descr="Logo&#10;&#10;Description automatically generated">
            <a:extLst>
              <a:ext uri="{FF2B5EF4-FFF2-40B4-BE49-F238E27FC236}">
                <a16:creationId xmlns:a16="http://schemas.microsoft.com/office/drawing/2014/main" id="{DADE1F50-90C5-48DA-A421-40E43ECF4B01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146" y="413083"/>
            <a:ext cx="1161691" cy="1151682"/>
          </a:xfrm>
          <a:prstGeom prst="rect">
            <a:avLst/>
          </a:prstGeom>
        </p:spPr>
      </p:pic>
      <p:grpSp>
        <p:nvGrpSpPr>
          <p:cNvPr id="32" name="Google Shape;1232;p58">
            <a:extLst>
              <a:ext uri="{FF2B5EF4-FFF2-40B4-BE49-F238E27FC236}">
                <a16:creationId xmlns:a16="http://schemas.microsoft.com/office/drawing/2014/main" id="{24C56864-7E1C-D8F4-FD5D-2D40EE4E77DF}"/>
              </a:ext>
            </a:extLst>
          </p:cNvPr>
          <p:cNvGrpSpPr/>
          <p:nvPr/>
        </p:nvGrpSpPr>
        <p:grpSpPr>
          <a:xfrm flipH="1">
            <a:off x="567561" y="3803163"/>
            <a:ext cx="650873" cy="610412"/>
            <a:chOff x="3089978" y="4184399"/>
            <a:chExt cx="388071" cy="363947"/>
          </a:xfrm>
        </p:grpSpPr>
        <p:sp>
          <p:nvSpPr>
            <p:cNvPr id="33" name="Google Shape;1233;p58">
              <a:extLst>
                <a:ext uri="{FF2B5EF4-FFF2-40B4-BE49-F238E27FC236}">
                  <a16:creationId xmlns:a16="http://schemas.microsoft.com/office/drawing/2014/main" id="{24E795E7-CA34-11C1-B7D0-51D3F2ED238C}"/>
                </a:ext>
              </a:extLst>
            </p:cNvPr>
            <p:cNvSpPr/>
            <p:nvPr/>
          </p:nvSpPr>
          <p:spPr>
            <a:xfrm>
              <a:off x="3089978" y="4184399"/>
              <a:ext cx="388071" cy="363947"/>
            </a:xfrm>
            <a:custGeom>
              <a:avLst/>
              <a:gdLst/>
              <a:ahLst/>
              <a:cxnLst/>
              <a:rect l="l" t="t" r="r" b="b"/>
              <a:pathLst>
                <a:path w="14381" h="13487" extrusionOk="0">
                  <a:moveTo>
                    <a:pt x="2308" y="0"/>
                  </a:moveTo>
                  <a:cubicBezTo>
                    <a:pt x="1580" y="0"/>
                    <a:pt x="863" y="267"/>
                    <a:pt x="434" y="855"/>
                  </a:cubicBezTo>
                  <a:cubicBezTo>
                    <a:pt x="92" y="1312"/>
                    <a:pt x="0" y="1905"/>
                    <a:pt x="46" y="2499"/>
                  </a:cubicBezTo>
                  <a:cubicBezTo>
                    <a:pt x="206" y="4097"/>
                    <a:pt x="1507" y="5306"/>
                    <a:pt x="2716" y="6379"/>
                  </a:cubicBezTo>
                  <a:cubicBezTo>
                    <a:pt x="4953" y="8319"/>
                    <a:pt x="7190" y="10282"/>
                    <a:pt x="9404" y="12245"/>
                  </a:cubicBezTo>
                  <a:cubicBezTo>
                    <a:pt x="9747" y="12542"/>
                    <a:pt x="10409" y="12976"/>
                    <a:pt x="11093" y="13249"/>
                  </a:cubicBezTo>
                  <a:cubicBezTo>
                    <a:pt x="11453" y="13400"/>
                    <a:pt x="11849" y="13486"/>
                    <a:pt x="12234" y="13486"/>
                  </a:cubicBezTo>
                  <a:cubicBezTo>
                    <a:pt x="12607" y="13486"/>
                    <a:pt x="12971" y="13406"/>
                    <a:pt x="13285" y="13227"/>
                  </a:cubicBezTo>
                  <a:cubicBezTo>
                    <a:pt x="13992" y="12839"/>
                    <a:pt x="14380" y="12017"/>
                    <a:pt x="14380" y="11218"/>
                  </a:cubicBezTo>
                  <a:cubicBezTo>
                    <a:pt x="14380" y="10419"/>
                    <a:pt x="14038" y="9643"/>
                    <a:pt x="13558" y="9004"/>
                  </a:cubicBezTo>
                  <a:cubicBezTo>
                    <a:pt x="13102" y="8365"/>
                    <a:pt x="12486" y="7817"/>
                    <a:pt x="11892" y="7292"/>
                  </a:cubicBezTo>
                  <a:cubicBezTo>
                    <a:pt x="9861" y="5489"/>
                    <a:pt x="7829" y="3663"/>
                    <a:pt x="5798" y="1860"/>
                  </a:cubicBezTo>
                  <a:cubicBezTo>
                    <a:pt x="5022" y="1175"/>
                    <a:pt x="4223" y="467"/>
                    <a:pt x="3241" y="148"/>
                  </a:cubicBezTo>
                  <a:cubicBezTo>
                    <a:pt x="2944" y="51"/>
                    <a:pt x="2625" y="0"/>
                    <a:pt x="2308" y="0"/>
                  </a:cubicBezTo>
                  <a:close/>
                </a:path>
              </a:pathLst>
            </a:custGeom>
            <a:solidFill>
              <a:srgbClr val="F3B18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8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4" name="Google Shape;1234;p58">
              <a:extLst>
                <a:ext uri="{FF2B5EF4-FFF2-40B4-BE49-F238E27FC236}">
                  <a16:creationId xmlns:a16="http://schemas.microsoft.com/office/drawing/2014/main" id="{472CBDDE-0141-6A2B-9FFB-D4F6734073DC}"/>
                </a:ext>
              </a:extLst>
            </p:cNvPr>
            <p:cNvSpPr/>
            <p:nvPr/>
          </p:nvSpPr>
          <p:spPr>
            <a:xfrm>
              <a:off x="3168208" y="4252428"/>
              <a:ext cx="225460" cy="223004"/>
            </a:xfrm>
            <a:custGeom>
              <a:avLst/>
              <a:gdLst/>
              <a:ahLst/>
              <a:cxnLst/>
              <a:rect l="l" t="t" r="r" b="b"/>
              <a:pathLst>
                <a:path w="8355" h="8264" extrusionOk="0">
                  <a:moveTo>
                    <a:pt x="3629" y="1"/>
                  </a:moveTo>
                  <a:cubicBezTo>
                    <a:pt x="2465" y="1370"/>
                    <a:pt x="1255" y="2717"/>
                    <a:pt x="0" y="4018"/>
                  </a:cubicBezTo>
                  <a:cubicBezTo>
                    <a:pt x="1621" y="5433"/>
                    <a:pt x="3218" y="6848"/>
                    <a:pt x="4839" y="8263"/>
                  </a:cubicBezTo>
                  <a:cubicBezTo>
                    <a:pt x="5957" y="6848"/>
                    <a:pt x="7144" y="5501"/>
                    <a:pt x="8354" y="4200"/>
                  </a:cubicBezTo>
                  <a:cubicBezTo>
                    <a:pt x="6779" y="2808"/>
                    <a:pt x="5204" y="1393"/>
                    <a:pt x="3629" y="1"/>
                  </a:cubicBezTo>
                  <a:close/>
                </a:path>
              </a:pathLst>
            </a:custGeom>
            <a:solidFill>
              <a:srgbClr val="FBB4B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8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35" name="Google Shape;1235;p58">
              <a:extLst>
                <a:ext uri="{FF2B5EF4-FFF2-40B4-BE49-F238E27FC236}">
                  <a16:creationId xmlns:a16="http://schemas.microsoft.com/office/drawing/2014/main" id="{398856E1-B3DB-E25B-41BC-6DBEE9D4B398}"/>
                </a:ext>
              </a:extLst>
            </p:cNvPr>
            <p:cNvSpPr/>
            <p:nvPr/>
          </p:nvSpPr>
          <p:spPr>
            <a:xfrm>
              <a:off x="3202074" y="4297385"/>
              <a:ext cx="155865" cy="132469"/>
            </a:xfrm>
            <a:custGeom>
              <a:avLst/>
              <a:gdLst/>
              <a:ahLst/>
              <a:cxnLst/>
              <a:rect l="l" t="t" r="r" b="b"/>
              <a:pathLst>
                <a:path w="5776" h="4909" extrusionOk="0">
                  <a:moveTo>
                    <a:pt x="1941" y="1"/>
                  </a:moveTo>
                  <a:cubicBezTo>
                    <a:pt x="1872" y="1"/>
                    <a:pt x="1804" y="46"/>
                    <a:pt x="1826" y="115"/>
                  </a:cubicBezTo>
                  <a:cubicBezTo>
                    <a:pt x="1826" y="183"/>
                    <a:pt x="1872" y="252"/>
                    <a:pt x="1941" y="252"/>
                  </a:cubicBezTo>
                  <a:lnTo>
                    <a:pt x="2534" y="252"/>
                  </a:lnTo>
                  <a:cubicBezTo>
                    <a:pt x="2603" y="252"/>
                    <a:pt x="2648" y="183"/>
                    <a:pt x="2648" y="115"/>
                  </a:cubicBezTo>
                  <a:cubicBezTo>
                    <a:pt x="2648" y="46"/>
                    <a:pt x="2603" y="1"/>
                    <a:pt x="2534" y="1"/>
                  </a:cubicBezTo>
                  <a:close/>
                  <a:moveTo>
                    <a:pt x="2511" y="845"/>
                  </a:moveTo>
                  <a:cubicBezTo>
                    <a:pt x="2443" y="845"/>
                    <a:pt x="2374" y="914"/>
                    <a:pt x="2374" y="982"/>
                  </a:cubicBezTo>
                  <a:cubicBezTo>
                    <a:pt x="2374" y="1051"/>
                    <a:pt x="2443" y="1096"/>
                    <a:pt x="2511" y="1096"/>
                  </a:cubicBezTo>
                  <a:lnTo>
                    <a:pt x="3150" y="1096"/>
                  </a:lnTo>
                  <a:cubicBezTo>
                    <a:pt x="3219" y="1096"/>
                    <a:pt x="3264" y="1028"/>
                    <a:pt x="3264" y="960"/>
                  </a:cubicBezTo>
                  <a:cubicBezTo>
                    <a:pt x="3264" y="891"/>
                    <a:pt x="3219" y="845"/>
                    <a:pt x="3150" y="845"/>
                  </a:cubicBezTo>
                  <a:close/>
                  <a:moveTo>
                    <a:pt x="4474" y="1576"/>
                  </a:moveTo>
                  <a:lnTo>
                    <a:pt x="3789" y="1667"/>
                  </a:lnTo>
                  <a:cubicBezTo>
                    <a:pt x="3721" y="1667"/>
                    <a:pt x="3675" y="1736"/>
                    <a:pt x="3698" y="1804"/>
                  </a:cubicBezTo>
                  <a:cubicBezTo>
                    <a:pt x="3698" y="1873"/>
                    <a:pt x="3744" y="1918"/>
                    <a:pt x="3812" y="1918"/>
                  </a:cubicBezTo>
                  <a:lnTo>
                    <a:pt x="3835" y="1918"/>
                  </a:lnTo>
                  <a:lnTo>
                    <a:pt x="4497" y="1827"/>
                  </a:lnTo>
                  <a:cubicBezTo>
                    <a:pt x="4565" y="1827"/>
                    <a:pt x="4611" y="1758"/>
                    <a:pt x="4611" y="1690"/>
                  </a:cubicBezTo>
                  <a:cubicBezTo>
                    <a:pt x="4588" y="1621"/>
                    <a:pt x="4543" y="1576"/>
                    <a:pt x="4474" y="1576"/>
                  </a:cubicBezTo>
                  <a:close/>
                  <a:moveTo>
                    <a:pt x="2100" y="1690"/>
                  </a:moveTo>
                  <a:cubicBezTo>
                    <a:pt x="1849" y="1713"/>
                    <a:pt x="1621" y="1736"/>
                    <a:pt x="1393" y="1781"/>
                  </a:cubicBezTo>
                  <a:cubicBezTo>
                    <a:pt x="1324" y="1804"/>
                    <a:pt x="1279" y="1873"/>
                    <a:pt x="1301" y="1941"/>
                  </a:cubicBezTo>
                  <a:cubicBezTo>
                    <a:pt x="1301" y="2009"/>
                    <a:pt x="1370" y="2055"/>
                    <a:pt x="1416" y="2055"/>
                  </a:cubicBezTo>
                  <a:cubicBezTo>
                    <a:pt x="1416" y="2055"/>
                    <a:pt x="1438" y="2032"/>
                    <a:pt x="1438" y="2032"/>
                  </a:cubicBezTo>
                  <a:cubicBezTo>
                    <a:pt x="1667" y="1987"/>
                    <a:pt x="1895" y="1964"/>
                    <a:pt x="2100" y="1941"/>
                  </a:cubicBezTo>
                  <a:cubicBezTo>
                    <a:pt x="2169" y="1941"/>
                    <a:pt x="2237" y="1895"/>
                    <a:pt x="2237" y="1827"/>
                  </a:cubicBezTo>
                  <a:cubicBezTo>
                    <a:pt x="2214" y="1736"/>
                    <a:pt x="2169" y="1690"/>
                    <a:pt x="2100" y="1690"/>
                  </a:cubicBezTo>
                  <a:close/>
                  <a:moveTo>
                    <a:pt x="822" y="2032"/>
                  </a:moveTo>
                  <a:lnTo>
                    <a:pt x="115" y="2055"/>
                  </a:lnTo>
                  <a:cubicBezTo>
                    <a:pt x="46" y="2055"/>
                    <a:pt x="0" y="2101"/>
                    <a:pt x="0" y="2169"/>
                  </a:cubicBezTo>
                  <a:cubicBezTo>
                    <a:pt x="0" y="2238"/>
                    <a:pt x="46" y="2306"/>
                    <a:pt x="137" y="2306"/>
                  </a:cubicBezTo>
                  <a:lnTo>
                    <a:pt x="822" y="2283"/>
                  </a:lnTo>
                  <a:lnTo>
                    <a:pt x="822" y="2032"/>
                  </a:lnTo>
                  <a:close/>
                  <a:moveTo>
                    <a:pt x="1712" y="2740"/>
                  </a:moveTo>
                  <a:cubicBezTo>
                    <a:pt x="1644" y="2740"/>
                    <a:pt x="1575" y="2808"/>
                    <a:pt x="1575" y="2877"/>
                  </a:cubicBezTo>
                  <a:cubicBezTo>
                    <a:pt x="1575" y="2945"/>
                    <a:pt x="1621" y="2991"/>
                    <a:pt x="1690" y="2991"/>
                  </a:cubicBezTo>
                  <a:lnTo>
                    <a:pt x="2511" y="3037"/>
                  </a:lnTo>
                  <a:lnTo>
                    <a:pt x="2534" y="3037"/>
                  </a:lnTo>
                  <a:cubicBezTo>
                    <a:pt x="2603" y="3037"/>
                    <a:pt x="2648" y="2991"/>
                    <a:pt x="2648" y="2922"/>
                  </a:cubicBezTo>
                  <a:cubicBezTo>
                    <a:pt x="2648" y="2854"/>
                    <a:pt x="2603" y="2786"/>
                    <a:pt x="2534" y="2786"/>
                  </a:cubicBezTo>
                  <a:lnTo>
                    <a:pt x="1712" y="2740"/>
                  </a:lnTo>
                  <a:close/>
                  <a:moveTo>
                    <a:pt x="5651" y="2711"/>
                  </a:moveTo>
                  <a:cubicBezTo>
                    <a:pt x="5640" y="2711"/>
                    <a:pt x="5628" y="2713"/>
                    <a:pt x="5615" y="2717"/>
                  </a:cubicBezTo>
                  <a:cubicBezTo>
                    <a:pt x="5364" y="2763"/>
                    <a:pt x="5136" y="2786"/>
                    <a:pt x="4885" y="2808"/>
                  </a:cubicBezTo>
                  <a:cubicBezTo>
                    <a:pt x="4817" y="2808"/>
                    <a:pt x="4771" y="2877"/>
                    <a:pt x="4771" y="2945"/>
                  </a:cubicBezTo>
                  <a:cubicBezTo>
                    <a:pt x="4771" y="3014"/>
                    <a:pt x="4817" y="3059"/>
                    <a:pt x="4885" y="3059"/>
                  </a:cubicBezTo>
                  <a:lnTo>
                    <a:pt x="4908" y="3059"/>
                  </a:lnTo>
                  <a:cubicBezTo>
                    <a:pt x="5159" y="3037"/>
                    <a:pt x="5410" y="3014"/>
                    <a:pt x="5661" y="2968"/>
                  </a:cubicBezTo>
                  <a:cubicBezTo>
                    <a:pt x="5730" y="2945"/>
                    <a:pt x="5775" y="2877"/>
                    <a:pt x="5752" y="2808"/>
                  </a:cubicBezTo>
                  <a:cubicBezTo>
                    <a:pt x="5752" y="2752"/>
                    <a:pt x="5706" y="2711"/>
                    <a:pt x="5651" y="2711"/>
                  </a:cubicBezTo>
                  <a:close/>
                  <a:moveTo>
                    <a:pt x="4086" y="3265"/>
                  </a:moveTo>
                  <a:lnTo>
                    <a:pt x="3356" y="3311"/>
                  </a:lnTo>
                  <a:cubicBezTo>
                    <a:pt x="3287" y="3311"/>
                    <a:pt x="3219" y="3379"/>
                    <a:pt x="3242" y="3447"/>
                  </a:cubicBezTo>
                  <a:cubicBezTo>
                    <a:pt x="3242" y="3516"/>
                    <a:pt x="3287" y="3562"/>
                    <a:pt x="3356" y="3562"/>
                  </a:cubicBezTo>
                  <a:lnTo>
                    <a:pt x="4109" y="3516"/>
                  </a:lnTo>
                  <a:cubicBezTo>
                    <a:pt x="4177" y="3516"/>
                    <a:pt x="4223" y="3470"/>
                    <a:pt x="4223" y="3402"/>
                  </a:cubicBezTo>
                  <a:cubicBezTo>
                    <a:pt x="4223" y="3333"/>
                    <a:pt x="4155" y="3265"/>
                    <a:pt x="4086" y="3265"/>
                  </a:cubicBezTo>
                  <a:close/>
                  <a:moveTo>
                    <a:pt x="1758" y="3904"/>
                  </a:moveTo>
                  <a:cubicBezTo>
                    <a:pt x="1690" y="3904"/>
                    <a:pt x="1621" y="3972"/>
                    <a:pt x="1621" y="4041"/>
                  </a:cubicBezTo>
                  <a:cubicBezTo>
                    <a:pt x="1621" y="4109"/>
                    <a:pt x="1667" y="4178"/>
                    <a:pt x="1735" y="4178"/>
                  </a:cubicBezTo>
                  <a:lnTo>
                    <a:pt x="2625" y="4201"/>
                  </a:lnTo>
                  <a:cubicBezTo>
                    <a:pt x="2694" y="4201"/>
                    <a:pt x="2739" y="4132"/>
                    <a:pt x="2739" y="4064"/>
                  </a:cubicBezTo>
                  <a:cubicBezTo>
                    <a:pt x="2739" y="3995"/>
                    <a:pt x="2694" y="3950"/>
                    <a:pt x="2625" y="3950"/>
                  </a:cubicBezTo>
                  <a:lnTo>
                    <a:pt x="1758" y="3904"/>
                  </a:lnTo>
                  <a:close/>
                  <a:moveTo>
                    <a:pt x="4155" y="4634"/>
                  </a:moveTo>
                  <a:lnTo>
                    <a:pt x="3287" y="4657"/>
                  </a:lnTo>
                  <a:cubicBezTo>
                    <a:pt x="3219" y="4657"/>
                    <a:pt x="3150" y="4703"/>
                    <a:pt x="3150" y="4771"/>
                  </a:cubicBezTo>
                  <a:cubicBezTo>
                    <a:pt x="3150" y="4863"/>
                    <a:pt x="3219" y="4908"/>
                    <a:pt x="3287" y="4908"/>
                  </a:cubicBezTo>
                  <a:lnTo>
                    <a:pt x="4155" y="4885"/>
                  </a:lnTo>
                  <a:cubicBezTo>
                    <a:pt x="4223" y="4885"/>
                    <a:pt x="4292" y="4817"/>
                    <a:pt x="4292" y="4749"/>
                  </a:cubicBezTo>
                  <a:cubicBezTo>
                    <a:pt x="4292" y="4680"/>
                    <a:pt x="4223" y="4634"/>
                    <a:pt x="4155" y="4634"/>
                  </a:cubicBezTo>
                  <a:close/>
                </a:path>
              </a:pathLst>
            </a:custGeom>
            <a:solidFill>
              <a:srgbClr val="191919">
                <a:alpha val="29760"/>
              </a:srgb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8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grpSp>
        <p:nvGrpSpPr>
          <p:cNvPr id="40" name="Google Shape;1232;p58">
            <a:extLst>
              <a:ext uri="{FF2B5EF4-FFF2-40B4-BE49-F238E27FC236}">
                <a16:creationId xmlns:a16="http://schemas.microsoft.com/office/drawing/2014/main" id="{24C56864-7E1C-D8F4-FD5D-2D40EE4E77DF}"/>
              </a:ext>
            </a:extLst>
          </p:cNvPr>
          <p:cNvGrpSpPr/>
          <p:nvPr/>
        </p:nvGrpSpPr>
        <p:grpSpPr>
          <a:xfrm flipH="1">
            <a:off x="544126" y="4707912"/>
            <a:ext cx="650873" cy="610412"/>
            <a:chOff x="3089978" y="4184399"/>
            <a:chExt cx="388071" cy="363947"/>
          </a:xfrm>
        </p:grpSpPr>
        <p:sp>
          <p:nvSpPr>
            <p:cNvPr id="41" name="Google Shape;1233;p58">
              <a:extLst>
                <a:ext uri="{FF2B5EF4-FFF2-40B4-BE49-F238E27FC236}">
                  <a16:creationId xmlns:a16="http://schemas.microsoft.com/office/drawing/2014/main" id="{24E795E7-CA34-11C1-B7D0-51D3F2ED238C}"/>
                </a:ext>
              </a:extLst>
            </p:cNvPr>
            <p:cNvSpPr/>
            <p:nvPr/>
          </p:nvSpPr>
          <p:spPr>
            <a:xfrm>
              <a:off x="3089978" y="4184399"/>
              <a:ext cx="388071" cy="363947"/>
            </a:xfrm>
            <a:custGeom>
              <a:avLst/>
              <a:gdLst/>
              <a:ahLst/>
              <a:cxnLst/>
              <a:rect l="l" t="t" r="r" b="b"/>
              <a:pathLst>
                <a:path w="14381" h="13487" extrusionOk="0">
                  <a:moveTo>
                    <a:pt x="2308" y="0"/>
                  </a:moveTo>
                  <a:cubicBezTo>
                    <a:pt x="1580" y="0"/>
                    <a:pt x="863" y="267"/>
                    <a:pt x="434" y="855"/>
                  </a:cubicBezTo>
                  <a:cubicBezTo>
                    <a:pt x="92" y="1312"/>
                    <a:pt x="0" y="1905"/>
                    <a:pt x="46" y="2499"/>
                  </a:cubicBezTo>
                  <a:cubicBezTo>
                    <a:pt x="206" y="4097"/>
                    <a:pt x="1507" y="5306"/>
                    <a:pt x="2716" y="6379"/>
                  </a:cubicBezTo>
                  <a:cubicBezTo>
                    <a:pt x="4953" y="8319"/>
                    <a:pt x="7190" y="10282"/>
                    <a:pt x="9404" y="12245"/>
                  </a:cubicBezTo>
                  <a:cubicBezTo>
                    <a:pt x="9747" y="12542"/>
                    <a:pt x="10409" y="12976"/>
                    <a:pt x="11093" y="13249"/>
                  </a:cubicBezTo>
                  <a:cubicBezTo>
                    <a:pt x="11453" y="13400"/>
                    <a:pt x="11849" y="13486"/>
                    <a:pt x="12234" y="13486"/>
                  </a:cubicBezTo>
                  <a:cubicBezTo>
                    <a:pt x="12607" y="13486"/>
                    <a:pt x="12971" y="13406"/>
                    <a:pt x="13285" y="13227"/>
                  </a:cubicBezTo>
                  <a:cubicBezTo>
                    <a:pt x="13992" y="12839"/>
                    <a:pt x="14380" y="12017"/>
                    <a:pt x="14380" y="11218"/>
                  </a:cubicBezTo>
                  <a:cubicBezTo>
                    <a:pt x="14380" y="10419"/>
                    <a:pt x="14038" y="9643"/>
                    <a:pt x="13558" y="9004"/>
                  </a:cubicBezTo>
                  <a:cubicBezTo>
                    <a:pt x="13102" y="8365"/>
                    <a:pt x="12486" y="7817"/>
                    <a:pt x="11892" y="7292"/>
                  </a:cubicBezTo>
                  <a:cubicBezTo>
                    <a:pt x="9861" y="5489"/>
                    <a:pt x="7829" y="3663"/>
                    <a:pt x="5798" y="1860"/>
                  </a:cubicBezTo>
                  <a:cubicBezTo>
                    <a:pt x="5022" y="1175"/>
                    <a:pt x="4223" y="467"/>
                    <a:pt x="3241" y="148"/>
                  </a:cubicBezTo>
                  <a:cubicBezTo>
                    <a:pt x="2944" y="51"/>
                    <a:pt x="2625" y="0"/>
                    <a:pt x="2308" y="0"/>
                  </a:cubicBezTo>
                  <a:close/>
                </a:path>
              </a:pathLst>
            </a:custGeom>
            <a:solidFill>
              <a:srgbClr val="F3B18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8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42" name="Google Shape;1234;p58">
              <a:extLst>
                <a:ext uri="{FF2B5EF4-FFF2-40B4-BE49-F238E27FC236}">
                  <a16:creationId xmlns:a16="http://schemas.microsoft.com/office/drawing/2014/main" id="{472CBDDE-0141-6A2B-9FFB-D4F6734073DC}"/>
                </a:ext>
              </a:extLst>
            </p:cNvPr>
            <p:cNvSpPr/>
            <p:nvPr/>
          </p:nvSpPr>
          <p:spPr>
            <a:xfrm>
              <a:off x="3168208" y="4252428"/>
              <a:ext cx="225460" cy="223004"/>
            </a:xfrm>
            <a:custGeom>
              <a:avLst/>
              <a:gdLst/>
              <a:ahLst/>
              <a:cxnLst/>
              <a:rect l="l" t="t" r="r" b="b"/>
              <a:pathLst>
                <a:path w="8355" h="8264" extrusionOk="0">
                  <a:moveTo>
                    <a:pt x="3629" y="1"/>
                  </a:moveTo>
                  <a:cubicBezTo>
                    <a:pt x="2465" y="1370"/>
                    <a:pt x="1255" y="2717"/>
                    <a:pt x="0" y="4018"/>
                  </a:cubicBezTo>
                  <a:cubicBezTo>
                    <a:pt x="1621" y="5433"/>
                    <a:pt x="3218" y="6848"/>
                    <a:pt x="4839" y="8263"/>
                  </a:cubicBezTo>
                  <a:cubicBezTo>
                    <a:pt x="5957" y="6848"/>
                    <a:pt x="7144" y="5501"/>
                    <a:pt x="8354" y="4200"/>
                  </a:cubicBezTo>
                  <a:cubicBezTo>
                    <a:pt x="6779" y="2808"/>
                    <a:pt x="5204" y="1393"/>
                    <a:pt x="3629" y="1"/>
                  </a:cubicBezTo>
                  <a:close/>
                </a:path>
              </a:pathLst>
            </a:custGeom>
            <a:solidFill>
              <a:srgbClr val="FBB4B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8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43" name="Google Shape;1235;p58">
              <a:extLst>
                <a:ext uri="{FF2B5EF4-FFF2-40B4-BE49-F238E27FC236}">
                  <a16:creationId xmlns:a16="http://schemas.microsoft.com/office/drawing/2014/main" id="{398856E1-B3DB-E25B-41BC-6DBEE9D4B398}"/>
                </a:ext>
              </a:extLst>
            </p:cNvPr>
            <p:cNvSpPr/>
            <p:nvPr/>
          </p:nvSpPr>
          <p:spPr>
            <a:xfrm>
              <a:off x="3202074" y="4297385"/>
              <a:ext cx="155865" cy="132469"/>
            </a:xfrm>
            <a:custGeom>
              <a:avLst/>
              <a:gdLst/>
              <a:ahLst/>
              <a:cxnLst/>
              <a:rect l="l" t="t" r="r" b="b"/>
              <a:pathLst>
                <a:path w="5776" h="4909" extrusionOk="0">
                  <a:moveTo>
                    <a:pt x="1941" y="1"/>
                  </a:moveTo>
                  <a:cubicBezTo>
                    <a:pt x="1872" y="1"/>
                    <a:pt x="1804" y="46"/>
                    <a:pt x="1826" y="115"/>
                  </a:cubicBezTo>
                  <a:cubicBezTo>
                    <a:pt x="1826" y="183"/>
                    <a:pt x="1872" y="252"/>
                    <a:pt x="1941" y="252"/>
                  </a:cubicBezTo>
                  <a:lnTo>
                    <a:pt x="2534" y="252"/>
                  </a:lnTo>
                  <a:cubicBezTo>
                    <a:pt x="2603" y="252"/>
                    <a:pt x="2648" y="183"/>
                    <a:pt x="2648" y="115"/>
                  </a:cubicBezTo>
                  <a:cubicBezTo>
                    <a:pt x="2648" y="46"/>
                    <a:pt x="2603" y="1"/>
                    <a:pt x="2534" y="1"/>
                  </a:cubicBezTo>
                  <a:close/>
                  <a:moveTo>
                    <a:pt x="2511" y="845"/>
                  </a:moveTo>
                  <a:cubicBezTo>
                    <a:pt x="2443" y="845"/>
                    <a:pt x="2374" y="914"/>
                    <a:pt x="2374" y="982"/>
                  </a:cubicBezTo>
                  <a:cubicBezTo>
                    <a:pt x="2374" y="1051"/>
                    <a:pt x="2443" y="1096"/>
                    <a:pt x="2511" y="1096"/>
                  </a:cubicBezTo>
                  <a:lnTo>
                    <a:pt x="3150" y="1096"/>
                  </a:lnTo>
                  <a:cubicBezTo>
                    <a:pt x="3219" y="1096"/>
                    <a:pt x="3264" y="1028"/>
                    <a:pt x="3264" y="960"/>
                  </a:cubicBezTo>
                  <a:cubicBezTo>
                    <a:pt x="3264" y="891"/>
                    <a:pt x="3219" y="845"/>
                    <a:pt x="3150" y="845"/>
                  </a:cubicBezTo>
                  <a:close/>
                  <a:moveTo>
                    <a:pt x="4474" y="1576"/>
                  </a:moveTo>
                  <a:lnTo>
                    <a:pt x="3789" y="1667"/>
                  </a:lnTo>
                  <a:cubicBezTo>
                    <a:pt x="3721" y="1667"/>
                    <a:pt x="3675" y="1736"/>
                    <a:pt x="3698" y="1804"/>
                  </a:cubicBezTo>
                  <a:cubicBezTo>
                    <a:pt x="3698" y="1873"/>
                    <a:pt x="3744" y="1918"/>
                    <a:pt x="3812" y="1918"/>
                  </a:cubicBezTo>
                  <a:lnTo>
                    <a:pt x="3835" y="1918"/>
                  </a:lnTo>
                  <a:lnTo>
                    <a:pt x="4497" y="1827"/>
                  </a:lnTo>
                  <a:cubicBezTo>
                    <a:pt x="4565" y="1827"/>
                    <a:pt x="4611" y="1758"/>
                    <a:pt x="4611" y="1690"/>
                  </a:cubicBezTo>
                  <a:cubicBezTo>
                    <a:pt x="4588" y="1621"/>
                    <a:pt x="4543" y="1576"/>
                    <a:pt x="4474" y="1576"/>
                  </a:cubicBezTo>
                  <a:close/>
                  <a:moveTo>
                    <a:pt x="2100" y="1690"/>
                  </a:moveTo>
                  <a:cubicBezTo>
                    <a:pt x="1849" y="1713"/>
                    <a:pt x="1621" y="1736"/>
                    <a:pt x="1393" y="1781"/>
                  </a:cubicBezTo>
                  <a:cubicBezTo>
                    <a:pt x="1324" y="1804"/>
                    <a:pt x="1279" y="1873"/>
                    <a:pt x="1301" y="1941"/>
                  </a:cubicBezTo>
                  <a:cubicBezTo>
                    <a:pt x="1301" y="2009"/>
                    <a:pt x="1370" y="2055"/>
                    <a:pt x="1416" y="2055"/>
                  </a:cubicBezTo>
                  <a:cubicBezTo>
                    <a:pt x="1416" y="2055"/>
                    <a:pt x="1438" y="2032"/>
                    <a:pt x="1438" y="2032"/>
                  </a:cubicBezTo>
                  <a:cubicBezTo>
                    <a:pt x="1667" y="1987"/>
                    <a:pt x="1895" y="1964"/>
                    <a:pt x="2100" y="1941"/>
                  </a:cubicBezTo>
                  <a:cubicBezTo>
                    <a:pt x="2169" y="1941"/>
                    <a:pt x="2237" y="1895"/>
                    <a:pt x="2237" y="1827"/>
                  </a:cubicBezTo>
                  <a:cubicBezTo>
                    <a:pt x="2214" y="1736"/>
                    <a:pt x="2169" y="1690"/>
                    <a:pt x="2100" y="1690"/>
                  </a:cubicBezTo>
                  <a:close/>
                  <a:moveTo>
                    <a:pt x="822" y="2032"/>
                  </a:moveTo>
                  <a:lnTo>
                    <a:pt x="115" y="2055"/>
                  </a:lnTo>
                  <a:cubicBezTo>
                    <a:pt x="46" y="2055"/>
                    <a:pt x="0" y="2101"/>
                    <a:pt x="0" y="2169"/>
                  </a:cubicBezTo>
                  <a:cubicBezTo>
                    <a:pt x="0" y="2238"/>
                    <a:pt x="46" y="2306"/>
                    <a:pt x="137" y="2306"/>
                  </a:cubicBezTo>
                  <a:lnTo>
                    <a:pt x="822" y="2283"/>
                  </a:lnTo>
                  <a:lnTo>
                    <a:pt x="822" y="2032"/>
                  </a:lnTo>
                  <a:close/>
                  <a:moveTo>
                    <a:pt x="1712" y="2740"/>
                  </a:moveTo>
                  <a:cubicBezTo>
                    <a:pt x="1644" y="2740"/>
                    <a:pt x="1575" y="2808"/>
                    <a:pt x="1575" y="2877"/>
                  </a:cubicBezTo>
                  <a:cubicBezTo>
                    <a:pt x="1575" y="2945"/>
                    <a:pt x="1621" y="2991"/>
                    <a:pt x="1690" y="2991"/>
                  </a:cubicBezTo>
                  <a:lnTo>
                    <a:pt x="2511" y="3037"/>
                  </a:lnTo>
                  <a:lnTo>
                    <a:pt x="2534" y="3037"/>
                  </a:lnTo>
                  <a:cubicBezTo>
                    <a:pt x="2603" y="3037"/>
                    <a:pt x="2648" y="2991"/>
                    <a:pt x="2648" y="2922"/>
                  </a:cubicBezTo>
                  <a:cubicBezTo>
                    <a:pt x="2648" y="2854"/>
                    <a:pt x="2603" y="2786"/>
                    <a:pt x="2534" y="2786"/>
                  </a:cubicBezTo>
                  <a:lnTo>
                    <a:pt x="1712" y="2740"/>
                  </a:lnTo>
                  <a:close/>
                  <a:moveTo>
                    <a:pt x="5651" y="2711"/>
                  </a:moveTo>
                  <a:cubicBezTo>
                    <a:pt x="5640" y="2711"/>
                    <a:pt x="5628" y="2713"/>
                    <a:pt x="5615" y="2717"/>
                  </a:cubicBezTo>
                  <a:cubicBezTo>
                    <a:pt x="5364" y="2763"/>
                    <a:pt x="5136" y="2786"/>
                    <a:pt x="4885" y="2808"/>
                  </a:cubicBezTo>
                  <a:cubicBezTo>
                    <a:pt x="4817" y="2808"/>
                    <a:pt x="4771" y="2877"/>
                    <a:pt x="4771" y="2945"/>
                  </a:cubicBezTo>
                  <a:cubicBezTo>
                    <a:pt x="4771" y="3014"/>
                    <a:pt x="4817" y="3059"/>
                    <a:pt x="4885" y="3059"/>
                  </a:cubicBezTo>
                  <a:lnTo>
                    <a:pt x="4908" y="3059"/>
                  </a:lnTo>
                  <a:cubicBezTo>
                    <a:pt x="5159" y="3037"/>
                    <a:pt x="5410" y="3014"/>
                    <a:pt x="5661" y="2968"/>
                  </a:cubicBezTo>
                  <a:cubicBezTo>
                    <a:pt x="5730" y="2945"/>
                    <a:pt x="5775" y="2877"/>
                    <a:pt x="5752" y="2808"/>
                  </a:cubicBezTo>
                  <a:cubicBezTo>
                    <a:pt x="5752" y="2752"/>
                    <a:pt x="5706" y="2711"/>
                    <a:pt x="5651" y="2711"/>
                  </a:cubicBezTo>
                  <a:close/>
                  <a:moveTo>
                    <a:pt x="4086" y="3265"/>
                  </a:moveTo>
                  <a:lnTo>
                    <a:pt x="3356" y="3311"/>
                  </a:lnTo>
                  <a:cubicBezTo>
                    <a:pt x="3287" y="3311"/>
                    <a:pt x="3219" y="3379"/>
                    <a:pt x="3242" y="3447"/>
                  </a:cubicBezTo>
                  <a:cubicBezTo>
                    <a:pt x="3242" y="3516"/>
                    <a:pt x="3287" y="3562"/>
                    <a:pt x="3356" y="3562"/>
                  </a:cubicBezTo>
                  <a:lnTo>
                    <a:pt x="4109" y="3516"/>
                  </a:lnTo>
                  <a:cubicBezTo>
                    <a:pt x="4177" y="3516"/>
                    <a:pt x="4223" y="3470"/>
                    <a:pt x="4223" y="3402"/>
                  </a:cubicBezTo>
                  <a:cubicBezTo>
                    <a:pt x="4223" y="3333"/>
                    <a:pt x="4155" y="3265"/>
                    <a:pt x="4086" y="3265"/>
                  </a:cubicBezTo>
                  <a:close/>
                  <a:moveTo>
                    <a:pt x="1758" y="3904"/>
                  </a:moveTo>
                  <a:cubicBezTo>
                    <a:pt x="1690" y="3904"/>
                    <a:pt x="1621" y="3972"/>
                    <a:pt x="1621" y="4041"/>
                  </a:cubicBezTo>
                  <a:cubicBezTo>
                    <a:pt x="1621" y="4109"/>
                    <a:pt x="1667" y="4178"/>
                    <a:pt x="1735" y="4178"/>
                  </a:cubicBezTo>
                  <a:lnTo>
                    <a:pt x="2625" y="4201"/>
                  </a:lnTo>
                  <a:cubicBezTo>
                    <a:pt x="2694" y="4201"/>
                    <a:pt x="2739" y="4132"/>
                    <a:pt x="2739" y="4064"/>
                  </a:cubicBezTo>
                  <a:cubicBezTo>
                    <a:pt x="2739" y="3995"/>
                    <a:pt x="2694" y="3950"/>
                    <a:pt x="2625" y="3950"/>
                  </a:cubicBezTo>
                  <a:lnTo>
                    <a:pt x="1758" y="3904"/>
                  </a:lnTo>
                  <a:close/>
                  <a:moveTo>
                    <a:pt x="4155" y="4634"/>
                  </a:moveTo>
                  <a:lnTo>
                    <a:pt x="3287" y="4657"/>
                  </a:lnTo>
                  <a:cubicBezTo>
                    <a:pt x="3219" y="4657"/>
                    <a:pt x="3150" y="4703"/>
                    <a:pt x="3150" y="4771"/>
                  </a:cubicBezTo>
                  <a:cubicBezTo>
                    <a:pt x="3150" y="4863"/>
                    <a:pt x="3219" y="4908"/>
                    <a:pt x="3287" y="4908"/>
                  </a:cubicBezTo>
                  <a:lnTo>
                    <a:pt x="4155" y="4885"/>
                  </a:lnTo>
                  <a:cubicBezTo>
                    <a:pt x="4223" y="4885"/>
                    <a:pt x="4292" y="4817"/>
                    <a:pt x="4292" y="4749"/>
                  </a:cubicBezTo>
                  <a:cubicBezTo>
                    <a:pt x="4292" y="4680"/>
                    <a:pt x="4223" y="4634"/>
                    <a:pt x="4155" y="4634"/>
                  </a:cubicBezTo>
                  <a:close/>
                </a:path>
              </a:pathLst>
            </a:custGeom>
            <a:solidFill>
              <a:srgbClr val="191919">
                <a:alpha val="29760"/>
              </a:srgb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8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45" name="Google Shape;1237;p58">
            <a:extLst>
              <a:ext uri="{FF2B5EF4-FFF2-40B4-BE49-F238E27FC236}">
                <a16:creationId xmlns:a16="http://schemas.microsoft.com/office/drawing/2014/main" id="{174E5454-F568-7602-DFAC-EA768DC523AF}"/>
              </a:ext>
            </a:extLst>
          </p:cNvPr>
          <p:cNvSpPr txBox="1">
            <a:spLocks/>
          </p:cNvSpPr>
          <p:nvPr/>
        </p:nvSpPr>
        <p:spPr>
          <a:xfrm>
            <a:off x="544126" y="4011496"/>
            <a:ext cx="2302299" cy="679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r>
              <a:rPr lang="en-US" sz="2800">
                <a:solidFill>
                  <a:srgbClr val="03044D"/>
                </a:solidFill>
                <a:latin typeface="Josefin Sans Semi-Bold"/>
                <a:ea typeface="+mn-ea"/>
                <a:cs typeface="+mn-cs"/>
              </a:rPr>
              <a:t>84 RNs</a:t>
            </a:r>
            <a:r>
              <a:rPr kumimoji="0" lang="en-US" sz="35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cs typeface="Arial"/>
                <a:sym typeface="Arial"/>
              </a:rPr>
              <a:t> </a:t>
            </a:r>
            <a:endParaRPr kumimoji="0" lang="en-US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6" name="Google Shape;1237;p58">
            <a:extLst>
              <a:ext uri="{FF2B5EF4-FFF2-40B4-BE49-F238E27FC236}">
                <a16:creationId xmlns:a16="http://schemas.microsoft.com/office/drawing/2014/main" id="{174E5454-F568-7602-DFAC-EA768DC523AF}"/>
              </a:ext>
            </a:extLst>
          </p:cNvPr>
          <p:cNvSpPr txBox="1">
            <a:spLocks/>
          </p:cNvSpPr>
          <p:nvPr/>
        </p:nvSpPr>
        <p:spPr>
          <a:xfrm>
            <a:off x="-1041249" y="4427347"/>
            <a:ext cx="6086944" cy="11454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r>
              <a:rPr lang="en-US" sz="2800">
                <a:solidFill>
                  <a:srgbClr val="03044D"/>
                </a:solidFill>
                <a:latin typeface="Josefin Sans Semi-Bold"/>
                <a:ea typeface="+mn-ea"/>
                <a:cs typeface="+mn-cs"/>
              </a:rPr>
              <a:t>64 Hospitals </a:t>
            </a:r>
            <a:endParaRPr kumimoji="0" lang="en-US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236410" y="2996740"/>
            <a:ext cx="1201418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2000" b="1">
                <a:solidFill>
                  <a:schemeClr val="bg1"/>
                </a:solidFill>
                <a:cs typeface="Calibri"/>
              </a:rPr>
              <a:t>Thank you to all for a successful program to increase bedside nurse attendance &amp; participation at Face-to-Face! </a:t>
            </a:r>
          </a:p>
        </p:txBody>
      </p:sp>
      <p:grpSp>
        <p:nvGrpSpPr>
          <p:cNvPr id="48" name="Google Shape;1232;p58"/>
          <p:cNvGrpSpPr/>
          <p:nvPr/>
        </p:nvGrpSpPr>
        <p:grpSpPr>
          <a:xfrm flipH="1">
            <a:off x="9167684" y="4029735"/>
            <a:ext cx="650873" cy="610412"/>
            <a:chOff x="3089978" y="4184399"/>
            <a:chExt cx="388071" cy="363947"/>
          </a:xfrm>
        </p:grpSpPr>
        <p:sp>
          <p:nvSpPr>
            <p:cNvPr id="49" name="Google Shape;1233;p58"/>
            <p:cNvSpPr/>
            <p:nvPr/>
          </p:nvSpPr>
          <p:spPr>
            <a:xfrm>
              <a:off x="3089978" y="4184399"/>
              <a:ext cx="388071" cy="363947"/>
            </a:xfrm>
            <a:custGeom>
              <a:avLst/>
              <a:gdLst/>
              <a:ahLst/>
              <a:cxnLst/>
              <a:rect l="l" t="t" r="r" b="b"/>
              <a:pathLst>
                <a:path w="14381" h="13487" extrusionOk="0">
                  <a:moveTo>
                    <a:pt x="2308" y="0"/>
                  </a:moveTo>
                  <a:cubicBezTo>
                    <a:pt x="1580" y="0"/>
                    <a:pt x="863" y="267"/>
                    <a:pt x="434" y="855"/>
                  </a:cubicBezTo>
                  <a:cubicBezTo>
                    <a:pt x="92" y="1312"/>
                    <a:pt x="0" y="1905"/>
                    <a:pt x="46" y="2499"/>
                  </a:cubicBezTo>
                  <a:cubicBezTo>
                    <a:pt x="206" y="4097"/>
                    <a:pt x="1507" y="5306"/>
                    <a:pt x="2716" y="6379"/>
                  </a:cubicBezTo>
                  <a:cubicBezTo>
                    <a:pt x="4953" y="8319"/>
                    <a:pt x="7190" y="10282"/>
                    <a:pt x="9404" y="12245"/>
                  </a:cubicBezTo>
                  <a:cubicBezTo>
                    <a:pt x="9747" y="12542"/>
                    <a:pt x="10409" y="12976"/>
                    <a:pt x="11093" y="13249"/>
                  </a:cubicBezTo>
                  <a:cubicBezTo>
                    <a:pt x="11453" y="13400"/>
                    <a:pt x="11849" y="13486"/>
                    <a:pt x="12234" y="13486"/>
                  </a:cubicBezTo>
                  <a:cubicBezTo>
                    <a:pt x="12607" y="13486"/>
                    <a:pt x="12971" y="13406"/>
                    <a:pt x="13285" y="13227"/>
                  </a:cubicBezTo>
                  <a:cubicBezTo>
                    <a:pt x="13992" y="12839"/>
                    <a:pt x="14380" y="12017"/>
                    <a:pt x="14380" y="11218"/>
                  </a:cubicBezTo>
                  <a:cubicBezTo>
                    <a:pt x="14380" y="10419"/>
                    <a:pt x="14038" y="9643"/>
                    <a:pt x="13558" y="9004"/>
                  </a:cubicBezTo>
                  <a:cubicBezTo>
                    <a:pt x="13102" y="8365"/>
                    <a:pt x="12486" y="7817"/>
                    <a:pt x="11892" y="7292"/>
                  </a:cubicBezTo>
                  <a:cubicBezTo>
                    <a:pt x="9861" y="5489"/>
                    <a:pt x="7829" y="3663"/>
                    <a:pt x="5798" y="1860"/>
                  </a:cubicBezTo>
                  <a:cubicBezTo>
                    <a:pt x="5022" y="1175"/>
                    <a:pt x="4223" y="467"/>
                    <a:pt x="3241" y="148"/>
                  </a:cubicBezTo>
                  <a:cubicBezTo>
                    <a:pt x="2944" y="51"/>
                    <a:pt x="2625" y="0"/>
                    <a:pt x="2308" y="0"/>
                  </a:cubicBezTo>
                  <a:close/>
                </a:path>
              </a:pathLst>
            </a:custGeom>
            <a:solidFill>
              <a:srgbClr val="F3B18B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8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0" name="Google Shape;1234;p58"/>
            <p:cNvSpPr/>
            <p:nvPr/>
          </p:nvSpPr>
          <p:spPr>
            <a:xfrm>
              <a:off x="3168208" y="4252428"/>
              <a:ext cx="225460" cy="223004"/>
            </a:xfrm>
            <a:custGeom>
              <a:avLst/>
              <a:gdLst/>
              <a:ahLst/>
              <a:cxnLst/>
              <a:rect l="l" t="t" r="r" b="b"/>
              <a:pathLst>
                <a:path w="8355" h="8264" extrusionOk="0">
                  <a:moveTo>
                    <a:pt x="3629" y="1"/>
                  </a:moveTo>
                  <a:cubicBezTo>
                    <a:pt x="2465" y="1370"/>
                    <a:pt x="1255" y="2717"/>
                    <a:pt x="0" y="4018"/>
                  </a:cubicBezTo>
                  <a:cubicBezTo>
                    <a:pt x="1621" y="5433"/>
                    <a:pt x="3218" y="6848"/>
                    <a:pt x="4839" y="8263"/>
                  </a:cubicBezTo>
                  <a:cubicBezTo>
                    <a:pt x="5957" y="6848"/>
                    <a:pt x="7144" y="5501"/>
                    <a:pt x="8354" y="4200"/>
                  </a:cubicBezTo>
                  <a:cubicBezTo>
                    <a:pt x="6779" y="2808"/>
                    <a:pt x="5204" y="1393"/>
                    <a:pt x="3629" y="1"/>
                  </a:cubicBezTo>
                  <a:close/>
                </a:path>
              </a:pathLst>
            </a:custGeom>
            <a:solidFill>
              <a:srgbClr val="FBB4B8"/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8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1" name="Google Shape;1235;p58"/>
            <p:cNvSpPr/>
            <p:nvPr/>
          </p:nvSpPr>
          <p:spPr>
            <a:xfrm>
              <a:off x="3202074" y="4297385"/>
              <a:ext cx="155865" cy="132469"/>
            </a:xfrm>
            <a:custGeom>
              <a:avLst/>
              <a:gdLst/>
              <a:ahLst/>
              <a:cxnLst/>
              <a:rect l="l" t="t" r="r" b="b"/>
              <a:pathLst>
                <a:path w="5776" h="4909" extrusionOk="0">
                  <a:moveTo>
                    <a:pt x="1941" y="1"/>
                  </a:moveTo>
                  <a:cubicBezTo>
                    <a:pt x="1872" y="1"/>
                    <a:pt x="1804" y="46"/>
                    <a:pt x="1826" y="115"/>
                  </a:cubicBezTo>
                  <a:cubicBezTo>
                    <a:pt x="1826" y="183"/>
                    <a:pt x="1872" y="252"/>
                    <a:pt x="1941" y="252"/>
                  </a:cubicBezTo>
                  <a:lnTo>
                    <a:pt x="2534" y="252"/>
                  </a:lnTo>
                  <a:cubicBezTo>
                    <a:pt x="2603" y="252"/>
                    <a:pt x="2648" y="183"/>
                    <a:pt x="2648" y="115"/>
                  </a:cubicBezTo>
                  <a:cubicBezTo>
                    <a:pt x="2648" y="46"/>
                    <a:pt x="2603" y="1"/>
                    <a:pt x="2534" y="1"/>
                  </a:cubicBezTo>
                  <a:close/>
                  <a:moveTo>
                    <a:pt x="2511" y="845"/>
                  </a:moveTo>
                  <a:cubicBezTo>
                    <a:pt x="2443" y="845"/>
                    <a:pt x="2374" y="914"/>
                    <a:pt x="2374" y="982"/>
                  </a:cubicBezTo>
                  <a:cubicBezTo>
                    <a:pt x="2374" y="1051"/>
                    <a:pt x="2443" y="1096"/>
                    <a:pt x="2511" y="1096"/>
                  </a:cubicBezTo>
                  <a:lnTo>
                    <a:pt x="3150" y="1096"/>
                  </a:lnTo>
                  <a:cubicBezTo>
                    <a:pt x="3219" y="1096"/>
                    <a:pt x="3264" y="1028"/>
                    <a:pt x="3264" y="960"/>
                  </a:cubicBezTo>
                  <a:cubicBezTo>
                    <a:pt x="3264" y="891"/>
                    <a:pt x="3219" y="845"/>
                    <a:pt x="3150" y="845"/>
                  </a:cubicBezTo>
                  <a:close/>
                  <a:moveTo>
                    <a:pt x="4474" y="1576"/>
                  </a:moveTo>
                  <a:lnTo>
                    <a:pt x="3789" y="1667"/>
                  </a:lnTo>
                  <a:cubicBezTo>
                    <a:pt x="3721" y="1667"/>
                    <a:pt x="3675" y="1736"/>
                    <a:pt x="3698" y="1804"/>
                  </a:cubicBezTo>
                  <a:cubicBezTo>
                    <a:pt x="3698" y="1873"/>
                    <a:pt x="3744" y="1918"/>
                    <a:pt x="3812" y="1918"/>
                  </a:cubicBezTo>
                  <a:lnTo>
                    <a:pt x="3835" y="1918"/>
                  </a:lnTo>
                  <a:lnTo>
                    <a:pt x="4497" y="1827"/>
                  </a:lnTo>
                  <a:cubicBezTo>
                    <a:pt x="4565" y="1827"/>
                    <a:pt x="4611" y="1758"/>
                    <a:pt x="4611" y="1690"/>
                  </a:cubicBezTo>
                  <a:cubicBezTo>
                    <a:pt x="4588" y="1621"/>
                    <a:pt x="4543" y="1576"/>
                    <a:pt x="4474" y="1576"/>
                  </a:cubicBezTo>
                  <a:close/>
                  <a:moveTo>
                    <a:pt x="2100" y="1690"/>
                  </a:moveTo>
                  <a:cubicBezTo>
                    <a:pt x="1849" y="1713"/>
                    <a:pt x="1621" y="1736"/>
                    <a:pt x="1393" y="1781"/>
                  </a:cubicBezTo>
                  <a:cubicBezTo>
                    <a:pt x="1324" y="1804"/>
                    <a:pt x="1279" y="1873"/>
                    <a:pt x="1301" y="1941"/>
                  </a:cubicBezTo>
                  <a:cubicBezTo>
                    <a:pt x="1301" y="2009"/>
                    <a:pt x="1370" y="2055"/>
                    <a:pt x="1416" y="2055"/>
                  </a:cubicBezTo>
                  <a:cubicBezTo>
                    <a:pt x="1416" y="2055"/>
                    <a:pt x="1438" y="2032"/>
                    <a:pt x="1438" y="2032"/>
                  </a:cubicBezTo>
                  <a:cubicBezTo>
                    <a:pt x="1667" y="1987"/>
                    <a:pt x="1895" y="1964"/>
                    <a:pt x="2100" y="1941"/>
                  </a:cubicBezTo>
                  <a:cubicBezTo>
                    <a:pt x="2169" y="1941"/>
                    <a:pt x="2237" y="1895"/>
                    <a:pt x="2237" y="1827"/>
                  </a:cubicBezTo>
                  <a:cubicBezTo>
                    <a:pt x="2214" y="1736"/>
                    <a:pt x="2169" y="1690"/>
                    <a:pt x="2100" y="1690"/>
                  </a:cubicBezTo>
                  <a:close/>
                  <a:moveTo>
                    <a:pt x="822" y="2032"/>
                  </a:moveTo>
                  <a:lnTo>
                    <a:pt x="115" y="2055"/>
                  </a:lnTo>
                  <a:cubicBezTo>
                    <a:pt x="46" y="2055"/>
                    <a:pt x="0" y="2101"/>
                    <a:pt x="0" y="2169"/>
                  </a:cubicBezTo>
                  <a:cubicBezTo>
                    <a:pt x="0" y="2238"/>
                    <a:pt x="46" y="2306"/>
                    <a:pt x="137" y="2306"/>
                  </a:cubicBezTo>
                  <a:lnTo>
                    <a:pt x="822" y="2283"/>
                  </a:lnTo>
                  <a:lnTo>
                    <a:pt x="822" y="2032"/>
                  </a:lnTo>
                  <a:close/>
                  <a:moveTo>
                    <a:pt x="1712" y="2740"/>
                  </a:moveTo>
                  <a:cubicBezTo>
                    <a:pt x="1644" y="2740"/>
                    <a:pt x="1575" y="2808"/>
                    <a:pt x="1575" y="2877"/>
                  </a:cubicBezTo>
                  <a:cubicBezTo>
                    <a:pt x="1575" y="2945"/>
                    <a:pt x="1621" y="2991"/>
                    <a:pt x="1690" y="2991"/>
                  </a:cubicBezTo>
                  <a:lnTo>
                    <a:pt x="2511" y="3037"/>
                  </a:lnTo>
                  <a:lnTo>
                    <a:pt x="2534" y="3037"/>
                  </a:lnTo>
                  <a:cubicBezTo>
                    <a:pt x="2603" y="3037"/>
                    <a:pt x="2648" y="2991"/>
                    <a:pt x="2648" y="2922"/>
                  </a:cubicBezTo>
                  <a:cubicBezTo>
                    <a:pt x="2648" y="2854"/>
                    <a:pt x="2603" y="2786"/>
                    <a:pt x="2534" y="2786"/>
                  </a:cubicBezTo>
                  <a:lnTo>
                    <a:pt x="1712" y="2740"/>
                  </a:lnTo>
                  <a:close/>
                  <a:moveTo>
                    <a:pt x="5651" y="2711"/>
                  </a:moveTo>
                  <a:cubicBezTo>
                    <a:pt x="5640" y="2711"/>
                    <a:pt x="5628" y="2713"/>
                    <a:pt x="5615" y="2717"/>
                  </a:cubicBezTo>
                  <a:cubicBezTo>
                    <a:pt x="5364" y="2763"/>
                    <a:pt x="5136" y="2786"/>
                    <a:pt x="4885" y="2808"/>
                  </a:cubicBezTo>
                  <a:cubicBezTo>
                    <a:pt x="4817" y="2808"/>
                    <a:pt x="4771" y="2877"/>
                    <a:pt x="4771" y="2945"/>
                  </a:cubicBezTo>
                  <a:cubicBezTo>
                    <a:pt x="4771" y="3014"/>
                    <a:pt x="4817" y="3059"/>
                    <a:pt x="4885" y="3059"/>
                  </a:cubicBezTo>
                  <a:lnTo>
                    <a:pt x="4908" y="3059"/>
                  </a:lnTo>
                  <a:cubicBezTo>
                    <a:pt x="5159" y="3037"/>
                    <a:pt x="5410" y="3014"/>
                    <a:pt x="5661" y="2968"/>
                  </a:cubicBezTo>
                  <a:cubicBezTo>
                    <a:pt x="5730" y="2945"/>
                    <a:pt x="5775" y="2877"/>
                    <a:pt x="5752" y="2808"/>
                  </a:cubicBezTo>
                  <a:cubicBezTo>
                    <a:pt x="5752" y="2752"/>
                    <a:pt x="5706" y="2711"/>
                    <a:pt x="5651" y="2711"/>
                  </a:cubicBezTo>
                  <a:close/>
                  <a:moveTo>
                    <a:pt x="4086" y="3265"/>
                  </a:moveTo>
                  <a:lnTo>
                    <a:pt x="3356" y="3311"/>
                  </a:lnTo>
                  <a:cubicBezTo>
                    <a:pt x="3287" y="3311"/>
                    <a:pt x="3219" y="3379"/>
                    <a:pt x="3242" y="3447"/>
                  </a:cubicBezTo>
                  <a:cubicBezTo>
                    <a:pt x="3242" y="3516"/>
                    <a:pt x="3287" y="3562"/>
                    <a:pt x="3356" y="3562"/>
                  </a:cubicBezTo>
                  <a:lnTo>
                    <a:pt x="4109" y="3516"/>
                  </a:lnTo>
                  <a:cubicBezTo>
                    <a:pt x="4177" y="3516"/>
                    <a:pt x="4223" y="3470"/>
                    <a:pt x="4223" y="3402"/>
                  </a:cubicBezTo>
                  <a:cubicBezTo>
                    <a:pt x="4223" y="3333"/>
                    <a:pt x="4155" y="3265"/>
                    <a:pt x="4086" y="3265"/>
                  </a:cubicBezTo>
                  <a:close/>
                  <a:moveTo>
                    <a:pt x="1758" y="3904"/>
                  </a:moveTo>
                  <a:cubicBezTo>
                    <a:pt x="1690" y="3904"/>
                    <a:pt x="1621" y="3972"/>
                    <a:pt x="1621" y="4041"/>
                  </a:cubicBezTo>
                  <a:cubicBezTo>
                    <a:pt x="1621" y="4109"/>
                    <a:pt x="1667" y="4178"/>
                    <a:pt x="1735" y="4178"/>
                  </a:cubicBezTo>
                  <a:lnTo>
                    <a:pt x="2625" y="4201"/>
                  </a:lnTo>
                  <a:cubicBezTo>
                    <a:pt x="2694" y="4201"/>
                    <a:pt x="2739" y="4132"/>
                    <a:pt x="2739" y="4064"/>
                  </a:cubicBezTo>
                  <a:cubicBezTo>
                    <a:pt x="2739" y="3995"/>
                    <a:pt x="2694" y="3950"/>
                    <a:pt x="2625" y="3950"/>
                  </a:cubicBezTo>
                  <a:lnTo>
                    <a:pt x="1758" y="3904"/>
                  </a:lnTo>
                  <a:close/>
                  <a:moveTo>
                    <a:pt x="4155" y="4634"/>
                  </a:moveTo>
                  <a:lnTo>
                    <a:pt x="3287" y="4657"/>
                  </a:lnTo>
                  <a:cubicBezTo>
                    <a:pt x="3219" y="4657"/>
                    <a:pt x="3150" y="4703"/>
                    <a:pt x="3150" y="4771"/>
                  </a:cubicBezTo>
                  <a:cubicBezTo>
                    <a:pt x="3150" y="4863"/>
                    <a:pt x="3219" y="4908"/>
                    <a:pt x="3287" y="4908"/>
                  </a:cubicBezTo>
                  <a:lnTo>
                    <a:pt x="4155" y="4885"/>
                  </a:lnTo>
                  <a:cubicBezTo>
                    <a:pt x="4223" y="4885"/>
                    <a:pt x="4292" y="4817"/>
                    <a:pt x="4292" y="4749"/>
                  </a:cubicBezTo>
                  <a:cubicBezTo>
                    <a:pt x="4292" y="4680"/>
                    <a:pt x="4223" y="4634"/>
                    <a:pt x="4155" y="4634"/>
                  </a:cubicBezTo>
                  <a:close/>
                </a:path>
              </a:pathLst>
            </a:custGeom>
            <a:solidFill>
              <a:srgbClr val="191919">
                <a:alpha val="29760"/>
              </a:srgbClr>
            </a:solidFill>
            <a:ln>
              <a:noFill/>
            </a:ln>
          </p:spPr>
          <p:txBody>
            <a:bodyPr spcFirstLastPara="1" wrap="square" lIns="121900" tIns="121900" rIns="121900" bIns="12190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867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2489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sp>
        <p:nvSpPr>
          <p:cNvPr id="52" name="Google Shape;1237;p58">
            <a:extLst>
              <a:ext uri="{FF2B5EF4-FFF2-40B4-BE49-F238E27FC236}">
                <a16:creationId xmlns:a16="http://schemas.microsoft.com/office/drawing/2014/main" id="{174E5454-F568-7602-DFAC-EA768DC523AF}"/>
              </a:ext>
            </a:extLst>
          </p:cNvPr>
          <p:cNvSpPr txBox="1">
            <a:spLocks/>
          </p:cNvSpPr>
          <p:nvPr/>
        </p:nvSpPr>
        <p:spPr>
          <a:xfrm>
            <a:off x="9468368" y="5559064"/>
            <a:ext cx="2496676" cy="6794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Arial"/>
              <a:buNone/>
              <a:tabLst/>
              <a:defRPr/>
            </a:pPr>
            <a:r>
              <a:rPr lang="en-US" sz="1900">
                <a:solidFill>
                  <a:srgbClr val="03044D"/>
                </a:solidFill>
                <a:latin typeface="Josefin Sans Semi-Bold"/>
                <a:ea typeface="+mn-ea"/>
                <a:cs typeface="+mn-cs"/>
              </a:rPr>
              <a:t>A special </a:t>
            </a:r>
            <a:r>
              <a:rPr lang="en-US" sz="1900" i="1">
                <a:solidFill>
                  <a:srgbClr val="03044D"/>
                </a:solidFill>
                <a:latin typeface="Josefin Sans Semi-Bold"/>
                <a:ea typeface="+mn-ea"/>
                <a:cs typeface="+mn-cs"/>
              </a:rPr>
              <a:t>Thank You </a:t>
            </a:r>
            <a:r>
              <a:rPr lang="en-US" sz="1900">
                <a:solidFill>
                  <a:srgbClr val="03044D"/>
                </a:solidFill>
                <a:latin typeface="Josefin Sans Semi-Bold"/>
                <a:ea typeface="+mn-ea"/>
                <a:cs typeface="+mn-cs"/>
              </a:rPr>
              <a:t>to the PNAs for their collaboration in coordinating the registration process. </a:t>
            </a:r>
            <a:r>
              <a:rPr kumimoji="0" lang="en-US" sz="19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ptos"/>
                <a:sym typeface="Arial"/>
              </a:rPr>
              <a:t> </a:t>
            </a:r>
            <a:endParaRPr kumimoji="0" lang="en-US" sz="1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6065312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14" name="Google Shape;3814;p412"/>
          <p:cNvSpPr txBox="1">
            <a:spLocks noGrp="1"/>
          </p:cNvSpPr>
          <p:nvPr>
            <p:ph type="ctrTitle"/>
          </p:nvPr>
        </p:nvSpPr>
        <p:spPr>
          <a:xfrm>
            <a:off x="1420384" y="1222537"/>
            <a:ext cx="6244790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</a:pPr>
            <a:r>
              <a:rPr lang="en-US" b="0">
                <a:solidFill>
                  <a:schemeClr val="accent1"/>
                </a:solidFill>
              </a:rPr>
              <a:t>Welcome Address</a:t>
            </a:r>
            <a:endParaRPr/>
          </a:p>
        </p:txBody>
      </p:sp>
      <p:sp>
        <p:nvSpPr>
          <p:cNvPr id="3815" name="Google Shape;3815;p412"/>
          <p:cNvSpPr txBox="1">
            <a:spLocks noGrp="1"/>
          </p:cNvSpPr>
          <p:nvPr>
            <p:ph type="subTitle" idx="1"/>
          </p:nvPr>
        </p:nvSpPr>
        <p:spPr>
          <a:xfrm>
            <a:off x="1417829" y="2394400"/>
            <a:ext cx="7326488" cy="16160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endParaRPr b="1"/>
          </a:p>
          <a:p>
            <a:pPr marL="0" indent="0">
              <a:lnSpc>
                <a:spcPct val="150000"/>
              </a:lnSpc>
              <a:spcBef>
                <a:spcPts val="2000"/>
              </a:spcBef>
            </a:pPr>
            <a:r>
              <a:rPr lang="en-US" b="1"/>
              <a:t>Adebola Hassan, MD, MPH, CPH</a:t>
            </a:r>
            <a:endParaRPr lang="en-US"/>
          </a:p>
          <a:p>
            <a:pPr marL="0" indent="0">
              <a:lnSpc>
                <a:spcPct val="150000"/>
              </a:lnSpc>
              <a:spcBef>
                <a:spcPts val="0"/>
              </a:spcBef>
            </a:pPr>
            <a:r>
              <a:rPr lang="en-US" sz="2200">
                <a:solidFill>
                  <a:srgbClr val="444C55"/>
                </a:solidFill>
              </a:rPr>
              <a:t>MCH Division Chief and Title V Director </a:t>
            </a:r>
            <a:endParaRPr lang="en-US"/>
          </a:p>
          <a:p>
            <a:pPr marL="0" indent="0">
              <a:spcBef>
                <a:spcPts val="0"/>
              </a:spcBef>
            </a:pPr>
            <a:r>
              <a:rPr lang="en-US" sz="2200">
                <a:solidFill>
                  <a:srgbClr val="444C55"/>
                </a:solidFill>
              </a:rPr>
              <a:t>Office of Women’s Health and Family Services</a:t>
            </a:r>
            <a:endParaRPr lang="en-US"/>
          </a:p>
          <a:p>
            <a:pPr marL="0" indent="0">
              <a:spcBef>
                <a:spcPts val="0"/>
              </a:spcBef>
            </a:pPr>
            <a:r>
              <a:rPr lang="en-US" sz="2200">
                <a:solidFill>
                  <a:srgbClr val="444C55"/>
                </a:solidFill>
              </a:rPr>
              <a:t>Illinois Department of Public Health</a:t>
            </a:r>
            <a:endParaRPr lang="en-US"/>
          </a:p>
          <a:p>
            <a:pPr marL="0" lvl="0" indent="0" algn="l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200"/>
              <a:buNone/>
            </a:pPr>
            <a:endParaRPr lang="en-US" sz="2200"/>
          </a:p>
          <a:p>
            <a:pPr marL="0" lvl="0" indent="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400"/>
              <a:buNone/>
            </a:pPr>
            <a:endParaRPr/>
          </a:p>
          <a:p>
            <a:pPr marL="0" lvl="0" indent="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  <p:pic>
        <p:nvPicPr>
          <p:cNvPr id="2" name="Picture Placeholder 1" descr="A person wearing glasses and a black jacket&#10;&#10;Description automatically generated">
            <a:extLst>
              <a:ext uri="{FF2B5EF4-FFF2-40B4-BE49-F238E27FC236}">
                <a16:creationId xmlns:a16="http://schemas.microsoft.com/office/drawing/2014/main" id="{6D55DCEE-FEF6-A788-E48B-8847BF48E13E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08" b="1708"/>
          <a:stretch/>
        </p:blipFill>
        <p:spPr>
          <a:xfrm>
            <a:off x="7181356" y="1400727"/>
            <a:ext cx="3447786" cy="4062413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</p:spTree>
    <p:extLst>
      <p:ext uri="{BB962C8B-B14F-4D97-AF65-F5344CB8AC3E}">
        <p14:creationId xmlns:p14="http://schemas.microsoft.com/office/powerpoint/2010/main" val="21702481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173404"/>
            <a:ext cx="4334347" cy="2267013"/>
          </a:xfrm>
        </p:spPr>
        <p:txBody>
          <a:bodyPr/>
          <a:lstStyle/>
          <a:p>
            <a:r>
              <a:rPr lang="en-US">
                <a:solidFill>
                  <a:schemeClr val="accent1"/>
                </a:solidFill>
                <a:cs typeface="Calibri"/>
              </a:rPr>
              <a:t>Making Change Happen in 2024</a:t>
            </a: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22563-64D6-2A4E-B048-13AC25DB45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474401"/>
            <a:ext cx="5194433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>
                <a:ea typeface="+mn-lt"/>
                <a:cs typeface="+mn-lt"/>
              </a:rPr>
              <a:t>Ann Borders, MD, MSc, MPH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>
                <a:ea typeface="+mn-lt"/>
                <a:cs typeface="+mn-lt"/>
              </a:rPr>
              <a:t>Executive Director, ILPQC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>
                <a:ea typeface="+mn-lt"/>
                <a:cs typeface="+mn-lt"/>
              </a:rPr>
              <a:t>Ian Bernard Horowitz Chair of OB,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2000">
                <a:ea typeface="+mn-lt"/>
                <a:cs typeface="+mn-lt"/>
              </a:rPr>
              <a:t>MFM, Endeavor Health</a:t>
            </a:r>
            <a:endParaRPr lang="en-US" sz="2000"/>
          </a:p>
          <a:p>
            <a:endParaRPr lang="en-US">
              <a:cs typeface="+mn-lt"/>
            </a:endParaRPr>
          </a:p>
        </p:txBody>
      </p:sp>
      <p:pic>
        <p:nvPicPr>
          <p:cNvPr id="8" name="Picture 7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2B351ED0-3392-4B52-9588-28FAEE69EB2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76" t="818" r="4128" b="-613"/>
          <a:stretch/>
        </p:blipFill>
        <p:spPr>
          <a:xfrm>
            <a:off x="5518977" y="1251857"/>
            <a:ext cx="6673049" cy="498432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9970727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6FFB044-29BD-EE85-102D-4E12652B6170}"/>
              </a:ext>
            </a:extLst>
          </p:cNvPr>
          <p:cNvSpPr/>
          <p:nvPr/>
        </p:nvSpPr>
        <p:spPr>
          <a:xfrm>
            <a:off x="7032326" y="-9346"/>
            <a:ext cx="5276490" cy="16533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D91110-58ED-8873-442C-BDE868C3D72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>
            <a:norm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B3AF66C-AB5E-D602-DB53-CCFCE22E45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9DF717-94B7-6EF1-F51D-D467154AEE7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924558" y="16503"/>
            <a:ext cx="6121469" cy="878577"/>
          </a:xfrm>
        </p:spPr>
        <p:txBody>
          <a:bodyPr anchor="b">
            <a:noAutofit/>
          </a:bodyPr>
          <a:lstStyle/>
          <a:p>
            <a:pPr algn="ctr"/>
            <a:r>
              <a:rPr lang="en-US">
                <a:ea typeface="Lato Medium"/>
                <a:cs typeface="Lato Medium"/>
              </a:rPr>
              <a:t>Welcome back to Springfield! </a:t>
            </a:r>
            <a:endParaRPr lang="en-US"/>
          </a:p>
        </p:txBody>
      </p:sp>
      <p:pic>
        <p:nvPicPr>
          <p:cNvPr id="8" name="Picture 8">
            <a:extLst>
              <a:ext uri="{FF2B5EF4-FFF2-40B4-BE49-F238E27FC236}">
                <a16:creationId xmlns:a16="http://schemas.microsoft.com/office/drawing/2014/main" id="{450E5305-715E-2D38-939E-4BF42D478CB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751" y="1983356"/>
            <a:ext cx="2369389" cy="1769853"/>
          </a:xfrm>
          <a:prstGeom prst="rect">
            <a:avLst/>
          </a:prstGeom>
        </p:spPr>
      </p:pic>
      <p:pic>
        <p:nvPicPr>
          <p:cNvPr id="9" name="Picture 9">
            <a:extLst>
              <a:ext uri="{FF2B5EF4-FFF2-40B4-BE49-F238E27FC236}">
                <a16:creationId xmlns:a16="http://schemas.microsoft.com/office/drawing/2014/main" id="{A8403B49-8EEB-DCF9-12E6-05EFAA674E5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0275" y="5093359"/>
            <a:ext cx="2346206" cy="1746490"/>
          </a:xfrm>
          <a:prstGeom prst="rect">
            <a:avLst/>
          </a:prstGeom>
        </p:spPr>
      </p:pic>
      <p:pic>
        <p:nvPicPr>
          <p:cNvPr id="10" name="Picture 11">
            <a:extLst>
              <a:ext uri="{FF2B5EF4-FFF2-40B4-BE49-F238E27FC236}">
                <a16:creationId xmlns:a16="http://schemas.microsoft.com/office/drawing/2014/main" id="{CCB97230-90E5-F528-9956-065FF07CEB9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9382" y="5083901"/>
            <a:ext cx="2958860" cy="1779784"/>
          </a:xfrm>
          <a:prstGeom prst="rect">
            <a:avLst/>
          </a:prstGeom>
        </p:spPr>
      </p:pic>
      <p:pic>
        <p:nvPicPr>
          <p:cNvPr id="12" name="Picture 13" descr="A picture containing text, person, dressed&#10;&#10;Description automatically generated">
            <a:extLst>
              <a:ext uri="{FF2B5EF4-FFF2-40B4-BE49-F238E27FC236}">
                <a16:creationId xmlns:a16="http://schemas.microsoft.com/office/drawing/2014/main" id="{0AE228D2-1B20-EEAA-D851-533D2E21CFA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59"/>
          <a:stretch/>
        </p:blipFill>
        <p:spPr>
          <a:xfrm>
            <a:off x="-87675" y="3748743"/>
            <a:ext cx="2365033" cy="1403624"/>
          </a:xfrm>
          <a:prstGeom prst="rect">
            <a:avLst/>
          </a:prstGeom>
        </p:spPr>
      </p:pic>
      <p:pic>
        <p:nvPicPr>
          <p:cNvPr id="15" name="Picture 15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790E2563-8CA6-9279-222D-25E98C355071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6740" y="5073949"/>
            <a:ext cx="2656936" cy="1785309"/>
          </a:xfrm>
          <a:prstGeom prst="rect">
            <a:avLst/>
          </a:prstGeom>
        </p:spPr>
      </p:pic>
      <p:pic>
        <p:nvPicPr>
          <p:cNvPr id="16" name="Picture 16">
            <a:extLst>
              <a:ext uri="{FF2B5EF4-FFF2-40B4-BE49-F238E27FC236}">
                <a16:creationId xmlns:a16="http://schemas.microsoft.com/office/drawing/2014/main" id="{A58A2634-D78D-CDCC-8130-05377ACFAF91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29003" y="25892"/>
            <a:ext cx="2355012" cy="1731008"/>
          </a:xfrm>
          <a:prstGeom prst="rect">
            <a:avLst/>
          </a:prstGeom>
        </p:spPr>
      </p:pic>
      <p:pic>
        <p:nvPicPr>
          <p:cNvPr id="17" name="Picture 18" descr="A group of women posing for a photo&#10;&#10;Description automatically generated">
            <a:extLst>
              <a:ext uri="{FF2B5EF4-FFF2-40B4-BE49-F238E27FC236}">
                <a16:creationId xmlns:a16="http://schemas.microsoft.com/office/drawing/2014/main" id="{3E345E17-4612-6AA3-BE71-0F38AC1A8C92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0" t="17765" r="-1195" b="-234"/>
          <a:stretch/>
        </p:blipFill>
        <p:spPr>
          <a:xfrm>
            <a:off x="9877244" y="1766953"/>
            <a:ext cx="2425372" cy="1114073"/>
          </a:xfrm>
          <a:prstGeom prst="rect">
            <a:avLst/>
          </a:prstGeom>
        </p:spPr>
      </p:pic>
      <p:pic>
        <p:nvPicPr>
          <p:cNvPr id="19" name="Picture 20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9F7B9902-0E92-37A7-43FE-6008CC371C68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7638" y="5088866"/>
            <a:ext cx="2369389" cy="1769853"/>
          </a:xfrm>
          <a:prstGeom prst="rect">
            <a:avLst/>
          </a:prstGeom>
        </p:spPr>
      </p:pic>
      <p:pic>
        <p:nvPicPr>
          <p:cNvPr id="21" name="Picture 21" descr="A picture containing person, posing, group, standing&#10;&#10;Description automatically generated">
            <a:extLst>
              <a:ext uri="{FF2B5EF4-FFF2-40B4-BE49-F238E27FC236}">
                <a16:creationId xmlns:a16="http://schemas.microsoft.com/office/drawing/2014/main" id="{20140E8B-E758-D728-21A3-60FD747549A4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751" y="4646"/>
            <a:ext cx="2283125" cy="1974785"/>
          </a:xfrm>
          <a:prstGeom prst="rect">
            <a:avLst/>
          </a:prstGeom>
        </p:spPr>
      </p:pic>
      <p:pic>
        <p:nvPicPr>
          <p:cNvPr id="14" name="Picture 14" descr="A group of women posing for a photo&#10;&#10;Description automatically generated">
            <a:extLst>
              <a:ext uri="{FF2B5EF4-FFF2-40B4-BE49-F238E27FC236}">
                <a16:creationId xmlns:a16="http://schemas.microsoft.com/office/drawing/2014/main" id="{3BB7FC28-B407-6CC2-2958-4DA00EB2B0DF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" r="430" b="6156"/>
          <a:stretch/>
        </p:blipFill>
        <p:spPr>
          <a:xfrm>
            <a:off x="9945107" y="4886206"/>
            <a:ext cx="2242903" cy="2054763"/>
          </a:xfrm>
          <a:prstGeom prst="rect">
            <a:avLst/>
          </a:prstGeom>
        </p:spPr>
      </p:pic>
      <p:pic>
        <p:nvPicPr>
          <p:cNvPr id="42" name="Picture 42" descr="A picture containing person, wall, indoor, posing&#10;&#10;Description automatically generated">
            <a:extLst>
              <a:ext uri="{FF2B5EF4-FFF2-40B4-BE49-F238E27FC236}">
                <a16:creationId xmlns:a16="http://schemas.microsoft.com/office/drawing/2014/main" id="{26496161-E5D9-B97B-73A5-232AA7D947CE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1494" y="2867917"/>
            <a:ext cx="2355012" cy="1999187"/>
          </a:xfrm>
          <a:prstGeom prst="rect">
            <a:avLst/>
          </a:prstGeom>
        </p:spPr>
      </p:pic>
      <p:graphicFrame>
        <p:nvGraphicFramePr>
          <p:cNvPr id="7" name="Diagram 10">
            <a:extLst>
              <a:ext uri="{FF2B5EF4-FFF2-40B4-BE49-F238E27FC236}">
                <a16:creationId xmlns:a16="http://schemas.microsoft.com/office/drawing/2014/main" id="{16717E91-7F99-1A10-6FFD-6B728EFA7E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87508432"/>
              </p:ext>
            </p:extLst>
          </p:nvPr>
        </p:nvGraphicFramePr>
        <p:xfrm>
          <a:off x="2228491" y="1096992"/>
          <a:ext cx="7720640" cy="40314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</p:spTree>
    <p:extLst>
      <p:ext uri="{BB962C8B-B14F-4D97-AF65-F5344CB8AC3E}">
        <p14:creationId xmlns:p14="http://schemas.microsoft.com/office/powerpoint/2010/main" val="23996701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4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92" name="Google Shape;21492;p5"/>
          <p:cNvSpPr txBox="1">
            <a:spLocks noGrp="1"/>
          </p:cNvSpPr>
          <p:nvPr>
            <p:ph type="body" idx="1"/>
          </p:nvPr>
        </p:nvSpPr>
        <p:spPr>
          <a:xfrm>
            <a:off x="7353300" y="1825626"/>
            <a:ext cx="42291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14300" indent="0" algn="ctr">
              <a:buNone/>
            </a:pPr>
            <a:r>
              <a:rPr lang="en-US" sz="6500" b="1">
                <a:solidFill>
                  <a:schemeClr val="accent1"/>
                </a:solidFill>
                <a:latin typeface="Aptos"/>
              </a:rPr>
              <a:t>ILPQC </a:t>
            </a:r>
            <a:endParaRPr lang="en-US">
              <a:latin typeface="Aptos"/>
            </a:endParaRPr>
          </a:p>
          <a:p>
            <a:pPr marL="114300" indent="0" algn="ctr">
              <a:buNone/>
            </a:pPr>
            <a:r>
              <a:rPr lang="en-US" sz="6500" b="1">
                <a:solidFill>
                  <a:schemeClr val="accent1"/>
                </a:solidFill>
                <a:latin typeface="Aptos"/>
              </a:rPr>
              <a:t>Central </a:t>
            </a:r>
            <a:endParaRPr>
              <a:latin typeface="Aptos"/>
            </a:endParaRPr>
          </a:p>
          <a:p>
            <a:pPr marL="114300" lvl="0" indent="0" algn="ctr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</a:pPr>
            <a:r>
              <a:rPr lang="en-US" sz="6500" b="1">
                <a:solidFill>
                  <a:schemeClr val="accent1"/>
                </a:solidFill>
                <a:latin typeface="Aptos"/>
              </a:rPr>
              <a:t>Team</a:t>
            </a:r>
            <a:endParaRPr>
              <a:solidFill>
                <a:schemeClr val="accent1"/>
              </a:solidFill>
              <a:latin typeface="Aptos"/>
            </a:endParaRPr>
          </a:p>
        </p:txBody>
      </p:sp>
      <p:sp>
        <p:nvSpPr>
          <p:cNvPr id="21493" name="Google Shape;21493;p5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1200"/>
              <a:buFont typeface="Calibri"/>
              <a:buNone/>
            </a:pPr>
            <a:fld id="{00000000-1234-1234-1234-123412341234}" type="slidenum">
              <a:rPr lang="en-US"/>
              <a:t>17</a:t>
            </a:fld>
            <a:endParaRPr/>
          </a:p>
        </p:txBody>
      </p:sp>
      <p:sp>
        <p:nvSpPr>
          <p:cNvPr id="21494" name="Google Shape;21494;p5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</a:pPr>
            <a:endParaRPr/>
          </a:p>
        </p:txBody>
      </p:sp>
      <p:pic>
        <p:nvPicPr>
          <p:cNvPr id="21495" name="Google Shape;21495;p5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923" y="-16878"/>
            <a:ext cx="6989178" cy="68748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846196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2" name="Google Shape;3872;p416"/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873" name="Google Shape;3873;p416" descr="Diagram&#10;&#10;Description automatically generated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6345" y="5127"/>
            <a:ext cx="11629279" cy="6543684"/>
          </a:xfrm>
          <a:prstGeom prst="rect">
            <a:avLst/>
          </a:prstGeom>
          <a:noFill/>
          <a:ln>
            <a:noFill/>
          </a:ln>
        </p:spPr>
      </p:pic>
      <p:sp>
        <p:nvSpPr>
          <p:cNvPr id="3874" name="Google Shape;3874;p416"/>
          <p:cNvSpPr txBox="1">
            <a:spLocks noGrp="1"/>
          </p:cNvSpPr>
          <p:nvPr>
            <p:ph type="title"/>
          </p:nvPr>
        </p:nvSpPr>
        <p:spPr>
          <a:xfrm>
            <a:off x="2462841" y="5662578"/>
            <a:ext cx="10515600" cy="15058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5200"/>
              <a:buFont typeface="Calibri"/>
              <a:buNone/>
            </a:pPr>
            <a:r>
              <a:rPr lang="en-US" sz="52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Together, WE ARE ILPQC!</a:t>
            </a:r>
            <a:endParaRPr b="1"/>
          </a:p>
        </p:txBody>
      </p:sp>
      <p:sp>
        <p:nvSpPr>
          <p:cNvPr id="3875" name="Google Shape;3875;p41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386924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5C2EB13B-0055-AE89-BC91-A1DD9DF98338}"/>
              </a:ext>
            </a:extLst>
          </p:cNvPr>
          <p:cNvSpPr/>
          <p:nvPr/>
        </p:nvSpPr>
        <p:spPr>
          <a:xfrm>
            <a:off x="7108030" y="-23812"/>
            <a:ext cx="5095875" cy="1704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0B6AB5-B028-387A-6224-414A90B2DFD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2D5644-A3AC-ECCB-195D-29A6B51F5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E227DEB-8D68-0701-7CC2-CBDD9F9FFD37}"/>
              </a:ext>
            </a:extLst>
          </p:cNvPr>
          <p:cNvSpPr/>
          <p:nvPr/>
        </p:nvSpPr>
        <p:spPr>
          <a:xfrm>
            <a:off x="2667000" y="226219"/>
            <a:ext cx="6600824" cy="384810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3">
            <a:extLst>
              <a:ext uri="{FF2B5EF4-FFF2-40B4-BE49-F238E27FC236}">
                <a16:creationId xmlns:a16="http://schemas.microsoft.com/office/drawing/2014/main" id="{821393B7-2C9F-C260-39FB-77F3DAFB9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84098" y="346034"/>
            <a:ext cx="5193748" cy="637124"/>
          </a:xfrm>
        </p:spPr>
        <p:txBody>
          <a:bodyPr>
            <a:noAutofit/>
          </a:bodyPr>
          <a:lstStyle/>
          <a:p>
            <a:r>
              <a:rPr lang="en-US" sz="4000">
                <a:solidFill>
                  <a:schemeClr val="accent3"/>
                </a:solidFill>
                <a:ea typeface="Lato Medium"/>
                <a:cs typeface="Lato Medium"/>
              </a:rPr>
              <a:t>Goals for today</a:t>
            </a:r>
          </a:p>
        </p:txBody>
      </p:sp>
      <p:sp>
        <p:nvSpPr>
          <p:cNvPr id="11" name="Content Placeholder 25">
            <a:extLst>
              <a:ext uri="{FF2B5EF4-FFF2-40B4-BE49-F238E27FC236}">
                <a16:creationId xmlns:a16="http://schemas.microsoft.com/office/drawing/2014/main" id="{5A16ABFF-5790-F1EB-F605-A665D6C7C6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802998" y="1000869"/>
            <a:ext cx="6461985" cy="175873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2000">
                <a:solidFill>
                  <a:srgbClr val="FFFFFF"/>
                </a:solidFill>
                <a:ea typeface="Lato"/>
                <a:cs typeface="Lato"/>
              </a:rPr>
              <a:t>Help all teams achieve initiative goals and sustain their success</a:t>
            </a:r>
            <a:endParaRPr lang="en-US" sz="2000">
              <a:solidFill>
                <a:srgbClr val="FFFFFF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2000">
                <a:solidFill>
                  <a:srgbClr val="FFFFFF"/>
                </a:solidFill>
                <a:ea typeface="Lato"/>
                <a:cs typeface="Lato"/>
              </a:rPr>
              <a:t>Engage patients, families and communities to improve care</a:t>
            </a:r>
            <a:endParaRPr lang="en-US" sz="2000">
              <a:solidFill>
                <a:srgbClr val="FFFFFF"/>
              </a:solidFill>
            </a:endParaRP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2000">
                <a:solidFill>
                  <a:srgbClr val="FFFFFF"/>
                </a:solidFill>
                <a:ea typeface="Lato"/>
                <a:cs typeface="Lato"/>
              </a:rPr>
              <a:t>Identify opportunities to promote birth equity and address disparities in care and outcomes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2000">
                <a:solidFill>
                  <a:srgbClr val="FFFFFF"/>
                </a:solidFill>
                <a:ea typeface="Lato"/>
                <a:cs typeface="Lato"/>
              </a:rPr>
              <a:t>Learn and share </a:t>
            </a:r>
            <a:r>
              <a:rPr lang="en-US" sz="2000">
                <a:solidFill>
                  <a:srgbClr val="FFFFFF"/>
                </a:solidFill>
                <a:ea typeface="Calibri"/>
                <a:cs typeface="Calibri"/>
              </a:rPr>
              <a:t>QI strategies &amp;</a:t>
            </a:r>
            <a:r>
              <a:rPr lang="en-US" sz="2000">
                <a:solidFill>
                  <a:srgbClr val="FFFFFF"/>
                </a:solidFill>
                <a:ea typeface="Lato"/>
                <a:cs typeface="Lato"/>
              </a:rPr>
              <a:t> resources to motivate and inspire us to go home and make change happen!</a:t>
            </a:r>
          </a:p>
        </p:txBody>
      </p:sp>
      <p:pic>
        <p:nvPicPr>
          <p:cNvPr id="13" name="Picture 12" descr="A person and person at a table with papers&#10;&#10;Description automatically generated">
            <a:extLst>
              <a:ext uri="{FF2B5EF4-FFF2-40B4-BE49-F238E27FC236}">
                <a16:creationId xmlns:a16="http://schemas.microsoft.com/office/drawing/2014/main" id="{6B88B26A-8630-6D15-C0E5-431819CB956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21" r="5" b="8660"/>
          <a:stretch/>
        </p:blipFill>
        <p:spPr>
          <a:xfrm>
            <a:off x="215456" y="866785"/>
            <a:ext cx="2322765" cy="2697468"/>
          </a:xfrm>
          <a:prstGeom prst="rect">
            <a:avLst/>
          </a:prstGeom>
        </p:spPr>
      </p:pic>
      <p:pic>
        <p:nvPicPr>
          <p:cNvPr id="15" name="Picture 14" descr="A group of women standing at a table&#10;&#10;Description automatically generated">
            <a:extLst>
              <a:ext uri="{FF2B5EF4-FFF2-40B4-BE49-F238E27FC236}">
                <a16:creationId xmlns:a16="http://schemas.microsoft.com/office/drawing/2014/main" id="{14A0214A-3C5E-B694-62CF-27C54C2EB3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75" r="6649" b="4"/>
          <a:stretch/>
        </p:blipFill>
        <p:spPr>
          <a:xfrm>
            <a:off x="9429750" y="542935"/>
            <a:ext cx="2600325" cy="2887968"/>
          </a:xfrm>
          <a:prstGeom prst="rect">
            <a:avLst/>
          </a:prstGeom>
        </p:spPr>
      </p:pic>
      <p:pic>
        <p:nvPicPr>
          <p:cNvPr id="19" name="Picture 18" descr="A group of people in a room&#10;&#10;Description automatically generated">
            <a:extLst>
              <a:ext uri="{FF2B5EF4-FFF2-40B4-BE49-F238E27FC236}">
                <a16:creationId xmlns:a16="http://schemas.microsoft.com/office/drawing/2014/main" id="{6DE95708-0F7E-3988-25BE-10C46B9D64C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804" r="-5" b="1769"/>
          <a:stretch/>
        </p:blipFill>
        <p:spPr>
          <a:xfrm>
            <a:off x="171470" y="3819535"/>
            <a:ext cx="2398945" cy="2792719"/>
          </a:xfrm>
          <a:prstGeom prst="rect">
            <a:avLst/>
          </a:prstGeom>
        </p:spPr>
      </p:pic>
      <p:pic>
        <p:nvPicPr>
          <p:cNvPr id="21" name="Picture 20" descr="A group of women sitting in a round room&#10;&#10;Description automatically generated">
            <a:extLst>
              <a:ext uri="{FF2B5EF4-FFF2-40B4-BE49-F238E27FC236}">
                <a16:creationId xmlns:a16="http://schemas.microsoft.com/office/drawing/2014/main" id="{B17F8D99-7C42-2094-DDE7-C9BF2AF50A7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9" b="47759"/>
          <a:stretch/>
        </p:blipFill>
        <p:spPr>
          <a:xfrm>
            <a:off x="2675506" y="4074795"/>
            <a:ext cx="6595516" cy="2534897"/>
          </a:xfrm>
          <a:prstGeom prst="rect">
            <a:avLst/>
          </a:prstGeom>
        </p:spPr>
      </p:pic>
      <p:pic>
        <p:nvPicPr>
          <p:cNvPr id="23" name="Picture 22" descr="A group of women looking at papers&#10;&#10;Description automatically generated">
            <a:extLst>
              <a:ext uri="{FF2B5EF4-FFF2-40B4-BE49-F238E27FC236}">
                <a16:creationId xmlns:a16="http://schemas.microsoft.com/office/drawing/2014/main" id="{E19D137F-870B-641B-6201-4D0139BAB88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6900" y="3824288"/>
            <a:ext cx="2495550" cy="27908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174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6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3" name="Google Shape;3623;p400"/>
          <p:cNvSpPr txBox="1">
            <a:spLocks noGrp="1"/>
          </p:cNvSpPr>
          <p:nvPr>
            <p:ph type="ctrTitle"/>
          </p:nvPr>
        </p:nvSpPr>
        <p:spPr>
          <a:xfrm>
            <a:off x="1413310" y="1659302"/>
            <a:ext cx="6102857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800"/>
              <a:buFont typeface="Calibri"/>
              <a:buNone/>
            </a:pPr>
            <a:r>
              <a:rPr lang="en-US" sz="4800">
                <a:solidFill>
                  <a:schemeClr val="accent1"/>
                </a:solidFill>
              </a:rPr>
              <a:t>Illinois Perinatal Quality Collaborative</a:t>
            </a:r>
            <a:endParaRPr/>
          </a:p>
        </p:txBody>
      </p:sp>
      <p:sp>
        <p:nvSpPr>
          <p:cNvPr id="3624" name="Google Shape;3624;p400"/>
          <p:cNvSpPr txBox="1">
            <a:spLocks noGrp="1"/>
          </p:cNvSpPr>
          <p:nvPr>
            <p:ph type="subTitle" idx="1"/>
          </p:nvPr>
        </p:nvSpPr>
        <p:spPr>
          <a:xfrm>
            <a:off x="1413468" y="3426451"/>
            <a:ext cx="5705374" cy="14642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</a:pPr>
            <a:r>
              <a:rPr lang="en-US" sz="3000"/>
              <a:t>Face-to-Face Meeting</a:t>
            </a:r>
            <a:endParaRPr lang="en-US"/>
          </a:p>
          <a:p>
            <a:pPr marL="0" indent="0">
              <a:buSzPts val="2800"/>
            </a:pPr>
            <a:r>
              <a:rPr lang="en-US" sz="2800"/>
              <a:t>May 22-23, 2024</a:t>
            </a:r>
          </a:p>
        </p:txBody>
      </p:sp>
    </p:spTree>
    <p:extLst>
      <p:ext uri="{BB962C8B-B14F-4D97-AF65-F5344CB8AC3E}">
        <p14:creationId xmlns:p14="http://schemas.microsoft.com/office/powerpoint/2010/main" val="213108064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1" name="Google Shape;3881;p417"/>
          <p:cNvSpPr txBox="1">
            <a:spLocks noGrp="1"/>
          </p:cNvSpPr>
          <p:nvPr>
            <p:ph type="title"/>
          </p:nvPr>
        </p:nvSpPr>
        <p:spPr>
          <a:xfrm>
            <a:off x="1413310" y="91740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Promoting Vaginal Birth</a:t>
            </a:r>
            <a:endParaRPr/>
          </a:p>
        </p:txBody>
      </p:sp>
      <p:sp>
        <p:nvSpPr>
          <p:cNvPr id="3882" name="Google Shape;3882;p417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6944877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/>
              <a:t>Sustaining the PVB progress together </a:t>
            </a:r>
          </a:p>
          <a:p>
            <a:pPr marL="0" lvl="0" indent="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400"/>
              <a:buNone/>
            </a:pPr>
            <a:endParaRPr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E7CE07D-96C0-44C2-548C-48556BDAE7FC}"/>
              </a:ext>
            </a:extLst>
          </p:cNvPr>
          <p:cNvSpPr txBox="1"/>
          <p:nvPr/>
        </p:nvSpPr>
        <p:spPr>
          <a:xfrm>
            <a:off x="7849524" y="4494698"/>
            <a:ext cx="3722883" cy="101566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solidFill>
                  <a:schemeClr val="accent1"/>
                </a:solidFill>
                <a:cs typeface="Arial"/>
              </a:rPr>
              <a:t>Launched December 2020</a:t>
            </a:r>
          </a:p>
          <a:p>
            <a:r>
              <a:rPr lang="en-US" sz="2000" b="1">
                <a:solidFill>
                  <a:schemeClr val="accent1"/>
                </a:solidFill>
                <a:cs typeface="Arial"/>
              </a:rPr>
              <a:t>72 hospitals have ongoing participation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19F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8558149" y="1471804"/>
            <a:ext cx="3633851" cy="5416309"/>
          </a:xfrm>
          <a:custGeom>
            <a:avLst/>
            <a:gdLst/>
            <a:ahLst/>
            <a:cxnLst/>
            <a:rect l="l" t="t" r="r" b="b"/>
            <a:pathLst>
              <a:path w="5450777" h="8124464">
                <a:moveTo>
                  <a:pt x="0" y="0"/>
                </a:moveTo>
                <a:lnTo>
                  <a:pt x="5450777" y="0"/>
                </a:lnTo>
                <a:lnTo>
                  <a:pt x="5450777" y="8124463"/>
                </a:lnTo>
                <a:lnTo>
                  <a:pt x="0" y="8124463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0" y="0"/>
            <a:ext cx="5272381" cy="6172200"/>
          </a:xfrm>
          <a:custGeom>
            <a:avLst/>
            <a:gdLst/>
            <a:ahLst/>
            <a:cxnLst/>
            <a:rect l="l" t="t" r="r" b="b"/>
            <a:pathLst>
              <a:path w="7908571" h="9258300">
                <a:moveTo>
                  <a:pt x="0" y="0"/>
                </a:moveTo>
                <a:lnTo>
                  <a:pt x="7908571" y="0"/>
                </a:lnTo>
                <a:lnTo>
                  <a:pt x="7908571" y="9258300"/>
                </a:lnTo>
                <a:lnTo>
                  <a:pt x="0" y="925830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TextBox 5"/>
          <p:cNvSpPr txBox="1"/>
          <p:nvPr/>
        </p:nvSpPr>
        <p:spPr>
          <a:xfrm>
            <a:off x="1202906" y="1213309"/>
            <a:ext cx="9786188" cy="9122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7467"/>
              </a:lnSpc>
            </a:pPr>
            <a:r>
              <a:rPr lang="en-US" sz="530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PVB 2024 Focus</a:t>
            </a:r>
          </a:p>
        </p:txBody>
      </p:sp>
      <p:grpSp>
        <p:nvGrpSpPr>
          <p:cNvPr id="7" name="Group 7"/>
          <p:cNvGrpSpPr/>
          <p:nvPr/>
        </p:nvGrpSpPr>
        <p:grpSpPr>
          <a:xfrm>
            <a:off x="2274261" y="3636938"/>
            <a:ext cx="998468" cy="926581"/>
            <a:chOff x="0" y="0"/>
            <a:chExt cx="1913890" cy="1913890"/>
          </a:xfrm>
        </p:grpSpPr>
        <p:sp>
          <p:nvSpPr>
            <p:cNvPr id="8" name="Freeform 8"/>
            <p:cNvSpPr/>
            <p:nvPr/>
          </p:nvSpPr>
          <p:spPr>
            <a:xfrm>
              <a:off x="0" y="0"/>
              <a:ext cx="1913890" cy="1913890"/>
            </a:xfrm>
            <a:custGeom>
              <a:avLst/>
              <a:gdLst/>
              <a:ahLst/>
              <a:cxnLst/>
              <a:rect l="l" t="t" r="r" b="b"/>
              <a:pathLst>
                <a:path w="1913890" h="1913890">
                  <a:moveTo>
                    <a:pt x="0" y="0"/>
                  </a:moveTo>
                  <a:lnTo>
                    <a:pt x="0" y="1913890"/>
                  </a:lnTo>
                  <a:lnTo>
                    <a:pt x="1913890" y="1913890"/>
                  </a:lnTo>
                  <a:lnTo>
                    <a:pt x="1913890" y="0"/>
                  </a:lnTo>
                  <a:lnTo>
                    <a:pt x="0" y="0"/>
                  </a:lnTo>
                  <a:close/>
                  <a:moveTo>
                    <a:pt x="1852930" y="1852930"/>
                  </a:moveTo>
                  <a:lnTo>
                    <a:pt x="59690" y="1852930"/>
                  </a:lnTo>
                  <a:lnTo>
                    <a:pt x="59690" y="59690"/>
                  </a:lnTo>
                  <a:lnTo>
                    <a:pt x="1852930" y="59690"/>
                  </a:lnTo>
                  <a:lnTo>
                    <a:pt x="1852930" y="1852930"/>
                  </a:lnTo>
                  <a:close/>
                </a:path>
              </a:pathLst>
            </a:custGeom>
            <a:solidFill>
              <a:srgbClr val="132572"/>
            </a:solid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9" name="Freeform 9"/>
          <p:cNvSpPr/>
          <p:nvPr/>
        </p:nvSpPr>
        <p:spPr>
          <a:xfrm>
            <a:off x="2388656" y="3662372"/>
            <a:ext cx="798432" cy="836055"/>
          </a:xfrm>
          <a:custGeom>
            <a:avLst/>
            <a:gdLst/>
            <a:ahLst/>
            <a:cxnLst/>
            <a:rect l="l" t="t" r="r" b="b"/>
            <a:pathLst>
              <a:path w="1197648" h="1254082">
                <a:moveTo>
                  <a:pt x="0" y="0"/>
                </a:moveTo>
                <a:lnTo>
                  <a:pt x="1197648" y="0"/>
                </a:lnTo>
                <a:lnTo>
                  <a:pt x="1197648" y="1254083"/>
                </a:lnTo>
                <a:lnTo>
                  <a:pt x="0" y="125408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10" name="Group 10"/>
          <p:cNvGrpSpPr/>
          <p:nvPr/>
        </p:nvGrpSpPr>
        <p:grpSpPr>
          <a:xfrm>
            <a:off x="2274261" y="5675243"/>
            <a:ext cx="1036349" cy="993216"/>
            <a:chOff x="0" y="0"/>
            <a:chExt cx="1913890" cy="1913890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1913890" cy="1913890"/>
            </a:xfrm>
            <a:custGeom>
              <a:avLst/>
              <a:gdLst/>
              <a:ahLst/>
              <a:cxnLst/>
              <a:rect l="l" t="t" r="r" b="b"/>
              <a:pathLst>
                <a:path w="1913890" h="1913890">
                  <a:moveTo>
                    <a:pt x="0" y="0"/>
                  </a:moveTo>
                  <a:lnTo>
                    <a:pt x="0" y="1913890"/>
                  </a:lnTo>
                  <a:lnTo>
                    <a:pt x="1913890" y="1913890"/>
                  </a:lnTo>
                  <a:lnTo>
                    <a:pt x="1913890" y="0"/>
                  </a:lnTo>
                  <a:lnTo>
                    <a:pt x="0" y="0"/>
                  </a:lnTo>
                  <a:close/>
                  <a:moveTo>
                    <a:pt x="1852930" y="1852930"/>
                  </a:moveTo>
                  <a:lnTo>
                    <a:pt x="59690" y="1852930"/>
                  </a:lnTo>
                  <a:lnTo>
                    <a:pt x="59690" y="59690"/>
                  </a:lnTo>
                  <a:lnTo>
                    <a:pt x="1852930" y="59690"/>
                  </a:lnTo>
                  <a:lnTo>
                    <a:pt x="1852930" y="1852930"/>
                  </a:lnTo>
                  <a:close/>
                </a:path>
              </a:pathLst>
            </a:custGeom>
            <a:solidFill>
              <a:srgbClr val="132572"/>
            </a:solid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2" name="Freeform 12"/>
          <p:cNvSpPr/>
          <p:nvPr/>
        </p:nvSpPr>
        <p:spPr>
          <a:xfrm>
            <a:off x="2404197" y="5773417"/>
            <a:ext cx="877121" cy="782490"/>
          </a:xfrm>
          <a:custGeom>
            <a:avLst/>
            <a:gdLst/>
            <a:ahLst/>
            <a:cxnLst/>
            <a:rect l="l" t="t" r="r" b="b"/>
            <a:pathLst>
              <a:path w="1250985" h="1216867">
                <a:moveTo>
                  <a:pt x="0" y="0"/>
                </a:moveTo>
                <a:lnTo>
                  <a:pt x="1250985" y="0"/>
                </a:lnTo>
                <a:lnTo>
                  <a:pt x="1250985" y="1216867"/>
                </a:lnTo>
                <a:lnTo>
                  <a:pt x="0" y="1216867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3" name="TextBox 13"/>
          <p:cNvSpPr txBox="1"/>
          <p:nvPr/>
        </p:nvSpPr>
        <p:spPr>
          <a:xfrm>
            <a:off x="3565569" y="5679197"/>
            <a:ext cx="5276715" cy="82973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67"/>
              </a:lnSpc>
            </a:pPr>
            <a:r>
              <a:rPr lang="en-US" sz="230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Create and maintain provider and institutional buy-in for PVB 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3565869" y="3642005"/>
            <a:ext cx="6818224" cy="81676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67"/>
              </a:lnSpc>
            </a:pPr>
            <a:r>
              <a:rPr lang="en-US" sz="230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Implementation of PVB sustainability plans to maintain PVB success</a:t>
            </a:r>
          </a:p>
        </p:txBody>
      </p:sp>
      <p:grpSp>
        <p:nvGrpSpPr>
          <p:cNvPr id="15" name="Group 15"/>
          <p:cNvGrpSpPr/>
          <p:nvPr/>
        </p:nvGrpSpPr>
        <p:grpSpPr>
          <a:xfrm>
            <a:off x="2138141" y="2300173"/>
            <a:ext cx="1294712" cy="1150939"/>
            <a:chOff x="0" y="0"/>
            <a:chExt cx="1913890" cy="1913890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1913890" cy="1913890"/>
            </a:xfrm>
            <a:custGeom>
              <a:avLst/>
              <a:gdLst/>
              <a:ahLst/>
              <a:cxnLst/>
              <a:rect l="l" t="t" r="r" b="b"/>
              <a:pathLst>
                <a:path w="1913890" h="1913890">
                  <a:moveTo>
                    <a:pt x="0" y="0"/>
                  </a:moveTo>
                  <a:lnTo>
                    <a:pt x="0" y="1913890"/>
                  </a:lnTo>
                  <a:lnTo>
                    <a:pt x="1913890" y="1913890"/>
                  </a:lnTo>
                  <a:lnTo>
                    <a:pt x="1913890" y="0"/>
                  </a:lnTo>
                  <a:lnTo>
                    <a:pt x="0" y="0"/>
                  </a:lnTo>
                  <a:close/>
                  <a:moveTo>
                    <a:pt x="1852930" y="1852930"/>
                  </a:moveTo>
                  <a:lnTo>
                    <a:pt x="59690" y="1852930"/>
                  </a:lnTo>
                  <a:lnTo>
                    <a:pt x="59690" y="59690"/>
                  </a:lnTo>
                  <a:lnTo>
                    <a:pt x="1852930" y="59690"/>
                  </a:lnTo>
                  <a:lnTo>
                    <a:pt x="1852930" y="1852930"/>
                  </a:lnTo>
                  <a:close/>
                </a:path>
              </a:pathLst>
            </a:custGeom>
            <a:solidFill>
              <a:srgbClr val="132572"/>
            </a:solid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7" name="Freeform 17"/>
          <p:cNvSpPr/>
          <p:nvPr/>
        </p:nvSpPr>
        <p:spPr>
          <a:xfrm>
            <a:off x="2278061" y="2408734"/>
            <a:ext cx="998642" cy="928221"/>
          </a:xfrm>
          <a:custGeom>
            <a:avLst/>
            <a:gdLst/>
            <a:ahLst/>
            <a:cxnLst/>
            <a:rect l="l" t="t" r="r" b="b"/>
            <a:pathLst>
              <a:path w="1778320" h="1694254">
                <a:moveTo>
                  <a:pt x="0" y="0"/>
                </a:moveTo>
                <a:lnTo>
                  <a:pt x="1778320" y="0"/>
                </a:lnTo>
                <a:lnTo>
                  <a:pt x="1778320" y="1694255"/>
                </a:lnTo>
                <a:lnTo>
                  <a:pt x="0" y="1694255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18" name="Group 18"/>
          <p:cNvGrpSpPr/>
          <p:nvPr/>
        </p:nvGrpSpPr>
        <p:grpSpPr>
          <a:xfrm>
            <a:off x="3493984" y="2306887"/>
            <a:ext cx="7300122" cy="1109434"/>
            <a:chOff x="0" y="0"/>
            <a:chExt cx="2649282" cy="622249"/>
          </a:xfrm>
        </p:grpSpPr>
        <p:sp>
          <p:nvSpPr>
            <p:cNvPr id="19" name="Freeform 19"/>
            <p:cNvSpPr/>
            <p:nvPr/>
          </p:nvSpPr>
          <p:spPr>
            <a:xfrm>
              <a:off x="0" y="0"/>
              <a:ext cx="2649282" cy="622249"/>
            </a:xfrm>
            <a:custGeom>
              <a:avLst/>
              <a:gdLst/>
              <a:ahLst/>
              <a:cxnLst/>
              <a:rect l="l" t="t" r="r" b="b"/>
              <a:pathLst>
                <a:path w="2649282" h="622249">
                  <a:moveTo>
                    <a:pt x="40889" y="0"/>
                  </a:moveTo>
                  <a:lnTo>
                    <a:pt x="2608393" y="0"/>
                  </a:lnTo>
                  <a:cubicBezTo>
                    <a:pt x="2630975" y="0"/>
                    <a:pt x="2649282" y="18307"/>
                    <a:pt x="2649282" y="40889"/>
                  </a:cubicBezTo>
                  <a:lnTo>
                    <a:pt x="2649282" y="581359"/>
                  </a:lnTo>
                  <a:cubicBezTo>
                    <a:pt x="2649282" y="603942"/>
                    <a:pt x="2630975" y="622249"/>
                    <a:pt x="2608393" y="622249"/>
                  </a:cubicBezTo>
                  <a:lnTo>
                    <a:pt x="40889" y="622249"/>
                  </a:lnTo>
                  <a:cubicBezTo>
                    <a:pt x="18307" y="622249"/>
                    <a:pt x="0" y="603942"/>
                    <a:pt x="0" y="581359"/>
                  </a:cubicBezTo>
                  <a:lnTo>
                    <a:pt x="0" y="40889"/>
                  </a:lnTo>
                  <a:cubicBezTo>
                    <a:pt x="0" y="18307"/>
                    <a:pt x="18307" y="0"/>
                    <a:pt x="40889" y="0"/>
                  </a:cubicBezTo>
                  <a:close/>
                </a:path>
              </a:pathLst>
            </a:custGeom>
            <a:solidFill>
              <a:srgbClr val="132572">
                <a:alpha val="40000"/>
              </a:srgbClr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TextBox 20"/>
            <p:cNvSpPr txBox="1"/>
            <p:nvPr/>
          </p:nvSpPr>
          <p:spPr>
            <a:xfrm>
              <a:off x="0" y="-57150"/>
              <a:ext cx="2649282" cy="679399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2239"/>
                </a:lnSpc>
              </a:pPr>
              <a:endParaRPr sz="800"/>
            </a:p>
          </p:txBody>
        </p:sp>
      </p:grpSp>
      <p:sp>
        <p:nvSpPr>
          <p:cNvPr id="21" name="TextBox 21"/>
          <p:cNvSpPr txBox="1"/>
          <p:nvPr/>
        </p:nvSpPr>
        <p:spPr>
          <a:xfrm>
            <a:off x="3630826" y="2503941"/>
            <a:ext cx="7026435" cy="74276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023"/>
              </a:lnSpc>
            </a:pPr>
            <a:r>
              <a:rPr lang="en-US" sz="2800" b="1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Aim:</a:t>
            </a:r>
            <a:r>
              <a:rPr lang="en-US" sz="2150" u="sng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 </a:t>
            </a:r>
            <a:r>
              <a:rPr lang="en-US" sz="2100" u="sng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&gt;</a:t>
            </a:r>
            <a:r>
              <a:rPr lang="en-US" sz="210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70% of Hospitals will be at or below the Healthy People 2030 Goal of 23.6% NTSV C-section Rate</a:t>
            </a:r>
            <a:endParaRPr lang="en-US"/>
          </a:p>
        </p:txBody>
      </p:sp>
      <p:sp>
        <p:nvSpPr>
          <p:cNvPr id="23" name="TextBox 14">
            <a:extLst>
              <a:ext uri="{FF2B5EF4-FFF2-40B4-BE49-F238E27FC236}">
                <a16:creationId xmlns:a16="http://schemas.microsoft.com/office/drawing/2014/main" id="{709E4173-44F4-3F90-0B1C-5FE8933A0076}"/>
              </a:ext>
            </a:extLst>
          </p:cNvPr>
          <p:cNvSpPr txBox="1"/>
          <p:nvPr/>
        </p:nvSpPr>
        <p:spPr>
          <a:xfrm>
            <a:off x="3565868" y="4677175"/>
            <a:ext cx="6818224" cy="81676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67"/>
              </a:lnSpc>
            </a:pPr>
            <a:r>
              <a:rPr lang="en-US" sz="230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Identify and reduce disparities in NTSV C-Section births</a:t>
            </a:r>
          </a:p>
        </p:txBody>
      </p:sp>
      <p:grpSp>
        <p:nvGrpSpPr>
          <p:cNvPr id="24" name="Group 7">
            <a:extLst>
              <a:ext uri="{FF2B5EF4-FFF2-40B4-BE49-F238E27FC236}">
                <a16:creationId xmlns:a16="http://schemas.microsoft.com/office/drawing/2014/main" id="{EAF4A8E0-CCAC-7325-102F-099D9E34CBDD}"/>
              </a:ext>
            </a:extLst>
          </p:cNvPr>
          <p:cNvGrpSpPr/>
          <p:nvPr/>
        </p:nvGrpSpPr>
        <p:grpSpPr>
          <a:xfrm>
            <a:off x="2274260" y="4672107"/>
            <a:ext cx="998468" cy="926581"/>
            <a:chOff x="0" y="0"/>
            <a:chExt cx="1913890" cy="1913890"/>
          </a:xfrm>
        </p:grpSpPr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816958C0-6090-C57A-8D63-4BECB959A9E6}"/>
                </a:ext>
              </a:extLst>
            </p:cNvPr>
            <p:cNvSpPr/>
            <p:nvPr/>
          </p:nvSpPr>
          <p:spPr>
            <a:xfrm>
              <a:off x="0" y="0"/>
              <a:ext cx="1913890" cy="1913890"/>
            </a:xfrm>
            <a:custGeom>
              <a:avLst/>
              <a:gdLst/>
              <a:ahLst/>
              <a:cxnLst/>
              <a:rect l="l" t="t" r="r" b="b"/>
              <a:pathLst>
                <a:path w="1913890" h="1913890">
                  <a:moveTo>
                    <a:pt x="0" y="0"/>
                  </a:moveTo>
                  <a:lnTo>
                    <a:pt x="0" y="1913890"/>
                  </a:lnTo>
                  <a:lnTo>
                    <a:pt x="1913890" y="1913890"/>
                  </a:lnTo>
                  <a:lnTo>
                    <a:pt x="1913890" y="0"/>
                  </a:lnTo>
                  <a:lnTo>
                    <a:pt x="0" y="0"/>
                  </a:lnTo>
                  <a:close/>
                  <a:moveTo>
                    <a:pt x="1852930" y="1852930"/>
                  </a:moveTo>
                  <a:lnTo>
                    <a:pt x="59690" y="1852930"/>
                  </a:lnTo>
                  <a:lnTo>
                    <a:pt x="59690" y="59690"/>
                  </a:lnTo>
                  <a:lnTo>
                    <a:pt x="1852930" y="59690"/>
                  </a:lnTo>
                  <a:lnTo>
                    <a:pt x="1852930" y="1852930"/>
                  </a:lnTo>
                  <a:close/>
                </a:path>
              </a:pathLst>
            </a:custGeom>
            <a:solidFill>
              <a:srgbClr val="132572"/>
            </a:solidFill>
          </p:spPr>
          <p:txBody>
            <a:bodyPr/>
            <a:lstStyle/>
            <a:p>
              <a:endParaRPr lang="en-US"/>
            </a:p>
          </p:txBody>
        </p:sp>
      </p:grpSp>
      <p:pic>
        <p:nvPicPr>
          <p:cNvPr id="26" name="Graphic 25" descr="Statistics outline">
            <a:extLst>
              <a:ext uri="{FF2B5EF4-FFF2-40B4-BE49-F238E27FC236}">
                <a16:creationId xmlns:a16="http://schemas.microsoft.com/office/drawing/2014/main" id="{6AAF6FD1-FFCF-014A-76F4-15AE68C0B0F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274498" y="468270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70894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5827346" y="1388"/>
            <a:ext cx="3170675" cy="3390180"/>
            <a:chOff x="0" y="0"/>
            <a:chExt cx="1673410" cy="1531112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673410" cy="1531112"/>
            </a:xfrm>
            <a:custGeom>
              <a:avLst/>
              <a:gdLst/>
              <a:ahLst/>
              <a:cxnLst/>
              <a:rect l="l" t="t" r="r" b="b"/>
              <a:pathLst>
                <a:path w="1673410" h="1531112">
                  <a:moveTo>
                    <a:pt x="0" y="0"/>
                  </a:moveTo>
                  <a:lnTo>
                    <a:pt x="1673410" y="0"/>
                  </a:lnTo>
                  <a:lnTo>
                    <a:pt x="1673410" y="1531112"/>
                  </a:lnTo>
                  <a:lnTo>
                    <a:pt x="0" y="1531112"/>
                  </a:lnTo>
                  <a:close/>
                </a:path>
              </a:pathLst>
            </a:custGeom>
            <a:solidFill>
              <a:srgbClr val="819FEB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4" name="Group 4"/>
          <p:cNvGrpSpPr/>
          <p:nvPr/>
        </p:nvGrpSpPr>
        <p:grpSpPr>
          <a:xfrm>
            <a:off x="8995754" y="3391569"/>
            <a:ext cx="3196246" cy="3466431"/>
            <a:chOff x="0" y="0"/>
            <a:chExt cx="1800028" cy="1437251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1800028" cy="1437251"/>
            </a:xfrm>
            <a:custGeom>
              <a:avLst/>
              <a:gdLst/>
              <a:ahLst/>
              <a:cxnLst/>
              <a:rect l="l" t="t" r="r" b="b"/>
              <a:pathLst>
                <a:path w="1800028" h="1437251">
                  <a:moveTo>
                    <a:pt x="0" y="0"/>
                  </a:moveTo>
                  <a:lnTo>
                    <a:pt x="1800028" y="0"/>
                  </a:lnTo>
                  <a:lnTo>
                    <a:pt x="1800028" y="1437251"/>
                  </a:lnTo>
                  <a:lnTo>
                    <a:pt x="0" y="1437251"/>
                  </a:lnTo>
                  <a:close/>
                </a:path>
              </a:pathLst>
            </a:custGeom>
            <a:solidFill>
              <a:srgbClr val="FF90D4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8987438" y="1388"/>
            <a:ext cx="3194419" cy="3418935"/>
            <a:chOff x="0" y="0"/>
            <a:chExt cx="1771145" cy="1531112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1771145" cy="1531112"/>
            </a:xfrm>
            <a:custGeom>
              <a:avLst/>
              <a:gdLst/>
              <a:ahLst/>
              <a:cxnLst/>
              <a:rect l="l" t="t" r="r" b="b"/>
              <a:pathLst>
                <a:path w="1771145" h="1531112">
                  <a:moveTo>
                    <a:pt x="0" y="0"/>
                  </a:moveTo>
                  <a:lnTo>
                    <a:pt x="1771145" y="0"/>
                  </a:lnTo>
                  <a:lnTo>
                    <a:pt x="1771145" y="1531112"/>
                  </a:lnTo>
                  <a:lnTo>
                    <a:pt x="0" y="1531112"/>
                  </a:lnTo>
                  <a:close/>
                </a:path>
              </a:pathLst>
            </a:custGeom>
            <a:solidFill>
              <a:srgbClr val="132572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5944957" y="3388823"/>
            <a:ext cx="3053064" cy="3473850"/>
            <a:chOff x="0" y="0"/>
            <a:chExt cx="1673857" cy="1437251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1673857" cy="1437251"/>
            </a:xfrm>
            <a:custGeom>
              <a:avLst/>
              <a:gdLst/>
              <a:ahLst/>
              <a:cxnLst/>
              <a:rect l="l" t="t" r="r" b="b"/>
              <a:pathLst>
                <a:path w="1673857" h="1437251">
                  <a:moveTo>
                    <a:pt x="0" y="0"/>
                  </a:moveTo>
                  <a:lnTo>
                    <a:pt x="1673857" y="0"/>
                  </a:lnTo>
                  <a:lnTo>
                    <a:pt x="1673857" y="1437251"/>
                  </a:lnTo>
                  <a:lnTo>
                    <a:pt x="0" y="1437251"/>
                  </a:lnTo>
                  <a:close/>
                </a:path>
              </a:pathLst>
            </a:custGeom>
            <a:solidFill>
              <a:srgbClr val="132572"/>
            </a:solid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1" name="TextBox 11"/>
          <p:cNvSpPr txBox="1"/>
          <p:nvPr/>
        </p:nvSpPr>
        <p:spPr>
          <a:xfrm>
            <a:off x="1064280" y="1625600"/>
            <a:ext cx="2974321" cy="76357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6214"/>
              </a:lnSpc>
            </a:pPr>
            <a:r>
              <a:rPr lang="en-US" sz="4438">
                <a:solidFill>
                  <a:srgbClr val="D13D98"/>
                </a:solidFill>
                <a:latin typeface="League Spartan"/>
              </a:rPr>
              <a:t>Analyse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6243488" y="5175043"/>
            <a:ext cx="2575540" cy="112748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987"/>
              </a:lnSpc>
            </a:pPr>
            <a:r>
              <a:rPr lang="en-US" sz="2100" b="1">
                <a:solidFill>
                  <a:srgbClr val="FFFFFF"/>
                </a:solidFill>
                <a:latin typeface="Open Sans Bold"/>
              </a:rPr>
              <a:t>Cesarean Decision Huddles and Checklist</a:t>
            </a:r>
            <a:endParaRPr lang="en-US" sz="2100" b="1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</p:txBody>
      </p:sp>
      <p:grpSp>
        <p:nvGrpSpPr>
          <p:cNvPr id="13" name="Group 13"/>
          <p:cNvGrpSpPr/>
          <p:nvPr/>
        </p:nvGrpSpPr>
        <p:grpSpPr>
          <a:xfrm>
            <a:off x="2870783" y="3132957"/>
            <a:ext cx="3161718" cy="3720191"/>
            <a:chOff x="0" y="0"/>
            <a:chExt cx="1762099" cy="1437251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1762099" cy="1437251"/>
            </a:xfrm>
            <a:custGeom>
              <a:avLst/>
              <a:gdLst/>
              <a:ahLst/>
              <a:cxnLst/>
              <a:rect l="l" t="t" r="r" b="b"/>
              <a:pathLst>
                <a:path w="1762099" h="1437251">
                  <a:moveTo>
                    <a:pt x="0" y="0"/>
                  </a:moveTo>
                  <a:lnTo>
                    <a:pt x="1762099" y="0"/>
                  </a:lnTo>
                  <a:lnTo>
                    <a:pt x="1762099" y="1437251"/>
                  </a:lnTo>
                  <a:lnTo>
                    <a:pt x="0" y="1437251"/>
                  </a:lnTo>
                  <a:close/>
                </a:path>
              </a:pathLst>
            </a:custGeom>
            <a:solidFill>
              <a:srgbClr val="FBDE4D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2870783" y="1388"/>
            <a:ext cx="3143468" cy="3390181"/>
            <a:chOff x="0" y="0"/>
            <a:chExt cx="1762545" cy="1531112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1762545" cy="1531112"/>
            </a:xfrm>
            <a:custGeom>
              <a:avLst/>
              <a:gdLst/>
              <a:ahLst/>
              <a:cxnLst/>
              <a:rect l="l" t="t" r="r" b="b"/>
              <a:pathLst>
                <a:path w="1762545" h="1531112">
                  <a:moveTo>
                    <a:pt x="0" y="0"/>
                  </a:moveTo>
                  <a:lnTo>
                    <a:pt x="1762545" y="0"/>
                  </a:lnTo>
                  <a:lnTo>
                    <a:pt x="1762545" y="1531112"/>
                  </a:lnTo>
                  <a:lnTo>
                    <a:pt x="0" y="1531112"/>
                  </a:lnTo>
                  <a:close/>
                </a:path>
              </a:pathLst>
            </a:custGeom>
            <a:solidFill>
              <a:srgbClr val="132572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7" name="Group 17"/>
          <p:cNvGrpSpPr/>
          <p:nvPr/>
        </p:nvGrpSpPr>
        <p:grpSpPr>
          <a:xfrm>
            <a:off x="0" y="-36594"/>
            <a:ext cx="3001502" cy="3449916"/>
            <a:chOff x="0" y="0"/>
            <a:chExt cx="1594297" cy="1531112"/>
          </a:xfrm>
        </p:grpSpPr>
        <p:sp>
          <p:nvSpPr>
            <p:cNvPr id="18" name="Freeform 18"/>
            <p:cNvSpPr/>
            <p:nvPr/>
          </p:nvSpPr>
          <p:spPr>
            <a:xfrm>
              <a:off x="0" y="0"/>
              <a:ext cx="1594297" cy="1531112"/>
            </a:xfrm>
            <a:custGeom>
              <a:avLst/>
              <a:gdLst/>
              <a:ahLst/>
              <a:cxnLst/>
              <a:rect l="l" t="t" r="r" b="b"/>
              <a:pathLst>
                <a:path w="1594297" h="1531112">
                  <a:moveTo>
                    <a:pt x="0" y="0"/>
                  </a:moveTo>
                  <a:lnTo>
                    <a:pt x="1594297" y="0"/>
                  </a:lnTo>
                  <a:lnTo>
                    <a:pt x="1594297" y="1531112"/>
                  </a:lnTo>
                  <a:lnTo>
                    <a:pt x="0" y="1531112"/>
                  </a:lnTo>
                  <a:close/>
                </a:path>
              </a:pathLst>
            </a:custGeom>
            <a:solidFill>
              <a:srgbClr val="F58366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9" name="Group 19"/>
          <p:cNvGrpSpPr/>
          <p:nvPr/>
        </p:nvGrpSpPr>
        <p:grpSpPr>
          <a:xfrm>
            <a:off x="-3326" y="3405947"/>
            <a:ext cx="2974749" cy="3452053"/>
            <a:chOff x="0" y="0"/>
            <a:chExt cx="1604178" cy="1437251"/>
          </a:xfrm>
        </p:grpSpPr>
        <p:sp>
          <p:nvSpPr>
            <p:cNvPr id="20" name="Freeform 20"/>
            <p:cNvSpPr/>
            <p:nvPr/>
          </p:nvSpPr>
          <p:spPr>
            <a:xfrm>
              <a:off x="0" y="0"/>
              <a:ext cx="1604178" cy="1437251"/>
            </a:xfrm>
            <a:custGeom>
              <a:avLst/>
              <a:gdLst/>
              <a:ahLst/>
              <a:cxnLst/>
              <a:rect l="l" t="t" r="r" b="b"/>
              <a:pathLst>
                <a:path w="1604178" h="1437251">
                  <a:moveTo>
                    <a:pt x="0" y="0"/>
                  </a:moveTo>
                  <a:lnTo>
                    <a:pt x="1604178" y="0"/>
                  </a:lnTo>
                  <a:lnTo>
                    <a:pt x="1604178" y="1437251"/>
                  </a:lnTo>
                  <a:lnTo>
                    <a:pt x="0" y="1437251"/>
                  </a:lnTo>
                  <a:close/>
                </a:path>
              </a:pathLst>
            </a:custGeom>
            <a:solidFill>
              <a:srgbClr val="132572"/>
            </a:solid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" name="Freeform 21"/>
          <p:cNvSpPr/>
          <p:nvPr/>
        </p:nvSpPr>
        <p:spPr>
          <a:xfrm>
            <a:off x="511787" y="1669888"/>
            <a:ext cx="1815129" cy="1581431"/>
          </a:xfrm>
          <a:custGeom>
            <a:avLst/>
            <a:gdLst/>
            <a:ahLst/>
            <a:cxnLst/>
            <a:rect l="l" t="t" r="r" b="b"/>
            <a:pathLst>
              <a:path w="2722693" h="2372146">
                <a:moveTo>
                  <a:pt x="0" y="0"/>
                </a:moveTo>
                <a:lnTo>
                  <a:pt x="2722694" y="0"/>
                </a:lnTo>
                <a:lnTo>
                  <a:pt x="2722694" y="2372146"/>
                </a:lnTo>
                <a:lnTo>
                  <a:pt x="0" y="2372146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2" name="Freeform 22"/>
          <p:cNvSpPr/>
          <p:nvPr/>
        </p:nvSpPr>
        <p:spPr>
          <a:xfrm>
            <a:off x="3111541" y="928606"/>
            <a:ext cx="2558675" cy="1410470"/>
          </a:xfrm>
          <a:custGeom>
            <a:avLst/>
            <a:gdLst/>
            <a:ahLst/>
            <a:cxnLst/>
            <a:rect l="l" t="t" r="r" b="b"/>
            <a:pathLst>
              <a:path w="3838013" h="2115705">
                <a:moveTo>
                  <a:pt x="0" y="0"/>
                </a:moveTo>
                <a:lnTo>
                  <a:pt x="3838013" y="0"/>
                </a:lnTo>
                <a:lnTo>
                  <a:pt x="3838013" y="2115705"/>
                </a:lnTo>
                <a:lnTo>
                  <a:pt x="0" y="2115705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3" name="Freeform 23"/>
          <p:cNvSpPr/>
          <p:nvPr/>
        </p:nvSpPr>
        <p:spPr>
          <a:xfrm>
            <a:off x="6696494" y="1612379"/>
            <a:ext cx="1460333" cy="1678543"/>
          </a:xfrm>
          <a:custGeom>
            <a:avLst/>
            <a:gdLst/>
            <a:ahLst/>
            <a:cxnLst/>
            <a:rect l="l" t="t" r="r" b="b"/>
            <a:pathLst>
              <a:path w="2190499" h="2517815">
                <a:moveTo>
                  <a:pt x="0" y="0"/>
                </a:moveTo>
                <a:lnTo>
                  <a:pt x="2190499" y="0"/>
                </a:lnTo>
                <a:lnTo>
                  <a:pt x="2190499" y="2517815"/>
                </a:lnTo>
                <a:lnTo>
                  <a:pt x="0" y="2517815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4" name="Freeform 24"/>
          <p:cNvSpPr/>
          <p:nvPr/>
        </p:nvSpPr>
        <p:spPr>
          <a:xfrm>
            <a:off x="989707" y="3812939"/>
            <a:ext cx="1036591" cy="1260293"/>
          </a:xfrm>
          <a:custGeom>
            <a:avLst/>
            <a:gdLst/>
            <a:ahLst/>
            <a:cxnLst/>
            <a:rect l="l" t="t" r="r" b="b"/>
            <a:pathLst>
              <a:path w="1554886" h="1890439">
                <a:moveTo>
                  <a:pt x="0" y="0"/>
                </a:moveTo>
                <a:lnTo>
                  <a:pt x="1554886" y="0"/>
                </a:lnTo>
                <a:lnTo>
                  <a:pt x="1554886" y="1890438"/>
                </a:lnTo>
                <a:lnTo>
                  <a:pt x="0" y="189043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5" name="Freeform 25"/>
          <p:cNvSpPr/>
          <p:nvPr/>
        </p:nvSpPr>
        <p:spPr>
          <a:xfrm>
            <a:off x="3882867" y="5369512"/>
            <a:ext cx="1137789" cy="1137789"/>
          </a:xfrm>
          <a:custGeom>
            <a:avLst/>
            <a:gdLst/>
            <a:ahLst/>
            <a:cxnLst/>
            <a:rect l="l" t="t" r="r" b="b"/>
            <a:pathLst>
              <a:path w="1706683" h="1706683">
                <a:moveTo>
                  <a:pt x="0" y="0"/>
                </a:moveTo>
                <a:lnTo>
                  <a:pt x="1706683" y="0"/>
                </a:lnTo>
                <a:lnTo>
                  <a:pt x="1706683" y="1706683"/>
                </a:lnTo>
                <a:lnTo>
                  <a:pt x="0" y="1706683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6" name="Freeform 26"/>
          <p:cNvSpPr/>
          <p:nvPr/>
        </p:nvSpPr>
        <p:spPr>
          <a:xfrm>
            <a:off x="6652532" y="3627888"/>
            <a:ext cx="1443789" cy="1371600"/>
          </a:xfrm>
          <a:custGeom>
            <a:avLst/>
            <a:gdLst/>
            <a:ahLst/>
            <a:cxnLst/>
            <a:rect l="l" t="t" r="r" b="b"/>
            <a:pathLst>
              <a:path w="2165684" h="2057400">
                <a:moveTo>
                  <a:pt x="0" y="0"/>
                </a:moveTo>
                <a:lnTo>
                  <a:pt x="2165684" y="0"/>
                </a:lnTo>
                <a:lnTo>
                  <a:pt x="2165684" y="2057400"/>
                </a:lnTo>
                <a:lnTo>
                  <a:pt x="0" y="2057400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7" name="Freeform 27"/>
          <p:cNvSpPr/>
          <p:nvPr/>
        </p:nvSpPr>
        <p:spPr>
          <a:xfrm>
            <a:off x="9857546" y="4804529"/>
            <a:ext cx="1490503" cy="1475597"/>
          </a:xfrm>
          <a:custGeom>
            <a:avLst/>
            <a:gdLst/>
            <a:ahLst/>
            <a:cxnLst/>
            <a:rect l="l" t="t" r="r" b="b"/>
            <a:pathLst>
              <a:path w="2235754" h="2213396">
                <a:moveTo>
                  <a:pt x="0" y="0"/>
                </a:moveTo>
                <a:lnTo>
                  <a:pt x="2235754" y="0"/>
                </a:lnTo>
                <a:lnTo>
                  <a:pt x="2235754" y="2213397"/>
                </a:lnTo>
                <a:lnTo>
                  <a:pt x="0" y="2213397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8" name="Freeform 28"/>
          <p:cNvSpPr/>
          <p:nvPr/>
        </p:nvSpPr>
        <p:spPr>
          <a:xfrm>
            <a:off x="9639336" y="932408"/>
            <a:ext cx="1919377" cy="1629071"/>
          </a:xfrm>
          <a:custGeom>
            <a:avLst/>
            <a:gdLst/>
            <a:ahLst/>
            <a:cxnLst/>
            <a:rect l="l" t="t" r="r" b="b"/>
            <a:pathLst>
              <a:path w="2879065" h="2443607">
                <a:moveTo>
                  <a:pt x="0" y="0"/>
                </a:moveTo>
                <a:lnTo>
                  <a:pt x="2879065" y="0"/>
                </a:lnTo>
                <a:lnTo>
                  <a:pt x="2879065" y="2443607"/>
                </a:lnTo>
                <a:lnTo>
                  <a:pt x="0" y="2443607"/>
                </a:lnTo>
                <a:lnTo>
                  <a:pt x="0" y="0"/>
                </a:lnTo>
                <a:close/>
              </a:path>
            </a:pathLst>
          </a:custGeom>
          <a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9" name="TextBox 29"/>
          <p:cNvSpPr txBox="1"/>
          <p:nvPr/>
        </p:nvSpPr>
        <p:spPr>
          <a:xfrm>
            <a:off x="5940114" y="875385"/>
            <a:ext cx="2871000" cy="74379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982"/>
              </a:lnSpc>
            </a:pPr>
            <a:r>
              <a:rPr lang="en-US" sz="2100" b="1">
                <a:solidFill>
                  <a:srgbClr val="132572"/>
                </a:solidFill>
                <a:latin typeface="Open Sans Bold"/>
              </a:rPr>
              <a:t>Labor Management Support ​</a:t>
            </a:r>
            <a:endParaRPr lang="en-US" sz="2100" b="1">
              <a:solidFill>
                <a:srgbClr val="132572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30" name="TextBox 30"/>
          <p:cNvSpPr txBox="1"/>
          <p:nvPr/>
        </p:nvSpPr>
        <p:spPr>
          <a:xfrm>
            <a:off x="9300599" y="2763361"/>
            <a:ext cx="2568095" cy="35856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987"/>
              </a:lnSpc>
            </a:pPr>
            <a:r>
              <a:rPr lang="en-US" sz="2100" b="1">
                <a:solidFill>
                  <a:srgbClr val="FFFFFF"/>
                </a:solidFill>
                <a:latin typeface="Open Sans Bold"/>
              </a:rPr>
              <a:t>Patient Education</a:t>
            </a:r>
            <a:endParaRPr lang="en-US" sz="2100" b="1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31" name="TextBox 31"/>
          <p:cNvSpPr txBox="1"/>
          <p:nvPr/>
        </p:nvSpPr>
        <p:spPr>
          <a:xfrm>
            <a:off x="9298523" y="3806964"/>
            <a:ext cx="2568095" cy="74385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987"/>
              </a:lnSpc>
            </a:pPr>
            <a:r>
              <a:rPr lang="en-US" sz="2100" b="1">
                <a:solidFill>
                  <a:srgbClr val="132572"/>
                </a:solidFill>
                <a:latin typeface="Open Sans Bold"/>
              </a:rPr>
              <a:t>Share Decision Making</a:t>
            </a:r>
            <a:endParaRPr lang="en-US" sz="2100" b="1">
              <a:solidFill>
                <a:srgbClr val="132572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32" name="TextBox 32"/>
          <p:cNvSpPr txBox="1"/>
          <p:nvPr/>
        </p:nvSpPr>
        <p:spPr>
          <a:xfrm>
            <a:off x="3072625" y="2534609"/>
            <a:ext cx="2866545" cy="71910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889"/>
              </a:lnSpc>
            </a:pPr>
            <a:r>
              <a:rPr lang="en-US" sz="2050" b="1">
                <a:solidFill>
                  <a:srgbClr val="FFFFFF"/>
                </a:solidFill>
                <a:latin typeface="Open Sans Bold"/>
              </a:rPr>
              <a:t>Clinical Team Education and Buy-In</a:t>
            </a:r>
            <a:endParaRPr lang="en-US" sz="2050" b="1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33" name="TextBox 33"/>
          <p:cNvSpPr txBox="1"/>
          <p:nvPr/>
        </p:nvSpPr>
        <p:spPr>
          <a:xfrm>
            <a:off x="2870783" y="3878852"/>
            <a:ext cx="3157045" cy="112857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987"/>
              </a:lnSpc>
            </a:pPr>
            <a:r>
              <a:rPr lang="en-US" sz="2100" b="1">
                <a:solidFill>
                  <a:srgbClr val="132572"/>
                </a:solidFill>
                <a:latin typeface="Open Sans Bold"/>
              </a:rPr>
              <a:t>Fallout Reviews of cases not meeting ACOG/SMFM Criteria​</a:t>
            </a:r>
            <a:endParaRPr lang="en-US" sz="2100" b="1">
              <a:solidFill>
                <a:srgbClr val="132572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34" name="TextBox 34"/>
          <p:cNvSpPr txBox="1"/>
          <p:nvPr/>
        </p:nvSpPr>
        <p:spPr>
          <a:xfrm>
            <a:off x="-4278" y="802419"/>
            <a:ext cx="3005015" cy="74379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982"/>
              </a:lnSpc>
            </a:pPr>
            <a:r>
              <a:rPr lang="en-US" sz="2100" b="1">
                <a:solidFill>
                  <a:srgbClr val="132572"/>
                </a:solidFill>
                <a:latin typeface="Open Sans Bold"/>
              </a:rPr>
              <a:t>Unblinded Provider-level NTSV C/S Rates ​</a:t>
            </a:r>
            <a:endParaRPr lang="en-US" sz="2100" b="1">
              <a:solidFill>
                <a:srgbClr val="132572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35" name="TextBox 35"/>
          <p:cNvSpPr txBox="1"/>
          <p:nvPr/>
        </p:nvSpPr>
        <p:spPr>
          <a:xfrm>
            <a:off x="178670" y="5131911"/>
            <a:ext cx="2610760" cy="112857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987"/>
              </a:lnSpc>
            </a:pPr>
            <a:r>
              <a:rPr lang="en-US" sz="2133">
                <a:solidFill>
                  <a:srgbClr val="FFFFFF"/>
                </a:solidFill>
                <a:latin typeface="Open Sans Bold"/>
              </a:rPr>
              <a:t>Recognition of successful NTSV Vaginal Deliveries</a:t>
            </a:r>
          </a:p>
        </p:txBody>
      </p:sp>
      <p:sp>
        <p:nvSpPr>
          <p:cNvPr id="10" name="TextBox 10"/>
          <p:cNvSpPr txBox="1"/>
          <p:nvPr/>
        </p:nvSpPr>
        <p:spPr>
          <a:xfrm>
            <a:off x="2530140" y="-38018"/>
            <a:ext cx="6472664" cy="91550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ts val="7635"/>
              </a:lnSpc>
            </a:pPr>
            <a:r>
              <a:rPr lang="en-US" sz="5450" b="1">
                <a:solidFill>
                  <a:schemeClr val="bg1"/>
                </a:solidFill>
                <a:latin typeface="Calibri"/>
                <a:cs typeface="Calibri"/>
              </a:rPr>
              <a:t>PVB KEY STRATEGIES</a:t>
            </a:r>
          </a:p>
        </p:txBody>
      </p:sp>
    </p:spTree>
    <p:extLst>
      <p:ext uri="{BB962C8B-B14F-4D97-AF65-F5344CB8AC3E}">
        <p14:creationId xmlns:p14="http://schemas.microsoft.com/office/powerpoint/2010/main" val="72804483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6599568" y="3146291"/>
            <a:ext cx="2529126" cy="656135"/>
            <a:chOff x="0" y="0"/>
            <a:chExt cx="1251453" cy="360279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251453" cy="360279"/>
            </a:xfrm>
            <a:custGeom>
              <a:avLst/>
              <a:gdLst/>
              <a:ahLst/>
              <a:cxnLst/>
              <a:rect l="l" t="t" r="r" b="b"/>
              <a:pathLst>
                <a:path w="1251453" h="360279">
                  <a:moveTo>
                    <a:pt x="133595" y="0"/>
                  </a:moveTo>
                  <a:lnTo>
                    <a:pt x="1117858" y="0"/>
                  </a:lnTo>
                  <a:cubicBezTo>
                    <a:pt x="1191640" y="0"/>
                    <a:pt x="1251453" y="59812"/>
                    <a:pt x="1251453" y="133595"/>
                  </a:cubicBezTo>
                  <a:lnTo>
                    <a:pt x="1251453" y="226684"/>
                  </a:lnTo>
                  <a:cubicBezTo>
                    <a:pt x="1251453" y="300467"/>
                    <a:pt x="1191640" y="360279"/>
                    <a:pt x="1117858" y="360279"/>
                  </a:cubicBezTo>
                  <a:lnTo>
                    <a:pt x="133595" y="360279"/>
                  </a:lnTo>
                  <a:cubicBezTo>
                    <a:pt x="59812" y="360279"/>
                    <a:pt x="0" y="300467"/>
                    <a:pt x="0" y="226684"/>
                  </a:cubicBezTo>
                  <a:lnTo>
                    <a:pt x="0" y="133595"/>
                  </a:lnTo>
                  <a:cubicBezTo>
                    <a:pt x="0" y="59812"/>
                    <a:pt x="59812" y="0"/>
                    <a:pt x="133595" y="0"/>
                  </a:cubicBezTo>
                  <a:close/>
                </a:path>
              </a:pathLst>
            </a:custGeom>
            <a:solidFill>
              <a:srgbClr val="819FEB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19050"/>
              <a:ext cx="1251453" cy="341229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02"/>
                </a:lnSpc>
              </a:pPr>
              <a:endParaRPr sz="800"/>
            </a:p>
          </p:txBody>
        </p:sp>
      </p:grpSp>
      <p:grpSp>
        <p:nvGrpSpPr>
          <p:cNvPr id="5" name="Group 5"/>
          <p:cNvGrpSpPr/>
          <p:nvPr/>
        </p:nvGrpSpPr>
        <p:grpSpPr>
          <a:xfrm>
            <a:off x="662628" y="3203343"/>
            <a:ext cx="2389426" cy="666236"/>
            <a:chOff x="0" y="0"/>
            <a:chExt cx="1251453" cy="364679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1251453" cy="364679"/>
            </a:xfrm>
            <a:custGeom>
              <a:avLst/>
              <a:gdLst/>
              <a:ahLst/>
              <a:cxnLst/>
              <a:rect l="l" t="t" r="r" b="b"/>
              <a:pathLst>
                <a:path w="1251453" h="364679">
                  <a:moveTo>
                    <a:pt x="133595" y="0"/>
                  </a:moveTo>
                  <a:lnTo>
                    <a:pt x="1117858" y="0"/>
                  </a:lnTo>
                  <a:cubicBezTo>
                    <a:pt x="1191640" y="0"/>
                    <a:pt x="1251453" y="59812"/>
                    <a:pt x="1251453" y="133595"/>
                  </a:cubicBezTo>
                  <a:lnTo>
                    <a:pt x="1251453" y="231084"/>
                  </a:lnTo>
                  <a:cubicBezTo>
                    <a:pt x="1251453" y="304866"/>
                    <a:pt x="1191640" y="364679"/>
                    <a:pt x="1117858" y="364679"/>
                  </a:cubicBezTo>
                  <a:lnTo>
                    <a:pt x="133595" y="364679"/>
                  </a:lnTo>
                  <a:cubicBezTo>
                    <a:pt x="59812" y="364679"/>
                    <a:pt x="0" y="304866"/>
                    <a:pt x="0" y="231084"/>
                  </a:cubicBezTo>
                  <a:lnTo>
                    <a:pt x="0" y="133595"/>
                  </a:lnTo>
                  <a:cubicBezTo>
                    <a:pt x="0" y="59812"/>
                    <a:pt x="59812" y="0"/>
                    <a:pt x="133595" y="0"/>
                  </a:cubicBezTo>
                  <a:close/>
                </a:path>
              </a:pathLst>
            </a:custGeom>
            <a:solidFill>
              <a:srgbClr val="F5668F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0" y="19050"/>
              <a:ext cx="1251453" cy="345629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02"/>
                </a:lnSpc>
              </a:pPr>
              <a:endParaRPr sz="800"/>
            </a:p>
          </p:txBody>
        </p:sp>
      </p:grpSp>
      <p:sp>
        <p:nvSpPr>
          <p:cNvPr id="9" name="Freeform 9"/>
          <p:cNvSpPr/>
          <p:nvPr/>
        </p:nvSpPr>
        <p:spPr>
          <a:xfrm>
            <a:off x="3760290" y="3232059"/>
            <a:ext cx="2356245" cy="643435"/>
          </a:xfrm>
          <a:custGeom>
            <a:avLst/>
            <a:gdLst/>
            <a:ahLst/>
            <a:cxnLst/>
            <a:rect l="l" t="t" r="r" b="b"/>
            <a:pathLst>
              <a:path w="1315075" h="360279">
                <a:moveTo>
                  <a:pt x="127132" y="0"/>
                </a:moveTo>
                <a:lnTo>
                  <a:pt x="1187943" y="0"/>
                </a:lnTo>
                <a:cubicBezTo>
                  <a:pt x="1221661" y="0"/>
                  <a:pt x="1253997" y="13394"/>
                  <a:pt x="1277839" y="37236"/>
                </a:cubicBezTo>
                <a:cubicBezTo>
                  <a:pt x="1301681" y="61078"/>
                  <a:pt x="1315075" y="93414"/>
                  <a:pt x="1315075" y="127132"/>
                </a:cubicBezTo>
                <a:lnTo>
                  <a:pt x="1315075" y="233147"/>
                </a:lnTo>
                <a:cubicBezTo>
                  <a:pt x="1315075" y="266865"/>
                  <a:pt x="1301681" y="299201"/>
                  <a:pt x="1277839" y="323043"/>
                </a:cubicBezTo>
                <a:cubicBezTo>
                  <a:pt x="1253997" y="346885"/>
                  <a:pt x="1221661" y="360279"/>
                  <a:pt x="1187943" y="360279"/>
                </a:cubicBezTo>
                <a:lnTo>
                  <a:pt x="127132" y="360279"/>
                </a:lnTo>
                <a:cubicBezTo>
                  <a:pt x="93414" y="360279"/>
                  <a:pt x="61078" y="346885"/>
                  <a:pt x="37236" y="323043"/>
                </a:cubicBezTo>
                <a:cubicBezTo>
                  <a:pt x="13394" y="299201"/>
                  <a:pt x="0" y="266865"/>
                  <a:pt x="0" y="233147"/>
                </a:cubicBezTo>
                <a:lnTo>
                  <a:pt x="0" y="127132"/>
                </a:lnTo>
                <a:cubicBezTo>
                  <a:pt x="0" y="93414"/>
                  <a:pt x="13394" y="61078"/>
                  <a:pt x="37236" y="37236"/>
                </a:cubicBezTo>
                <a:cubicBezTo>
                  <a:pt x="61078" y="13394"/>
                  <a:pt x="93414" y="0"/>
                  <a:pt x="127132" y="0"/>
                </a:cubicBezTo>
                <a:close/>
              </a:path>
            </a:pathLst>
          </a:custGeom>
          <a:solidFill>
            <a:srgbClr val="FFCB77"/>
          </a:solidFill>
        </p:spPr>
        <p:txBody>
          <a:bodyPr/>
          <a:lstStyle/>
          <a:p>
            <a:endParaRPr lang="en-US"/>
          </a:p>
        </p:txBody>
      </p:sp>
      <p:sp>
        <p:nvSpPr>
          <p:cNvPr id="11" name="TextBox 11"/>
          <p:cNvSpPr txBox="1"/>
          <p:nvPr/>
        </p:nvSpPr>
        <p:spPr>
          <a:xfrm>
            <a:off x="6752858" y="3215499"/>
            <a:ext cx="2203361" cy="58862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9"/>
              </a:lnSpc>
            </a:pPr>
            <a:r>
              <a:rPr lang="en-US" sz="180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Standardized PVB Protocols and Processes</a:t>
            </a:r>
          </a:p>
        </p:txBody>
      </p:sp>
      <p:sp>
        <p:nvSpPr>
          <p:cNvPr id="12" name="TextBox 12"/>
          <p:cNvSpPr txBox="1"/>
          <p:nvPr/>
        </p:nvSpPr>
        <p:spPr>
          <a:xfrm>
            <a:off x="957273" y="3381529"/>
            <a:ext cx="1795941" cy="39754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9"/>
              </a:lnSpc>
            </a:pPr>
            <a:r>
              <a:rPr lang="en-US" sz="180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Provider and Nurse Education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4056439" y="3388945"/>
            <a:ext cx="1830802" cy="39626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9"/>
              </a:lnSpc>
            </a:pPr>
            <a:r>
              <a:rPr lang="en-US" sz="1800">
                <a:solidFill>
                  <a:srgbClr val="545454"/>
                </a:solidFill>
                <a:latin typeface="Open Sans"/>
                <a:ea typeface="Open Sans"/>
                <a:cs typeface="Open Sans"/>
              </a:rPr>
              <a:t>Delivery Decision Checklist</a:t>
            </a:r>
          </a:p>
        </p:txBody>
      </p:sp>
      <p:pic>
        <p:nvPicPr>
          <p:cNvPr id="14" name="Picture 1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4477" y="1027203"/>
            <a:ext cx="2086709" cy="2086709"/>
          </a:xfrm>
          <a:prstGeom prst="rect">
            <a:avLst/>
          </a:prstGeom>
        </p:spPr>
      </p:pic>
      <p:pic>
        <p:nvPicPr>
          <p:cNvPr id="15" name="Picture 15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219" y="1069051"/>
            <a:ext cx="2085587" cy="2085587"/>
          </a:xfrm>
          <a:prstGeom prst="rect">
            <a:avLst/>
          </a:prstGeom>
        </p:spPr>
      </p:pic>
      <p:pic>
        <p:nvPicPr>
          <p:cNvPr id="16" name="Picture 1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8856" y="1079394"/>
            <a:ext cx="2086709" cy="2086709"/>
          </a:xfrm>
          <a:prstGeom prst="rect">
            <a:avLst/>
          </a:prstGeom>
        </p:spPr>
      </p:pic>
      <p:grpSp>
        <p:nvGrpSpPr>
          <p:cNvPr id="17" name="Group 17"/>
          <p:cNvGrpSpPr/>
          <p:nvPr/>
        </p:nvGrpSpPr>
        <p:grpSpPr>
          <a:xfrm>
            <a:off x="5025246" y="5935151"/>
            <a:ext cx="2623446" cy="733941"/>
            <a:chOff x="0" y="0"/>
            <a:chExt cx="1315393" cy="343150"/>
          </a:xfrm>
        </p:grpSpPr>
        <p:sp>
          <p:nvSpPr>
            <p:cNvPr id="18" name="Freeform 18"/>
            <p:cNvSpPr/>
            <p:nvPr/>
          </p:nvSpPr>
          <p:spPr>
            <a:xfrm>
              <a:off x="0" y="0"/>
              <a:ext cx="1315393" cy="343150"/>
            </a:xfrm>
            <a:custGeom>
              <a:avLst/>
              <a:gdLst/>
              <a:ahLst/>
              <a:cxnLst/>
              <a:rect l="l" t="t" r="r" b="b"/>
              <a:pathLst>
                <a:path w="1315393" h="343150">
                  <a:moveTo>
                    <a:pt x="127101" y="0"/>
                  </a:moveTo>
                  <a:lnTo>
                    <a:pt x="1188292" y="0"/>
                  </a:lnTo>
                  <a:cubicBezTo>
                    <a:pt x="1222002" y="0"/>
                    <a:pt x="1254330" y="13391"/>
                    <a:pt x="1278166" y="37227"/>
                  </a:cubicBezTo>
                  <a:cubicBezTo>
                    <a:pt x="1302002" y="61063"/>
                    <a:pt x="1315393" y="93392"/>
                    <a:pt x="1315393" y="127101"/>
                  </a:cubicBezTo>
                  <a:lnTo>
                    <a:pt x="1315393" y="216049"/>
                  </a:lnTo>
                  <a:cubicBezTo>
                    <a:pt x="1315393" y="249758"/>
                    <a:pt x="1302002" y="282087"/>
                    <a:pt x="1278166" y="305923"/>
                  </a:cubicBezTo>
                  <a:cubicBezTo>
                    <a:pt x="1254330" y="329759"/>
                    <a:pt x="1222002" y="343150"/>
                    <a:pt x="1188292" y="343150"/>
                  </a:cubicBezTo>
                  <a:lnTo>
                    <a:pt x="127101" y="343150"/>
                  </a:lnTo>
                  <a:cubicBezTo>
                    <a:pt x="93392" y="343150"/>
                    <a:pt x="61063" y="329759"/>
                    <a:pt x="37227" y="305923"/>
                  </a:cubicBezTo>
                  <a:cubicBezTo>
                    <a:pt x="13391" y="282087"/>
                    <a:pt x="0" y="249758"/>
                    <a:pt x="0" y="216049"/>
                  </a:cubicBezTo>
                  <a:lnTo>
                    <a:pt x="0" y="127101"/>
                  </a:lnTo>
                  <a:cubicBezTo>
                    <a:pt x="0" y="93392"/>
                    <a:pt x="13391" y="61063"/>
                    <a:pt x="37227" y="37227"/>
                  </a:cubicBezTo>
                  <a:cubicBezTo>
                    <a:pt x="61063" y="13391"/>
                    <a:pt x="93392" y="0"/>
                    <a:pt x="127101" y="0"/>
                  </a:cubicBezTo>
                  <a:close/>
                </a:path>
              </a:pathLst>
            </a:custGeom>
            <a:solidFill>
              <a:srgbClr val="48CFAE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TextBox 19"/>
            <p:cNvSpPr txBox="1"/>
            <p:nvPr/>
          </p:nvSpPr>
          <p:spPr>
            <a:xfrm>
              <a:off x="0" y="19050"/>
              <a:ext cx="1315393" cy="3241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02"/>
                </a:lnSpc>
              </a:pPr>
              <a:endParaRPr sz="800"/>
            </a:p>
          </p:txBody>
        </p:sp>
      </p:grpSp>
      <p:grpSp>
        <p:nvGrpSpPr>
          <p:cNvPr id="20" name="Group 20"/>
          <p:cNvGrpSpPr/>
          <p:nvPr/>
        </p:nvGrpSpPr>
        <p:grpSpPr>
          <a:xfrm>
            <a:off x="2000738" y="5937749"/>
            <a:ext cx="2475000" cy="737693"/>
            <a:chOff x="0" y="0"/>
            <a:chExt cx="1305805" cy="347550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1305805" cy="347550"/>
            </a:xfrm>
            <a:custGeom>
              <a:avLst/>
              <a:gdLst/>
              <a:ahLst/>
              <a:cxnLst/>
              <a:rect l="l" t="t" r="r" b="b"/>
              <a:pathLst>
                <a:path w="1305805" h="347550">
                  <a:moveTo>
                    <a:pt x="128034" y="0"/>
                  </a:moveTo>
                  <a:lnTo>
                    <a:pt x="1177771" y="0"/>
                  </a:lnTo>
                  <a:cubicBezTo>
                    <a:pt x="1248482" y="0"/>
                    <a:pt x="1305805" y="57323"/>
                    <a:pt x="1305805" y="128034"/>
                  </a:cubicBezTo>
                  <a:lnTo>
                    <a:pt x="1305805" y="219516"/>
                  </a:lnTo>
                  <a:cubicBezTo>
                    <a:pt x="1305805" y="253472"/>
                    <a:pt x="1292316" y="286038"/>
                    <a:pt x="1268305" y="310049"/>
                  </a:cubicBezTo>
                  <a:cubicBezTo>
                    <a:pt x="1244294" y="334060"/>
                    <a:pt x="1211728" y="347550"/>
                    <a:pt x="1177771" y="347550"/>
                  </a:cubicBezTo>
                  <a:lnTo>
                    <a:pt x="128034" y="347550"/>
                  </a:lnTo>
                  <a:cubicBezTo>
                    <a:pt x="57323" y="347550"/>
                    <a:pt x="0" y="290227"/>
                    <a:pt x="0" y="219516"/>
                  </a:cubicBezTo>
                  <a:lnTo>
                    <a:pt x="0" y="128034"/>
                  </a:lnTo>
                  <a:cubicBezTo>
                    <a:pt x="0" y="57323"/>
                    <a:pt x="57323" y="0"/>
                    <a:pt x="128034" y="0"/>
                  </a:cubicBezTo>
                  <a:close/>
                </a:path>
              </a:pathLst>
            </a:custGeom>
            <a:solidFill>
              <a:srgbClr val="9F7ACE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2" name="TextBox 22"/>
            <p:cNvSpPr txBox="1"/>
            <p:nvPr/>
          </p:nvSpPr>
          <p:spPr>
            <a:xfrm>
              <a:off x="0" y="19050"/>
              <a:ext cx="1305805" cy="32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02"/>
                </a:lnSpc>
              </a:pPr>
              <a:endParaRPr sz="800"/>
            </a:p>
          </p:txBody>
        </p:sp>
      </p:grpSp>
      <p:grpSp>
        <p:nvGrpSpPr>
          <p:cNvPr id="23" name="Group 23"/>
          <p:cNvGrpSpPr/>
          <p:nvPr/>
        </p:nvGrpSpPr>
        <p:grpSpPr>
          <a:xfrm>
            <a:off x="8059449" y="5925626"/>
            <a:ext cx="2630652" cy="752991"/>
            <a:chOff x="0" y="0"/>
            <a:chExt cx="1374418" cy="343150"/>
          </a:xfrm>
        </p:grpSpPr>
        <p:sp>
          <p:nvSpPr>
            <p:cNvPr id="24" name="Freeform 24"/>
            <p:cNvSpPr/>
            <p:nvPr/>
          </p:nvSpPr>
          <p:spPr>
            <a:xfrm>
              <a:off x="0" y="0"/>
              <a:ext cx="1374418" cy="343150"/>
            </a:xfrm>
            <a:custGeom>
              <a:avLst/>
              <a:gdLst/>
              <a:ahLst/>
              <a:cxnLst/>
              <a:rect l="l" t="t" r="r" b="b"/>
              <a:pathLst>
                <a:path w="1374418" h="343150">
                  <a:moveTo>
                    <a:pt x="121642" y="0"/>
                  </a:moveTo>
                  <a:lnTo>
                    <a:pt x="1252776" y="0"/>
                  </a:lnTo>
                  <a:cubicBezTo>
                    <a:pt x="1319957" y="0"/>
                    <a:pt x="1374418" y="54461"/>
                    <a:pt x="1374418" y="121642"/>
                  </a:cubicBezTo>
                  <a:lnTo>
                    <a:pt x="1374418" y="221508"/>
                  </a:lnTo>
                  <a:cubicBezTo>
                    <a:pt x="1374418" y="288689"/>
                    <a:pt x="1319957" y="343150"/>
                    <a:pt x="1252776" y="343150"/>
                  </a:cubicBezTo>
                  <a:lnTo>
                    <a:pt x="121642" y="343150"/>
                  </a:lnTo>
                  <a:cubicBezTo>
                    <a:pt x="54461" y="343150"/>
                    <a:pt x="0" y="288689"/>
                    <a:pt x="0" y="221508"/>
                  </a:cubicBezTo>
                  <a:lnTo>
                    <a:pt x="0" y="121642"/>
                  </a:lnTo>
                  <a:cubicBezTo>
                    <a:pt x="0" y="54461"/>
                    <a:pt x="54461" y="0"/>
                    <a:pt x="121642" y="0"/>
                  </a:cubicBezTo>
                  <a:close/>
                </a:path>
              </a:pathLst>
            </a:custGeom>
            <a:solidFill>
              <a:srgbClr val="F58366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25" name="TextBox 25"/>
            <p:cNvSpPr txBox="1"/>
            <p:nvPr/>
          </p:nvSpPr>
          <p:spPr>
            <a:xfrm>
              <a:off x="0" y="19050"/>
              <a:ext cx="1374418" cy="3241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02"/>
                </a:lnSpc>
              </a:pPr>
              <a:endParaRPr sz="800"/>
            </a:p>
          </p:txBody>
        </p:sp>
      </p:grpSp>
      <p:sp>
        <p:nvSpPr>
          <p:cNvPr id="26" name="TextBox 26"/>
          <p:cNvSpPr txBox="1"/>
          <p:nvPr/>
        </p:nvSpPr>
        <p:spPr>
          <a:xfrm>
            <a:off x="5161072" y="5995023"/>
            <a:ext cx="2339093" cy="58862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9"/>
              </a:lnSpc>
            </a:pPr>
            <a:r>
              <a:rPr lang="en-US" sz="1800">
                <a:solidFill>
                  <a:srgbClr val="545454"/>
                </a:solidFill>
                <a:latin typeface="Open Sans"/>
                <a:ea typeface="Open Sans"/>
                <a:cs typeface="Open Sans"/>
              </a:rPr>
              <a:t>Process to incorporate shared decision Making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2147157" y="6179249"/>
            <a:ext cx="2202663" cy="39626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9"/>
              </a:lnSpc>
            </a:pPr>
            <a:r>
              <a:rPr lang="en-US" sz="180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Decision Huddles and Debriefs</a:t>
            </a:r>
          </a:p>
        </p:txBody>
      </p:sp>
      <p:sp>
        <p:nvSpPr>
          <p:cNvPr id="28" name="TextBox 28"/>
          <p:cNvSpPr txBox="1"/>
          <p:nvPr/>
        </p:nvSpPr>
        <p:spPr>
          <a:xfrm>
            <a:off x="8181813" y="6074398"/>
            <a:ext cx="2393987" cy="39626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479"/>
              </a:lnSpc>
            </a:pPr>
            <a:r>
              <a:rPr lang="en-US" sz="1800">
                <a:solidFill>
                  <a:srgbClr val="FFFFFF"/>
                </a:solidFill>
                <a:latin typeface="Open Sans"/>
                <a:ea typeface="Open Sans"/>
                <a:cs typeface="Open Sans"/>
              </a:rPr>
              <a:t>Unblinded Provider Level C-Section Rates</a:t>
            </a:r>
          </a:p>
        </p:txBody>
      </p:sp>
      <p:pic>
        <p:nvPicPr>
          <p:cNvPr id="29" name="Picture 29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1906" y="3873213"/>
            <a:ext cx="2086709" cy="2086709"/>
          </a:xfrm>
          <a:prstGeom prst="rect">
            <a:avLst/>
          </a:prstGeom>
        </p:spPr>
      </p:pic>
      <p:pic>
        <p:nvPicPr>
          <p:cNvPr id="30" name="Picture 30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2046" y="3873307"/>
            <a:ext cx="2085587" cy="2085587"/>
          </a:xfrm>
          <a:prstGeom prst="rect">
            <a:avLst/>
          </a:prstGeom>
        </p:spPr>
      </p:pic>
      <p:pic>
        <p:nvPicPr>
          <p:cNvPr id="31" name="Picture 31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2191" y="3844638"/>
            <a:ext cx="2086709" cy="2086709"/>
          </a:xfrm>
          <a:prstGeom prst="rect">
            <a:avLst/>
          </a:prstGeom>
        </p:spPr>
      </p:pic>
      <p:sp>
        <p:nvSpPr>
          <p:cNvPr id="33" name="Google Shape;3937;p421">
            <a:extLst>
              <a:ext uri="{FF2B5EF4-FFF2-40B4-BE49-F238E27FC236}">
                <a16:creationId xmlns:a16="http://schemas.microsoft.com/office/drawing/2014/main" id="{19B86C41-B317-2B4F-C670-3F34701A4EC0}"/>
              </a:ext>
            </a:extLst>
          </p:cNvPr>
          <p:cNvSpPr txBox="1">
            <a:spLocks/>
          </p:cNvSpPr>
          <p:nvPr/>
        </p:nvSpPr>
        <p:spPr>
          <a:xfrm>
            <a:off x="139221" y="112802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3600" b="1" kern="0">
                <a:solidFill>
                  <a:schemeClr val="accent1"/>
                </a:solidFill>
                <a:latin typeface="Calibri"/>
              </a:rPr>
              <a:t>Hospitals with Key PVB Strategies in Place</a:t>
            </a:r>
          </a:p>
        </p:txBody>
      </p:sp>
    </p:spTree>
    <p:extLst>
      <p:ext uri="{BB962C8B-B14F-4D97-AF65-F5344CB8AC3E}">
        <p14:creationId xmlns:p14="http://schemas.microsoft.com/office/powerpoint/2010/main" val="229499549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37" name="Google Shape;3937;p421"/>
          <p:cNvSpPr txBox="1">
            <a:spLocks noGrp="1"/>
          </p:cNvSpPr>
          <p:nvPr>
            <p:ph type="title"/>
          </p:nvPr>
        </p:nvSpPr>
        <p:spPr>
          <a:xfrm>
            <a:off x="278921" y="379502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r>
              <a:rPr lang="en-US"/>
              <a:t>PVB Structure Measure Implementation</a:t>
            </a:r>
          </a:p>
        </p:txBody>
      </p:sp>
      <p:sp>
        <p:nvSpPr>
          <p:cNvPr id="3938" name="Google Shape;3938;p421"/>
          <p:cNvSpPr txBox="1">
            <a:spLocks noGrp="1"/>
          </p:cNvSpPr>
          <p:nvPr>
            <p:ph type="sldNum" idx="12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4</a:t>
            </a:fld>
            <a:endParaRPr/>
          </a:p>
        </p:txBody>
      </p:sp>
      <p:sp>
        <p:nvSpPr>
          <p:cNvPr id="3939" name="Google Shape;3939;p421"/>
          <p:cNvSpPr txBox="1">
            <a:spLocks noGrp="1"/>
          </p:cNvSpPr>
          <p:nvPr>
            <p:ph type="ftr" idx="11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3941" name="Google Shape;3941;p421"/>
          <p:cNvSpPr/>
          <p:nvPr/>
        </p:nvSpPr>
        <p:spPr>
          <a:xfrm>
            <a:off x="6539426" y="3694222"/>
            <a:ext cx="5263362" cy="252413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90%</a:t>
            </a:r>
            <a:endParaRPr lang="en-US" sz="6600">
              <a:solidFill>
                <a:schemeClr val="accent1"/>
              </a:solidFill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>
                <a:solidFill>
                  <a:schemeClr val="accent2"/>
                </a:solidFill>
                <a:latin typeface="Calibri"/>
                <a:ea typeface="Calibri"/>
                <a:cs typeface="Calibri"/>
                <a:sym typeface="Calibri"/>
              </a:rPr>
              <a:t>of PVB Teams have at least 4 key SM in place</a:t>
            </a:r>
            <a:endParaRPr sz="3200" b="1">
              <a:solidFill>
                <a:schemeClr val="accent2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942" name="Google Shape;3942;p421"/>
          <p:cNvSpPr/>
          <p:nvPr/>
        </p:nvSpPr>
        <p:spPr>
          <a:xfrm>
            <a:off x="1082883" y="1558911"/>
            <a:ext cx="4485912" cy="25254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600" b="1">
                <a:solidFill>
                  <a:schemeClr val="accent2"/>
                </a:solidFill>
                <a:latin typeface="Calibri"/>
                <a:ea typeface="Calibri"/>
                <a:cs typeface="Calibri"/>
                <a:sym typeface="Calibri"/>
              </a:rPr>
              <a:t>76%</a:t>
            </a:r>
            <a:endParaRPr sz="6600" b="1">
              <a:solidFill>
                <a:schemeClr val="accent2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of PVB Teams have all 6 key SM in place</a:t>
            </a:r>
            <a:endParaRPr sz="3200" b="1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" name="Graphic 3" descr="Diploma with solid fill">
            <a:extLst>
              <a:ext uri="{FF2B5EF4-FFF2-40B4-BE49-F238E27FC236}">
                <a16:creationId xmlns:a16="http://schemas.microsoft.com/office/drawing/2014/main" id="{9819674D-51BB-4C90-E67F-E1B02565959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43752" y="3878757"/>
            <a:ext cx="2200634" cy="2162354"/>
          </a:xfrm>
          <a:prstGeom prst="rect">
            <a:avLst/>
          </a:prstGeom>
        </p:spPr>
      </p:pic>
      <p:pic>
        <p:nvPicPr>
          <p:cNvPr id="5" name="Graphic 4" descr="Ribbon with solid fill">
            <a:extLst>
              <a:ext uri="{FF2B5EF4-FFF2-40B4-BE49-F238E27FC236}">
                <a16:creationId xmlns:a16="http://schemas.microsoft.com/office/drawing/2014/main" id="{5F2853BB-1B5C-F439-6146-37FEFCD4D6D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980776" y="1607927"/>
            <a:ext cx="2167206" cy="2219863"/>
          </a:xfrm>
          <a:prstGeom prst="rect">
            <a:avLst/>
          </a:prstGeom>
        </p:spPr>
      </p:pic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CF0391-13EA-EF62-55FA-0DAB5986C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ea typeface="Lato Medium"/>
                <a:cs typeface="Lato Medium"/>
              </a:rPr>
              <a:t>Celebrating our PVB Success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9694F21-7674-BC7F-E2E9-9ED14EAB194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D857BF4-4492-C32F-211B-89AB1F00A5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12" name="Freeform 2">
            <a:extLst>
              <a:ext uri="{FF2B5EF4-FFF2-40B4-BE49-F238E27FC236}">
                <a16:creationId xmlns:a16="http://schemas.microsoft.com/office/drawing/2014/main" id="{E9274524-157C-9EF4-AAE1-30DF02D66003}"/>
              </a:ext>
            </a:extLst>
          </p:cNvPr>
          <p:cNvSpPr/>
          <p:nvPr/>
        </p:nvSpPr>
        <p:spPr>
          <a:xfrm>
            <a:off x="7319862" y="1245334"/>
            <a:ext cx="4876800" cy="932688"/>
          </a:xfrm>
          <a:custGeom>
            <a:avLst/>
            <a:gdLst/>
            <a:ahLst/>
            <a:cxnLst/>
            <a:rect l="l" t="t" r="r" b="b"/>
            <a:pathLst>
              <a:path w="7315200" h="1399032">
                <a:moveTo>
                  <a:pt x="0" y="0"/>
                </a:moveTo>
                <a:lnTo>
                  <a:pt x="7315200" y="0"/>
                </a:lnTo>
                <a:lnTo>
                  <a:pt x="7315200" y="1399032"/>
                </a:lnTo>
                <a:lnTo>
                  <a:pt x="0" y="1399032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4" name="Freeform 3">
            <a:extLst>
              <a:ext uri="{FF2B5EF4-FFF2-40B4-BE49-F238E27FC236}">
                <a16:creationId xmlns:a16="http://schemas.microsoft.com/office/drawing/2014/main" id="{B2C4B94C-EC0B-79E9-C0E1-B2B5EED2A93C}"/>
              </a:ext>
            </a:extLst>
          </p:cNvPr>
          <p:cNvSpPr/>
          <p:nvPr/>
        </p:nvSpPr>
        <p:spPr>
          <a:xfrm>
            <a:off x="7315200" y="4700758"/>
            <a:ext cx="4876800" cy="2151888"/>
          </a:xfrm>
          <a:custGeom>
            <a:avLst/>
            <a:gdLst/>
            <a:ahLst/>
            <a:cxnLst/>
            <a:rect l="l" t="t" r="r" b="b"/>
            <a:pathLst>
              <a:path w="7315200" h="3227832">
                <a:moveTo>
                  <a:pt x="0" y="0"/>
                </a:moveTo>
                <a:lnTo>
                  <a:pt x="7315200" y="0"/>
                </a:lnTo>
                <a:lnTo>
                  <a:pt x="7315200" y="3227832"/>
                </a:lnTo>
                <a:lnTo>
                  <a:pt x="0" y="3227832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6" name="TextBox 4">
            <a:extLst>
              <a:ext uri="{FF2B5EF4-FFF2-40B4-BE49-F238E27FC236}">
                <a16:creationId xmlns:a16="http://schemas.microsoft.com/office/drawing/2014/main" id="{7EBB2CA5-6C6C-393A-33B9-BA0BCDF6032C}"/>
              </a:ext>
            </a:extLst>
          </p:cNvPr>
          <p:cNvSpPr txBox="1"/>
          <p:nvPr/>
        </p:nvSpPr>
        <p:spPr>
          <a:xfrm>
            <a:off x="8362407" y="3954141"/>
            <a:ext cx="2998354" cy="748795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5588"/>
              </a:lnSpc>
              <a:spcBef>
                <a:spcPct val="0"/>
              </a:spcBef>
            </a:pPr>
            <a:r>
              <a:rPr lang="en-US" sz="6200">
                <a:solidFill>
                  <a:srgbClr val="FF3399"/>
                </a:solidFill>
                <a:latin typeface="Hit and Run"/>
              </a:rPr>
              <a:t>23.42%</a:t>
            </a:r>
          </a:p>
        </p:txBody>
      </p:sp>
      <p:sp>
        <p:nvSpPr>
          <p:cNvPr id="18" name="TextBox 5">
            <a:extLst>
              <a:ext uri="{FF2B5EF4-FFF2-40B4-BE49-F238E27FC236}">
                <a16:creationId xmlns:a16="http://schemas.microsoft.com/office/drawing/2014/main" id="{AFC1FDFC-9B8E-46D3-977E-F282BADB7A6F}"/>
              </a:ext>
            </a:extLst>
          </p:cNvPr>
          <p:cNvSpPr txBox="1"/>
          <p:nvPr/>
        </p:nvSpPr>
        <p:spPr>
          <a:xfrm>
            <a:off x="7497335" y="2499613"/>
            <a:ext cx="4514371" cy="116769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667"/>
              </a:lnSpc>
            </a:pPr>
            <a:r>
              <a:rPr lang="en-US" sz="3300">
                <a:solidFill>
                  <a:schemeClr val="accent5"/>
                </a:solidFill>
                <a:latin typeface="Canva Sans Bold"/>
              </a:rPr>
              <a:t>ILPQC NTSV C-Section Rate in 2023</a:t>
            </a:r>
          </a:p>
        </p:txBody>
      </p:sp>
      <p:pic>
        <p:nvPicPr>
          <p:cNvPr id="11" name="Content Placeholder 10" descr="A graph of a graph with numbers and a line&#10;&#10;Description automatically generated">
            <a:extLst>
              <a:ext uri="{FF2B5EF4-FFF2-40B4-BE49-F238E27FC236}">
                <a16:creationId xmlns:a16="http://schemas.microsoft.com/office/drawing/2014/main" id="{8AB3F484-9651-6E9B-E741-D8C33F5CD08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487" y="1920875"/>
            <a:ext cx="6717275" cy="4351338"/>
          </a:xfrm>
        </p:spPr>
      </p:pic>
    </p:spTree>
    <p:extLst>
      <p:ext uri="{BB962C8B-B14F-4D97-AF65-F5344CB8AC3E}">
        <p14:creationId xmlns:p14="http://schemas.microsoft.com/office/powerpoint/2010/main" val="322864510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9" name="Google Shape;3969;p423"/>
          <p:cNvSpPr txBox="1">
            <a:spLocks noGrp="1"/>
          </p:cNvSpPr>
          <p:nvPr>
            <p:ph type="title"/>
          </p:nvPr>
        </p:nvSpPr>
        <p:spPr>
          <a:xfrm>
            <a:off x="293077" y="236171"/>
            <a:ext cx="695376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>
              <a:buSzPts val="3600"/>
            </a:pPr>
            <a:r>
              <a:rPr lang="en-US"/>
              <a:t>Reduced NTSV C-Section Rates and Variability Across Illinois Hospitals</a:t>
            </a:r>
            <a:endParaRPr/>
          </a:p>
        </p:txBody>
      </p:sp>
      <p:pic>
        <p:nvPicPr>
          <p:cNvPr id="2" name="Picture 1" descr="A graph of a number of patients&#10;&#10;Description automatically generated">
            <a:extLst>
              <a:ext uri="{FF2B5EF4-FFF2-40B4-BE49-F238E27FC236}">
                <a16:creationId xmlns:a16="http://schemas.microsoft.com/office/drawing/2014/main" id="{E072D0A1-5F20-9365-1D51-74DE4B3399FE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153" y="1917734"/>
            <a:ext cx="7276382" cy="4475492"/>
          </a:xfrm>
          <a:prstGeom prst="rect">
            <a:avLst/>
          </a:prstGeom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863B705-05E1-C456-CA1D-5BB868CB4040}"/>
              </a:ext>
            </a:extLst>
          </p:cNvPr>
          <p:cNvSpPr/>
          <p:nvPr/>
        </p:nvSpPr>
        <p:spPr>
          <a:xfrm>
            <a:off x="8125408" y="2313214"/>
            <a:ext cx="3752489" cy="3680603"/>
          </a:xfrm>
          <a:prstGeom prst="roundRect">
            <a:avLst/>
          </a:prstGeom>
          <a:ln w="57150">
            <a:solidFill>
              <a:srgbClr val="DE367A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5400" b="1">
                <a:cs typeface="Arial"/>
              </a:rPr>
              <a:t>61%</a:t>
            </a:r>
            <a:endParaRPr lang="en-US"/>
          </a:p>
          <a:p>
            <a:pPr algn="ctr"/>
            <a:r>
              <a:rPr lang="en-US" sz="2000">
                <a:cs typeface="Arial"/>
              </a:rPr>
              <a:t> </a:t>
            </a:r>
            <a:r>
              <a:rPr lang="en-US" sz="2400">
                <a:cs typeface="Arial"/>
              </a:rPr>
              <a:t>of PVB teams have reduced their NTSV C-Section Rate or maintained a Rate below 23.6% from baseline to the last 6 months</a:t>
            </a:r>
            <a:endParaRPr lang="en-US" sz="24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D98BBAE-2263-52DE-1977-C5ADDF2819BF}"/>
              </a:ext>
            </a:extLst>
          </p:cNvPr>
          <p:cNvSpPr txBox="1"/>
          <p:nvPr/>
        </p:nvSpPr>
        <p:spPr>
          <a:xfrm>
            <a:off x="2241177" y="1557617"/>
            <a:ext cx="3081618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>
                <a:cs typeface="Arial"/>
              </a:rPr>
              <a:t>Baseline    Last 6 months</a:t>
            </a:r>
            <a:endParaRPr lang="en-US" sz="160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7391A689-776C-A048-7E85-7A6CA08AA5AC}"/>
              </a:ext>
            </a:extLst>
          </p:cNvPr>
          <p:cNvSpPr/>
          <p:nvPr/>
        </p:nvSpPr>
        <p:spPr>
          <a:xfrm>
            <a:off x="2061882" y="1624853"/>
            <a:ext cx="179294" cy="16808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2E89DED-BF03-4EE0-5EDE-10349C8C6550}"/>
              </a:ext>
            </a:extLst>
          </p:cNvPr>
          <p:cNvSpPr/>
          <p:nvPr/>
        </p:nvSpPr>
        <p:spPr>
          <a:xfrm>
            <a:off x="3697940" y="1636058"/>
            <a:ext cx="179294" cy="168088"/>
          </a:xfrm>
          <a:prstGeom prst="ellipse">
            <a:avLst/>
          </a:prstGeom>
          <a:solidFill>
            <a:srgbClr val="DE367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A1F69E-3D38-7899-D85E-D830B7C0E3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06332"/>
            <a:ext cx="7105291" cy="1339940"/>
          </a:xfrm>
        </p:spPr>
        <p:txBody>
          <a:bodyPr/>
          <a:lstStyle/>
          <a:p>
            <a:r>
              <a:rPr lang="en-US">
                <a:ea typeface="Lato Medium"/>
                <a:cs typeface="Lato Medium"/>
              </a:rPr>
              <a:t>Improved % of NTSV C-sections Meeting ACOG/SMFM Criteria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CA3319-C7DB-8ECE-3264-09071839D39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0" y="-10886"/>
            <a:ext cx="0" cy="0"/>
          </a:xfrm>
        </p:spPr>
        <p:txBody>
          <a:bodyPr/>
          <a:lstStyle/>
          <a:p>
            <a:pPr defTabSz="914446"/>
            <a:fld id="{97033E4B-E3EB-3D46-B2D8-3159663620FA}" type="slidenum">
              <a:rPr lang="en-US" dirty="0">
                <a:solidFill>
                  <a:srgbClr val="79818A">
                    <a:lumMod val="60000"/>
                    <a:lumOff val="40000"/>
                  </a:srgbClr>
                </a:solidFill>
                <a:latin typeface="Calibri" panose="020F0502020204030204"/>
              </a:rPr>
              <a:pPr defTabSz="914446"/>
              <a:t>27</a:t>
            </a:fld>
            <a:endParaRPr lang="en-US">
              <a:solidFill>
                <a:srgbClr val="79818A">
                  <a:lumMod val="60000"/>
                  <a:lumOff val="40000"/>
                </a:srgbClr>
              </a:solidFill>
              <a:latin typeface="Calibri" panose="020F0502020204030204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9CD626-DDA4-8A86-289B-D39F18715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defTabSz="914446"/>
            <a:r>
              <a:rPr lang="en-US">
                <a:solidFill>
                  <a:srgbClr val="444C55">
                    <a:tint val="75000"/>
                  </a:srgbClr>
                </a:solidFill>
                <a:latin typeface="Calibri" panose="020F0502020204030204"/>
              </a:rPr>
              <a:t>Illinois Perinatal Quality Collaborative</a:t>
            </a:r>
          </a:p>
        </p:txBody>
      </p:sp>
      <p:pic>
        <p:nvPicPr>
          <p:cNvPr id="3" name="Picture 2" descr="A close-up of a questionnaire&#10;&#10;Description automatically generated">
            <a:extLst>
              <a:ext uri="{FF2B5EF4-FFF2-40B4-BE49-F238E27FC236}">
                <a16:creationId xmlns:a16="http://schemas.microsoft.com/office/drawing/2014/main" id="{79B6B5CC-89B5-B0E8-8173-D5E326F6F11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7552" y="3131618"/>
            <a:ext cx="2457271" cy="3061464"/>
          </a:xfrm>
          <a:prstGeom prst="rect">
            <a:avLst/>
          </a:prstGeom>
        </p:spPr>
      </p:pic>
      <p:pic>
        <p:nvPicPr>
          <p:cNvPr id="7" name="Picture 6" descr="A graph of different colored lines&#10;&#10;Description automatically generated">
            <a:extLst>
              <a:ext uri="{FF2B5EF4-FFF2-40B4-BE49-F238E27FC236}">
                <a16:creationId xmlns:a16="http://schemas.microsoft.com/office/drawing/2014/main" id="{EA492857-3EA5-4AE9-3341-C9E17E5FE38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718" y="1458944"/>
            <a:ext cx="8780071" cy="5202984"/>
          </a:xfrm>
          <a:prstGeom prst="rect">
            <a:avLst/>
          </a:prstGeom>
        </p:spPr>
      </p:pic>
      <p:sp>
        <p:nvSpPr>
          <p:cNvPr id="9" name="Google Shape;4201;p437">
            <a:extLst>
              <a:ext uri="{FF2B5EF4-FFF2-40B4-BE49-F238E27FC236}">
                <a16:creationId xmlns:a16="http://schemas.microsoft.com/office/drawing/2014/main" id="{1B6AD21C-8A1B-3113-B25D-960303F8DCB0}"/>
              </a:ext>
            </a:extLst>
          </p:cNvPr>
          <p:cNvSpPr txBox="1"/>
          <p:nvPr/>
        </p:nvSpPr>
        <p:spPr>
          <a:xfrm>
            <a:off x="9292930" y="1455399"/>
            <a:ext cx="2447291" cy="1569620"/>
          </a:xfrm>
          <a:prstGeom prst="rect">
            <a:avLst/>
          </a:prstGeom>
          <a:solidFill>
            <a:srgbClr val="FDE766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en-US" sz="2400" b="1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allout Review Guide located in your ILPQC F2F Folder!</a:t>
            </a:r>
            <a:endParaRPr sz="1800" i="1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8267243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4"/>
          <p:cNvGrpSpPr/>
          <p:nvPr/>
        </p:nvGrpSpPr>
        <p:grpSpPr>
          <a:xfrm>
            <a:off x="8086941" y="1921839"/>
            <a:ext cx="3927310" cy="4277488"/>
            <a:chOff x="0" y="0"/>
            <a:chExt cx="3833402" cy="1219219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3833402" cy="1219219"/>
            </a:xfrm>
            <a:custGeom>
              <a:avLst/>
              <a:gdLst/>
              <a:ahLst/>
              <a:cxnLst/>
              <a:rect l="l" t="t" r="r" b="b"/>
              <a:pathLst>
                <a:path w="3833402" h="1219219">
                  <a:moveTo>
                    <a:pt x="0" y="0"/>
                  </a:moveTo>
                  <a:lnTo>
                    <a:pt x="3833402" y="0"/>
                  </a:lnTo>
                  <a:lnTo>
                    <a:pt x="3833402" y="1219219"/>
                  </a:lnTo>
                  <a:lnTo>
                    <a:pt x="0" y="1219219"/>
                  </a:lnTo>
                  <a:close/>
                </a:path>
              </a:pathLst>
            </a:custGeom>
            <a:solidFill>
              <a:srgbClr val="819FEB"/>
            </a:solid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1" name="Freeform 11"/>
          <p:cNvSpPr/>
          <p:nvPr/>
        </p:nvSpPr>
        <p:spPr>
          <a:xfrm>
            <a:off x="8527534" y="2238736"/>
            <a:ext cx="3029352" cy="570725"/>
          </a:xfrm>
          <a:custGeom>
            <a:avLst/>
            <a:gdLst/>
            <a:ahLst/>
            <a:cxnLst/>
            <a:rect l="l" t="t" r="r" b="b"/>
            <a:pathLst>
              <a:path w="5904053" h="856088">
                <a:moveTo>
                  <a:pt x="0" y="0"/>
                </a:moveTo>
                <a:lnTo>
                  <a:pt x="5904053" y="0"/>
                </a:lnTo>
                <a:lnTo>
                  <a:pt x="5904053" y="856087"/>
                </a:lnTo>
                <a:lnTo>
                  <a:pt x="0" y="856087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7" name="TextBox 17"/>
          <p:cNvSpPr txBox="1"/>
          <p:nvPr/>
        </p:nvSpPr>
        <p:spPr>
          <a:xfrm>
            <a:off x="8270791" y="2902980"/>
            <a:ext cx="3535796" cy="31418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500"/>
              </a:lnSpc>
              <a:spcBef>
                <a:spcPct val="0"/>
              </a:spcBef>
            </a:pPr>
            <a:r>
              <a:rPr lang="en-US" sz="3200" spc="125">
                <a:solidFill>
                  <a:srgbClr val="FFFFFF"/>
                </a:solidFill>
                <a:latin typeface="Open Sans"/>
              </a:rPr>
              <a:t>of PVB teams have decreased their NTSV C-Section disparity gap between Black and White patients</a:t>
            </a:r>
            <a:r>
              <a:rPr lang="en-US" sz="3200" spc="125">
                <a:solidFill>
                  <a:srgbClr val="FFFFFF"/>
                </a:solidFill>
                <a:latin typeface="Open Sans Bold"/>
              </a:rPr>
              <a:t> </a:t>
            </a:r>
            <a:endParaRPr lang="en-US" sz="3200" spc="125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18" name="TextBox 18"/>
          <p:cNvSpPr txBox="1"/>
          <p:nvPr/>
        </p:nvSpPr>
        <p:spPr>
          <a:xfrm>
            <a:off x="9447020" y="2316327"/>
            <a:ext cx="1178785" cy="49064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966"/>
              </a:lnSpc>
              <a:spcBef>
                <a:spcPct val="0"/>
              </a:spcBef>
            </a:pPr>
            <a:r>
              <a:rPr lang="en-US" sz="3200" spc="141">
                <a:solidFill>
                  <a:srgbClr val="132572"/>
                </a:solidFill>
                <a:latin typeface="Open Sans Bold"/>
              </a:rPr>
              <a:t>56%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BA21A04-F6CF-D18B-249E-3A8A52F40CBE}"/>
              </a:ext>
            </a:extLst>
          </p:cNvPr>
          <p:cNvSpPr txBox="1"/>
          <p:nvPr/>
        </p:nvSpPr>
        <p:spPr>
          <a:xfrm>
            <a:off x="189708" y="224286"/>
            <a:ext cx="5145856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600" b="1">
                <a:solidFill>
                  <a:srgbClr val="132572"/>
                </a:solidFill>
                <a:latin typeface="Calibri"/>
              </a:rPr>
              <a:t>Reduced Disparity Gap in NTSV C-Section Rates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73BBEAD-47F0-6FA5-7D7A-2EBB64F44A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390" y="1542206"/>
            <a:ext cx="7667625" cy="5162550"/>
          </a:xfrm>
          <a:prstGeom prst="rect">
            <a:avLst/>
          </a:prstGeom>
        </p:spPr>
      </p:pic>
      <p:pic>
        <p:nvPicPr>
          <p:cNvPr id="9" name="Graphic 5" descr="Fireworks with solid fill">
            <a:extLst>
              <a:ext uri="{FF2B5EF4-FFF2-40B4-BE49-F238E27FC236}">
                <a16:creationId xmlns:a16="http://schemas.microsoft.com/office/drawing/2014/main" id="{64315ABB-00E2-4D70-9DDA-9AB00E919B6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70985" y="3109000"/>
            <a:ext cx="1200329" cy="1200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25878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1" name="Google Shape;4061;p42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en-US" b="1">
                <a:solidFill>
                  <a:schemeClr val="accent1"/>
                </a:solidFill>
              </a:rPr>
              <a:t>Steps to Address NTSV C-Section Disparities for PVB and BE Sustainability</a:t>
            </a:r>
            <a:endParaRPr b="1">
              <a:solidFill>
                <a:schemeClr val="accent1"/>
              </a:solidFill>
            </a:endParaRPr>
          </a:p>
          <a:p>
            <a:pPr marL="0" lvl="0" indent="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400"/>
              <a:buNone/>
            </a:pPr>
            <a:r>
              <a:rPr lang="en-US" i="1"/>
              <a:t>Available in folder</a:t>
            </a:r>
            <a:endParaRPr i="1"/>
          </a:p>
        </p:txBody>
      </p:sp>
      <p:sp>
        <p:nvSpPr>
          <p:cNvPr id="4063" name="Google Shape;4063;p429"/>
          <p:cNvSpPr txBox="1">
            <a:spLocks noGrp="1"/>
          </p:cNvSpPr>
          <p:nvPr>
            <p:ph type="sldNum" idx="4294967295"/>
          </p:nvPr>
        </p:nvSpPr>
        <p:spPr>
          <a:xfrm>
            <a:off x="94488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29</a:t>
            </a:fld>
            <a:endParaRPr/>
          </a:p>
        </p:txBody>
      </p:sp>
      <p:sp>
        <p:nvSpPr>
          <p:cNvPr id="4064" name="Google Shape;4064;p429"/>
          <p:cNvSpPr txBox="1">
            <a:spLocks noGrp="1"/>
          </p:cNvSpPr>
          <p:nvPr>
            <p:ph type="ftr" idx="4294967295"/>
          </p:nvPr>
        </p:nvSpPr>
        <p:spPr>
          <a:xfrm>
            <a:off x="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pic>
        <p:nvPicPr>
          <p:cNvPr id="8" name="Picture Placeholder 7" descr="A diagram of a light bulb with text and icons&#10;&#10;Description automatically generated">
            <a:extLst>
              <a:ext uri="{FF2B5EF4-FFF2-40B4-BE49-F238E27FC236}">
                <a16:creationId xmlns:a16="http://schemas.microsoft.com/office/drawing/2014/main" id="{73570B52-DCEA-433E-3A1E-52259ABF5D65}"/>
              </a:ext>
            </a:extLst>
          </p:cNvPr>
          <p:cNvPicPr>
            <a:picLocks noGrp="1" noChangeAspect="1"/>
          </p:cNvPicPr>
          <p:nvPr>
            <p:ph type="pic" idx="2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20" r="32" b="-463"/>
          <a:stretch/>
        </p:blipFill>
        <p:spPr>
          <a:xfrm>
            <a:off x="2814590" y="1516"/>
            <a:ext cx="9380051" cy="6875908"/>
          </a:xfr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373170-2C28-CD1A-77C2-2C438DED3E37}"/>
              </a:ext>
            </a:extLst>
          </p:cNvPr>
          <p:cNvSpPr/>
          <p:nvPr/>
        </p:nvSpPr>
        <p:spPr>
          <a:xfrm>
            <a:off x="76136" y="4782"/>
            <a:ext cx="12048227" cy="78438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6E20AFB-BF5A-F5E4-52A4-547019B18D9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t>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BF5FE2-3593-7F7E-F1B8-4CA1925793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3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aphicFrame>
        <p:nvGraphicFramePr>
          <p:cNvPr id="16" name="Content Placeholder 15">
            <a:extLst>
              <a:ext uri="{FF2B5EF4-FFF2-40B4-BE49-F238E27FC236}">
                <a16:creationId xmlns:a16="http://schemas.microsoft.com/office/drawing/2014/main" id="{DE64B945-7212-9FFF-3379-3310FE4BFECC}"/>
              </a:ext>
            </a:extLst>
          </p:cNvPr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868753931"/>
              </p:ext>
            </p:extLst>
          </p:nvPr>
        </p:nvGraphicFramePr>
        <p:xfrm>
          <a:off x="5656" y="748093"/>
          <a:ext cx="6045374" cy="64484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91746">
                  <a:extLst>
                    <a:ext uri="{9D8B030D-6E8A-4147-A177-3AD203B41FA5}">
                      <a16:colId xmlns:a16="http://schemas.microsoft.com/office/drawing/2014/main" val="1829459250"/>
                    </a:ext>
                  </a:extLst>
                </a:gridCol>
                <a:gridCol w="4753628">
                  <a:extLst>
                    <a:ext uri="{9D8B030D-6E8A-4147-A177-3AD203B41FA5}">
                      <a16:colId xmlns:a16="http://schemas.microsoft.com/office/drawing/2014/main" val="1819952698"/>
                    </a:ext>
                  </a:extLst>
                </a:gridCol>
              </a:tblGrid>
              <a:tr h="497557">
                <a:tc>
                  <a:txBody>
                    <a:bodyPr/>
                    <a:lstStyle/>
                    <a:p>
                      <a:pPr algn="ctr" fontAlgn="t"/>
                      <a:endParaRPr lang="en-US" sz="1400" b="1">
                        <a:solidFill>
                          <a:schemeClr val="accent1"/>
                        </a:solidFill>
                        <a:effectLst/>
                      </a:endParaRPr>
                    </a:p>
                    <a:p>
                      <a:pPr algn="ctr" rtl="0" fontAlgn="base"/>
                      <a:r>
                        <a:rPr lang="en-US" sz="1400" b="1">
                          <a:solidFill>
                            <a:schemeClr val="accent1"/>
                          </a:solidFill>
                          <a:effectLst/>
                        </a:rPr>
                        <a:t>9:00-9:10a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>
                        <a:lnSpc>
                          <a:spcPct val="100000"/>
                        </a:lnSpc>
                      </a:pPr>
                      <a:r>
                        <a:rPr lang="en-US" sz="1400">
                          <a:solidFill>
                            <a:schemeClr val="accent1"/>
                          </a:solidFill>
                          <a:effectLst/>
                        </a:rPr>
                        <a:t>Welcome and Overview of Day  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buNone/>
                      </a:pPr>
                      <a:r>
                        <a:rPr lang="en-US" sz="1400" b="1" i="0" u="none" strike="noStrike" noProof="0">
                          <a:solidFill>
                            <a:schemeClr val="accent3"/>
                          </a:solidFill>
                          <a:effectLst/>
                          <a:latin typeface="Calibri"/>
                        </a:rPr>
                        <a:t>Ann Borders, MD, MSc, MPH </a:t>
                      </a:r>
                      <a:endParaRPr lang="en-US" sz="1400" b="1" i="0" u="none" strike="noStrike" noProof="0">
                        <a:solidFill>
                          <a:srgbClr val="F58366"/>
                        </a:solidFill>
                        <a:effectLst/>
                        <a:latin typeface="Calibri"/>
                      </a:endParaRPr>
                    </a:p>
                  </a:txBody>
                  <a:tcPr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1468567"/>
                  </a:ext>
                </a:extLst>
              </a:tr>
              <a:tr h="497557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00" b="1">
                          <a:solidFill>
                            <a:schemeClr val="accent1"/>
                          </a:solidFill>
                          <a:effectLst/>
                        </a:rPr>
                        <a:t>9:10-9:40a </a:t>
                      </a:r>
                      <a:endParaRPr lang="en-US" sz="140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1">
                          <a:solidFill>
                            <a:schemeClr val="accent1"/>
                          </a:solidFill>
                          <a:effectLst/>
                        </a:rPr>
                        <a:t>Making Change Happen in 2024</a:t>
                      </a:r>
                    </a:p>
                    <a:p>
                      <a:pPr algn="l" rtl="0" fontAlgn="base"/>
                      <a:r>
                        <a:rPr lang="en-US" sz="1400" b="1" i="0" u="none" strike="noStrike" kern="1200">
                          <a:solidFill>
                            <a:schemeClr val="accent3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nn Borders, MD, MSc, MPH </a:t>
                      </a:r>
                    </a:p>
                  </a:txBody>
                  <a:tcPr>
                    <a:solidFill>
                      <a:srgbClr val="CCC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3591664"/>
                  </a:ext>
                </a:extLst>
              </a:tr>
              <a:tr h="699689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00" b="1">
                          <a:solidFill>
                            <a:schemeClr val="accent1"/>
                          </a:solidFill>
                          <a:effectLst/>
                        </a:rPr>
                        <a:t>9:40-10:25a </a:t>
                      </a:r>
                      <a:endParaRPr lang="en-US" sz="140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400" b="1" kern="1200" noProof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ooking Ahead to 2025: Introducing the </a:t>
                      </a:r>
                    </a:p>
                    <a:p>
                      <a:pPr lvl="0" algn="l">
                        <a:buNone/>
                      </a:pPr>
                      <a:r>
                        <a:rPr lang="en-US" sz="1400" b="1" kern="1200" noProof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IM Perinatal Mental Health Bundle</a:t>
                      </a:r>
                      <a:endParaRPr lang="en-US" sz="1400" b="1" kern="120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lvl="0" algn="l">
                        <a:buNone/>
                      </a:pPr>
                      <a:r>
                        <a:rPr lang="en-US" sz="1400" b="1" i="0" u="none" strike="noStrike" kern="1200" baseline="0" noProof="0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Susan Kendig, JD, WHNP-BC, FAANP</a:t>
                      </a:r>
                      <a:r>
                        <a:rPr lang="en-US" sz="1400" b="1" i="0" u="none" strike="noStrike" kern="1200">
                          <a:solidFill>
                            <a:schemeClr val="accent3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 </a:t>
                      </a:r>
                      <a:endParaRPr lang="en-US"/>
                    </a:p>
                  </a:txBody>
                  <a:tcPr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5785348"/>
                  </a:ext>
                </a:extLst>
              </a:tr>
              <a:tr h="295424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00" b="1">
                          <a:solidFill>
                            <a:schemeClr val="accent1"/>
                          </a:solidFill>
                          <a:effectLst/>
                        </a:rPr>
                        <a:t>10:25-10:35a</a:t>
                      </a:r>
                      <a:endParaRPr lang="en-US" sz="140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00" b="1">
                          <a:solidFill>
                            <a:schemeClr val="accent1"/>
                          </a:solidFill>
                          <a:effectLst/>
                        </a:rPr>
                        <a:t>Break </a:t>
                      </a:r>
                      <a:endParaRPr lang="en-US" sz="140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0538443"/>
                  </a:ext>
                </a:extLst>
              </a:tr>
              <a:tr h="2456688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1">
                          <a:solidFill>
                            <a:schemeClr val="accent1"/>
                          </a:solidFill>
                          <a:effectLst/>
                        </a:rPr>
                        <a:t>10:35-11:25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400" b="1" i="0" u="none" strike="noStrike" noProof="0">
                          <a:solidFill>
                            <a:schemeClr val="accent1"/>
                          </a:solidFill>
                          <a:effectLst/>
                          <a:latin typeface="Calibri"/>
                        </a:rPr>
                        <a:t>Birth Equity Teams Panel: Sharing Strategies that make a Difference 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400" b="1" i="0" u="none" strike="noStrike" kern="1200" noProof="0">
                          <a:solidFill>
                            <a:schemeClr val="accent3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Lori Stevenson, MSN, RNC-OB, C-ONQS, CNML, ASQ-SSBB</a:t>
                      </a:r>
                      <a:endParaRPr lang="en-US" sz="1400" b="1" i="0" u="none" strike="noStrike" kern="1200">
                        <a:solidFill>
                          <a:schemeClr val="accent3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lvl="0" algn="l" defTabSz="914400" rtl="0" eaLnBrk="1" latinLnBrk="0" hangingPunct="1">
                        <a:buNone/>
                      </a:pPr>
                      <a:r>
                        <a:rPr lang="en-US" sz="12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arnes Jewish Hospital Women &amp; Infants Center </a:t>
                      </a:r>
                      <a:endParaRPr lang="en-US" sz="1200" b="0" i="0" u="none" strike="noStrike" kern="1200" baseline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400" b="1" i="0" u="none" strike="noStrike" baseline="0" noProof="0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Ashley Polnitz, MSN, NE-BC, CLC</a:t>
                      </a:r>
                      <a:endParaRPr lang="en-US"/>
                    </a:p>
                    <a:p>
                      <a:pPr lvl="0">
                        <a:buNone/>
                      </a:pPr>
                      <a:r>
                        <a:rPr lang="en-US" sz="1400" b="1" i="0" u="none" strike="noStrike" baseline="0" noProof="0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Kyeshia Lewis, ILPQC Patient Partner</a:t>
                      </a:r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arle Foundation Hospital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400" b="1" i="0" u="none" strike="noStrike" kern="1200" baseline="0" noProof="0">
                          <a:solidFill>
                            <a:srgbClr val="F58366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eth Plunkett, MD, MPH</a:t>
                      </a:r>
                    </a:p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400" b="1" i="0" u="none" strike="noStrike" kern="1200" baseline="0">
                          <a:solidFill>
                            <a:srgbClr val="F583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standina (Dina) </a:t>
                      </a:r>
                      <a:r>
                        <a:rPr lang="en-US" sz="1400" b="1" i="0" u="none" strike="noStrike" kern="1200" baseline="0" err="1">
                          <a:solidFill>
                            <a:srgbClr val="F583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pogiannis</a:t>
                      </a:r>
                      <a:r>
                        <a:rPr lang="en-US" sz="1400" b="1" i="0" u="none" strike="noStrike" kern="1200" baseline="0">
                          <a:solidFill>
                            <a:srgbClr val="F583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MS, RN, RNC-OB </a:t>
                      </a:r>
                      <a:endParaRPr lang="en-US" sz="1400" b="1" i="0" u="none" strike="noStrike" kern="1200" baseline="0">
                        <a:solidFill>
                          <a:srgbClr val="F58366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deavor Health Evanston Hospital</a:t>
                      </a:r>
                    </a:p>
                    <a:p>
                      <a:pPr lvl="0">
                        <a:buNone/>
                      </a:pPr>
                      <a:r>
                        <a:rPr lang="en-US" sz="1400" b="1" i="0" u="none" strike="noStrike" noProof="0">
                          <a:solidFill>
                            <a:schemeClr val="accent3"/>
                          </a:solidFill>
                          <a:effectLst/>
                          <a:latin typeface="Calibri"/>
                        </a:rPr>
                        <a:t>Shelly Shallat, MD </a:t>
                      </a:r>
                    </a:p>
                    <a:p>
                      <a:pPr lvl="0">
                        <a:buNone/>
                      </a:pPr>
                      <a:r>
                        <a:rPr lang="en-US" sz="1400" b="1" i="0" u="none" strike="noStrike" kern="1200" noProof="0">
                          <a:solidFill>
                            <a:schemeClr val="accent3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rin Miller, BSN, RNC-MNN, PMH-C, CLS </a:t>
                      </a:r>
                      <a:endParaRPr lang="en-US"/>
                    </a:p>
                    <a:p>
                      <a:pPr lvl="0">
                        <a:buNone/>
                      </a:pPr>
                      <a:r>
                        <a:rPr lang="en-US" sz="12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SF Saint Francis Medical Cen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329581"/>
                  </a:ext>
                </a:extLst>
              </a:tr>
              <a:tr h="466459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1">
                          <a:solidFill>
                            <a:schemeClr val="accent1"/>
                          </a:solidFill>
                          <a:effectLst/>
                        </a:rPr>
                        <a:t>11:25-11:35a</a:t>
                      </a:r>
                      <a:endParaRPr lang="en-US" sz="1400" b="1"/>
                    </a:p>
                  </a:txBody>
                  <a:tcPr>
                    <a:solidFill>
                      <a:srgbClr val="E7E9EE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1" i="0" u="none" strike="noStrike" kern="1200" noProof="0">
                          <a:solidFill>
                            <a:schemeClr val="accent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QI Awards Ceremony </a:t>
                      </a:r>
                      <a:endParaRPr lang="en-US" sz="1400" b="1" i="0" u="none" strike="noStrike" kern="1200">
                        <a:solidFill>
                          <a:schemeClr val="accent1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3712781"/>
                  </a:ext>
                </a:extLst>
              </a:tr>
              <a:tr h="528653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1" i="0" u="none" strike="noStrike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11:35-12:15p</a:t>
                      </a:r>
                      <a:endParaRPr lang="en-US"/>
                    </a:p>
                  </a:txBody>
                  <a:tcPr>
                    <a:solidFill>
                      <a:srgbClr val="E7E9EE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1" i="0" u="none" strike="noStrike" kern="1200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Team Storyboard Session</a:t>
                      </a:r>
                      <a:endParaRPr lang="en-US"/>
                    </a:p>
                  </a:txBody>
                  <a:tcPr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1170871"/>
                  </a:ext>
                </a:extLst>
              </a:tr>
              <a:tr h="637493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00" b="1" i="0" u="none" strike="noStrike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12:15-12:45p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00" b="1" i="0" u="none" strike="noStrike" kern="1200" baseline="0" noProof="0">
                          <a:solidFill>
                            <a:srgbClr val="1C498B"/>
                          </a:solidFill>
                          <a:effectLst/>
                          <a:latin typeface="Calibri"/>
                        </a:rPr>
                        <a:t>Networking Lunch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54577397"/>
                  </a:ext>
                </a:extLst>
              </a:tr>
            </a:tbl>
          </a:graphicData>
        </a:graphic>
      </p:graphicFrame>
      <p:graphicFrame>
        <p:nvGraphicFramePr>
          <p:cNvPr id="22" name="Content Placeholder 21">
            <a:extLst>
              <a:ext uri="{FF2B5EF4-FFF2-40B4-BE49-F238E27FC236}">
                <a16:creationId xmlns:a16="http://schemas.microsoft.com/office/drawing/2014/main" id="{90AC4595-BFB4-D866-6CAA-47679C1BCC1F}"/>
              </a:ext>
            </a:extLst>
          </p:cNvPr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4245633303"/>
              </p:ext>
            </p:extLst>
          </p:nvPr>
        </p:nvGraphicFramePr>
        <p:xfrm>
          <a:off x="6002054" y="751561"/>
          <a:ext cx="6192345" cy="62569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43000">
                  <a:extLst>
                    <a:ext uri="{9D8B030D-6E8A-4147-A177-3AD203B41FA5}">
                      <a16:colId xmlns:a16="http://schemas.microsoft.com/office/drawing/2014/main" val="2542047838"/>
                    </a:ext>
                  </a:extLst>
                </a:gridCol>
                <a:gridCol w="5049345">
                  <a:extLst>
                    <a:ext uri="{9D8B030D-6E8A-4147-A177-3AD203B41FA5}">
                      <a16:colId xmlns:a16="http://schemas.microsoft.com/office/drawing/2014/main" val="315581152"/>
                    </a:ext>
                  </a:extLst>
                </a:gridCol>
              </a:tblGrid>
              <a:tr h="2735897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0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:45-1:45p</a:t>
                      </a:r>
                    </a:p>
                  </a:txBody>
                  <a:tcPr>
                    <a:solidFill>
                      <a:srgbClr val="CCCFDA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ase"/>
                      <a:r>
                        <a:rPr lang="en-US" sz="140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ngaging Patient / Community Partners to Optimize Birth Equity </a:t>
                      </a:r>
                      <a:endParaRPr lang="en-US"/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u="none" strike="noStrike" kern="1200" noProof="0">
                          <a:solidFill>
                            <a:srgbClr val="F58466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Brenda Reyes, RN, CLC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VP of Training and Curriculum, </a:t>
                      </a:r>
                      <a:r>
                        <a:rPr lang="en-US" sz="1200" b="0" i="0" u="none" strike="noStrike" kern="1200" baseline="0" noProof="0" err="1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HealthConnect</a:t>
                      </a:r>
                      <a:r>
                        <a:rPr lang="en-US" sz="12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One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u="none" strike="noStrike" kern="1200" noProof="0">
                          <a:solidFill>
                            <a:srgbClr val="F58466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amaris Montano, MPH, BSN, RN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rogram Coordinator, Maternal Child Health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Lake County Health Department and Community Health Center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u="none" strike="noStrike" kern="1200" noProof="0">
                          <a:solidFill>
                            <a:srgbClr val="F58466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Jennifer B. Rousseau, DNP, WHNP-BC, CNE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Nursing Director, Family Connects Chicago at Rush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u="none" strike="noStrike" kern="1200" noProof="0">
                          <a:solidFill>
                            <a:srgbClr val="F58466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Kathryn Kaintz Bender, BSN, RN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RN Manager, Family Connects Chicago at Rush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400" b="1" i="0" u="none" strike="noStrike" noProof="0">
                          <a:solidFill>
                            <a:srgbClr val="F58466"/>
                          </a:solidFill>
                          <a:effectLst/>
                          <a:latin typeface="Calibri"/>
                        </a:rPr>
                        <a:t>Marvella Ying, BSBA, CD, CBE</a:t>
                      </a:r>
                      <a:endParaRPr lang="en-US" sz="1400" b="0" i="0" u="none" strike="noStrike" noProof="0">
                        <a:solidFill>
                          <a:srgbClr val="F58466"/>
                        </a:solidFill>
                        <a:effectLst/>
                        <a:latin typeface="Calibri"/>
                      </a:endParaRP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oula and Founder, M-Brace Birthing LLC</a:t>
                      </a:r>
                    </a:p>
                    <a:p>
                      <a:pPr lvl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0" i="0" u="none" strike="noStrike" kern="1200" baseline="0" noProof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-facilitator, The Doula Lab</a:t>
                      </a:r>
                    </a:p>
                  </a:txBody>
                  <a:tcPr>
                    <a:solidFill>
                      <a:srgbClr val="CCC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6081986"/>
                  </a:ext>
                </a:extLst>
              </a:tr>
              <a:tr h="335986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0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:45-2:00p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ase"/>
                      <a:r>
                        <a:rPr lang="en-US" sz="140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nsition to Breakout Sessions/Break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0432076"/>
                  </a:ext>
                </a:extLst>
              </a:tr>
              <a:tr h="97596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0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:00- 2:45p </a:t>
                      </a:r>
                      <a:endParaRPr lang="en-US" sz="1400" b="1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rgbClr val="CCCFDA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ase"/>
                      <a:r>
                        <a:rPr lang="en-US" sz="1400" b="1">
                          <a:solidFill>
                            <a:schemeClr val="accent1"/>
                          </a:solidFill>
                          <a:effectLst/>
                        </a:rPr>
                        <a:t>B</a:t>
                      </a:r>
                      <a:r>
                        <a:rPr lang="en-US" sz="140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akout Session 1: Small Group Key Topic Discussions on Implementation Strategies  </a:t>
                      </a:r>
                    </a:p>
                    <a:p>
                      <a:pPr rtl="0" fontAlgn="base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-facilitated by IL perinatal network administrators, educators, providers and nurses</a:t>
                      </a:r>
                      <a:r>
                        <a:rPr lang="en-US" sz="1400">
                          <a:effectLst/>
                        </a:rPr>
                        <a:t>  </a:t>
                      </a:r>
                    </a:p>
                  </a:txBody>
                  <a:tcPr>
                    <a:solidFill>
                      <a:srgbClr val="CCC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496713"/>
                  </a:ext>
                </a:extLst>
              </a:tr>
              <a:tr h="335986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0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:45-3:00p 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ase"/>
                      <a:r>
                        <a:rPr lang="en-US" sz="140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nsition/Break 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516814"/>
                  </a:ext>
                </a:extLst>
              </a:tr>
              <a:tr h="975960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0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:00-3:45p</a:t>
                      </a:r>
                      <a:endParaRPr lang="en-US" sz="1400" b="1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rgbClr val="CCCFDA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ase"/>
                      <a:r>
                        <a:rPr lang="en-US" sz="140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eakout Session 2: Small Group Key Topic Discussions on Implementation Strategies </a:t>
                      </a:r>
                    </a:p>
                    <a:p>
                      <a:pPr rtl="0" fontAlgn="base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o-facilitated by IL perinatal network administrators, educators, providers, and nurses </a:t>
                      </a:r>
                    </a:p>
                  </a:txBody>
                  <a:tcPr>
                    <a:solidFill>
                      <a:srgbClr val="CCC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9608245"/>
                  </a:ext>
                </a:extLst>
              </a:tr>
              <a:tr h="767969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0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:45-4:00p </a:t>
                      </a:r>
                      <a:endParaRPr lang="en-US" sz="1400" b="1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rgbClr val="E7E9EE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ase"/>
                      <a:r>
                        <a:rPr lang="en-US" sz="140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rap-up and Next Steps in 2023 </a:t>
                      </a:r>
                      <a:endParaRPr lang="en-US" sz="1400"/>
                    </a:p>
                    <a:p>
                      <a:pPr rtl="0" fontAlgn="base"/>
                      <a:r>
                        <a:rPr lang="en-US" sz="1400" b="1" i="0" u="none" strike="noStrike" kern="1200">
                          <a:solidFill>
                            <a:schemeClr val="accent3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nn Borders, MD, MSc, MPH 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38543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60EC8A0-D429-73A7-4632-4E9A5872C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7" y="-145363"/>
            <a:ext cx="12207336" cy="888492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en-US" sz="3000">
                <a:solidFill>
                  <a:schemeClr val="accent3"/>
                </a:solidFill>
                <a:ea typeface="Lato Medium"/>
                <a:cs typeface="Calibri"/>
              </a:rPr>
              <a:t>ILPQC Face-to-Face 2024: Day #1 OB Agenda</a:t>
            </a:r>
            <a:endParaRPr lang="en-US" sz="3000">
              <a:solidFill>
                <a:schemeClr val="accent3"/>
              </a:solidFill>
              <a:ea typeface="Lato Medium"/>
            </a:endParaRPr>
          </a:p>
        </p:txBody>
      </p:sp>
    </p:spTree>
    <p:extLst>
      <p:ext uri="{BB962C8B-B14F-4D97-AF65-F5344CB8AC3E}">
        <p14:creationId xmlns:p14="http://schemas.microsoft.com/office/powerpoint/2010/main" val="117930978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0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71" name="Google Shape;4071;p430"/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2" name="Google Shape;4072;p430"/>
          <p:cNvSpPr/>
          <p:nvPr/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0">
                <a:srgbClr val="000000"/>
              </a:gs>
              <a:gs pos="8000">
                <a:srgbClr val="000000"/>
              </a:gs>
              <a:gs pos="100000">
                <a:srgbClr val="143668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3" name="Google Shape;4073;p430"/>
          <p:cNvSpPr/>
          <p:nvPr/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1C498B">
                  <a:alpha val="45882"/>
                </a:srgbClr>
              </a:gs>
              <a:gs pos="100000">
                <a:srgbClr val="1C498B">
                  <a:alpha val="45882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4" name="Google Shape;4074;p430"/>
          <p:cNvSpPr/>
          <p:nvPr/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0">
                <a:srgbClr val="1C498B">
                  <a:alpha val="28627"/>
                </a:srgbClr>
              </a:gs>
              <a:gs pos="2000">
                <a:srgbClr val="1C498B">
                  <a:alpha val="28627"/>
                </a:srgbClr>
              </a:gs>
              <a:gs pos="100000">
                <a:srgbClr val="000000">
                  <a:alpha val="29803"/>
                </a:srgbClr>
              </a:gs>
            </a:gsLst>
            <a:lin ang="7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5" name="Google Shape;4075;p430"/>
          <p:cNvSpPr/>
          <p:nvPr/>
        </p:nvSpPr>
        <p:spPr>
          <a:xfrm rot="-964587">
            <a:off x="-501737" y="969718"/>
            <a:ext cx="3900357" cy="4178958"/>
          </a:xfrm>
          <a:custGeom>
            <a:avLst/>
            <a:gdLst/>
            <a:ahLst/>
            <a:cxnLst/>
            <a:rect l="l" t="t" r="r" b="b"/>
            <a:pathLst>
              <a:path w="3900357" h="4178958" extrusionOk="0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0">
                <a:srgbClr val="000000">
                  <a:alpha val="0"/>
                </a:srgbClr>
              </a:gs>
              <a:gs pos="29000">
                <a:srgbClr val="000000">
                  <a:alpha val="0"/>
                </a:srgbClr>
              </a:gs>
              <a:gs pos="100000">
                <a:srgbClr val="1C498B">
                  <a:alpha val="42745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6" name="Google Shape;4076;p430"/>
          <p:cNvSpPr/>
          <p:nvPr/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7" name="Google Shape;4077;p430"/>
          <p:cNvSpPr txBox="1">
            <a:spLocks noGrp="1"/>
          </p:cNvSpPr>
          <p:nvPr>
            <p:ph type="title"/>
          </p:nvPr>
        </p:nvSpPr>
        <p:spPr>
          <a:xfrm>
            <a:off x="218160" y="965636"/>
            <a:ext cx="3394549" cy="3387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algn="r">
              <a:buClr>
                <a:srgbClr val="FFFFFF"/>
              </a:buClr>
              <a:buSzPts val="4000"/>
            </a:pPr>
            <a:r>
              <a:rPr lang="en-US" sz="4000"/>
              <a:t>PVB</a:t>
            </a:r>
            <a:br>
              <a:rPr lang="en-US" sz="4000"/>
            </a:br>
            <a:r>
              <a:rPr lang="en-US" sz="4000" i="1"/>
              <a:t>QI Excellence</a:t>
            </a:r>
            <a:br>
              <a:rPr lang="en-US" sz="4000" i="1"/>
            </a:br>
            <a:r>
              <a:rPr lang="en-US" sz="4000"/>
              <a:t>Award Criteria</a:t>
            </a:r>
            <a:endParaRPr sz="4000"/>
          </a:p>
        </p:txBody>
      </p:sp>
      <p:sp>
        <p:nvSpPr>
          <p:cNvPr id="4078" name="Google Shape;4078;p430"/>
          <p:cNvSpPr txBox="1">
            <a:spLocks noGrp="1"/>
          </p:cNvSpPr>
          <p:nvPr>
            <p:ph type="ftr" idx="11"/>
          </p:nvPr>
        </p:nvSpPr>
        <p:spPr>
          <a:xfrm rot="5400000">
            <a:off x="-1828800" y="2002536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rgbClr val="FFFFFF"/>
                </a:solidFill>
              </a:rPr>
              <a:t>Illinois Perinatal Quality Collaborative</a:t>
            </a:r>
            <a:endParaRPr/>
          </a:p>
        </p:txBody>
      </p:sp>
      <p:sp>
        <p:nvSpPr>
          <p:cNvPr id="4079" name="Google Shape;4079;p430"/>
          <p:cNvSpPr txBox="1">
            <a:spLocks noGrp="1"/>
          </p:cNvSpPr>
          <p:nvPr>
            <p:ph type="body" idx="1"/>
          </p:nvPr>
        </p:nvSpPr>
        <p:spPr>
          <a:xfrm>
            <a:off x="4194406" y="1455232"/>
            <a:ext cx="5099942" cy="5574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22860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SzPts val="2800"/>
              <a:buFont typeface="Arial "/>
              <a:buChar char="•"/>
            </a:pPr>
            <a:r>
              <a:rPr lang="en-US" b="1">
                <a:solidFill>
                  <a:schemeClr val="accent1"/>
                </a:solidFill>
              </a:rPr>
              <a:t>All data submitted</a:t>
            </a:r>
          </a:p>
          <a:p>
            <a:pPr marL="22860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SzPts val="2800"/>
              <a:buChar char="•"/>
            </a:pPr>
            <a:r>
              <a:rPr lang="en-US" b="1">
                <a:solidFill>
                  <a:schemeClr val="accent1"/>
                </a:solidFill>
              </a:rPr>
              <a:t>6 key structure measures in place</a:t>
            </a:r>
            <a:endParaRPr b="1">
              <a:solidFill>
                <a:schemeClr val="accent1"/>
              </a:solidFill>
            </a:endParaRPr>
          </a:p>
          <a:p>
            <a:pPr marL="22860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SzPts val="2800"/>
              <a:buChar char="•"/>
            </a:pPr>
            <a:r>
              <a:rPr lang="en-US" b="1">
                <a:solidFill>
                  <a:schemeClr val="accent1"/>
                </a:solidFill>
              </a:rPr>
              <a:t>Achieved all 3 process and outcome measures</a:t>
            </a:r>
            <a:endParaRPr b="1">
              <a:solidFill>
                <a:schemeClr val="accent1"/>
              </a:solidFill>
            </a:endParaRPr>
          </a:p>
          <a:p>
            <a:pPr marL="685800" lvl="1" indent="-228600" algn="l" rtl="0">
              <a:lnSpc>
                <a:spcPct val="90000"/>
              </a:lnSpc>
              <a:spcBef>
                <a:spcPts val="1500"/>
              </a:spcBef>
              <a:spcAft>
                <a:spcPts val="0"/>
              </a:spcAft>
              <a:buSzPts val="2800"/>
              <a:buChar char="•"/>
            </a:pPr>
            <a:r>
              <a:rPr lang="en-US" sz="2400" b="1">
                <a:solidFill>
                  <a:schemeClr val="accent1"/>
                </a:solidFill>
              </a:rPr>
              <a:t>≥ 80% of Providers and Nurses educated on ACOG/SMFM guidelines</a:t>
            </a:r>
            <a:endParaRPr sz="2400" b="1">
              <a:solidFill>
                <a:schemeClr val="accent1"/>
              </a:solidFill>
            </a:endParaRPr>
          </a:p>
          <a:p>
            <a:pPr marL="685800" lvl="1" indent="-228600">
              <a:lnSpc>
                <a:spcPct val="90000"/>
              </a:lnSpc>
              <a:spcBef>
                <a:spcPts val="1500"/>
              </a:spcBef>
              <a:buSzPts val="2800"/>
            </a:pPr>
            <a:r>
              <a:rPr lang="en-US" sz="2400" b="1">
                <a:solidFill>
                  <a:schemeClr val="accent1"/>
                </a:solidFill>
              </a:rPr>
              <a:t>≥ 70% of all NTSV C-Sections meeting ACOG/SMFM guidelines</a:t>
            </a:r>
          </a:p>
          <a:p>
            <a:pPr marL="685800" lvl="1" indent="-228600">
              <a:lnSpc>
                <a:spcPct val="90000"/>
              </a:lnSpc>
              <a:spcBef>
                <a:spcPts val="1500"/>
              </a:spcBef>
              <a:buSzPts val="2800"/>
            </a:pPr>
            <a:r>
              <a:rPr lang="en-US" sz="2400" b="1">
                <a:solidFill>
                  <a:schemeClr val="accent1"/>
                </a:solidFill>
              </a:rPr>
              <a:t>NTSV C-Section Rate ≤ 23.6%</a:t>
            </a:r>
          </a:p>
        </p:txBody>
      </p:sp>
      <p:sp>
        <p:nvSpPr>
          <p:cNvPr id="4080" name="Google Shape;4080;p430"/>
          <p:cNvSpPr txBox="1">
            <a:spLocks noGrp="1"/>
          </p:cNvSpPr>
          <p:nvPr>
            <p:ph type="sldNum" idx="12"/>
          </p:nvPr>
        </p:nvSpPr>
        <p:spPr>
          <a:xfrm>
            <a:off x="11704320" y="6455664"/>
            <a:ext cx="44805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rgbClr val="9CA5AE"/>
                </a:solidFill>
              </a:rPr>
              <a:t>30</a:t>
            </a:fld>
            <a:endParaRPr sz="1100">
              <a:solidFill>
                <a:srgbClr val="9CA5AE"/>
              </a:solidFill>
            </a:endParaRPr>
          </a:p>
        </p:txBody>
      </p:sp>
      <p:grpSp>
        <p:nvGrpSpPr>
          <p:cNvPr id="6" name="Google Shape;4299;p443">
            <a:extLst>
              <a:ext uri="{FF2B5EF4-FFF2-40B4-BE49-F238E27FC236}">
                <a16:creationId xmlns:a16="http://schemas.microsoft.com/office/drawing/2014/main" id="{1E563E47-4596-D2A9-B5C3-6A2785CC0635}"/>
              </a:ext>
            </a:extLst>
          </p:cNvPr>
          <p:cNvGrpSpPr/>
          <p:nvPr/>
        </p:nvGrpSpPr>
        <p:grpSpPr>
          <a:xfrm>
            <a:off x="9296000" y="2007903"/>
            <a:ext cx="2836870" cy="3845632"/>
            <a:chOff x="9160895" y="1436954"/>
            <a:chExt cx="2999430" cy="3845632"/>
          </a:xfrm>
        </p:grpSpPr>
        <p:pic>
          <p:nvPicPr>
            <p:cNvPr id="3" name="Google Shape;4300;p443" descr="Diagram&#10;&#10;Description automatically generated">
              <a:extLst>
                <a:ext uri="{FF2B5EF4-FFF2-40B4-BE49-F238E27FC236}">
                  <a16:creationId xmlns:a16="http://schemas.microsoft.com/office/drawing/2014/main" id="{9DB08B42-497B-DDB4-19DB-10FA3E4541FB}"/>
                </a:ext>
              </a:extLst>
            </p:cNvPr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160895" y="1436954"/>
              <a:ext cx="2999430" cy="384563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" name="Google Shape;4301;p443">
              <a:extLst>
                <a:ext uri="{FF2B5EF4-FFF2-40B4-BE49-F238E27FC236}">
                  <a16:creationId xmlns:a16="http://schemas.microsoft.com/office/drawing/2014/main" id="{F15AEFA4-AA68-A117-C958-DB0EEF47CD10}"/>
                </a:ext>
              </a:extLst>
            </p:cNvPr>
            <p:cNvSpPr/>
            <p:nvPr/>
          </p:nvSpPr>
          <p:spPr>
            <a:xfrm>
              <a:off x="10600479" y="2884025"/>
              <a:ext cx="771645" cy="1080303"/>
            </a:xfrm>
            <a:prstGeom prst="rect">
              <a:avLst/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Your H</a:t>
              </a: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" name="Google Shape;4302;p443">
              <a:extLst>
                <a:ext uri="{FF2B5EF4-FFF2-40B4-BE49-F238E27FC236}">
                  <a16:creationId xmlns:a16="http://schemas.microsoft.com/office/drawing/2014/main" id="{D5466739-E840-FC95-6665-3D91BEEA02D7}"/>
                </a:ext>
              </a:extLst>
            </p:cNvPr>
            <p:cNvSpPr/>
            <p:nvPr/>
          </p:nvSpPr>
          <p:spPr>
            <a:xfrm rot="5400000">
              <a:off x="10272529" y="2662176"/>
              <a:ext cx="771645" cy="1080303"/>
            </a:xfrm>
            <a:prstGeom prst="rect">
              <a:avLst/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" name="Google Shape;4303;p443">
            <a:extLst>
              <a:ext uri="{FF2B5EF4-FFF2-40B4-BE49-F238E27FC236}">
                <a16:creationId xmlns:a16="http://schemas.microsoft.com/office/drawing/2014/main" id="{9C5AC312-117A-1AEF-D019-567B59D9E006}"/>
              </a:ext>
            </a:extLst>
          </p:cNvPr>
          <p:cNvSpPr txBox="1"/>
          <p:nvPr/>
        </p:nvSpPr>
        <p:spPr>
          <a:xfrm>
            <a:off x="10166705" y="3436921"/>
            <a:ext cx="141789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Your Hospital's Name Here!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Google Shape;4077;p430">
            <a:extLst>
              <a:ext uri="{FF2B5EF4-FFF2-40B4-BE49-F238E27FC236}">
                <a16:creationId xmlns:a16="http://schemas.microsoft.com/office/drawing/2014/main" id="{59B5809D-8C36-DFD5-340F-56BFB0EB69B2}"/>
              </a:ext>
            </a:extLst>
          </p:cNvPr>
          <p:cNvSpPr txBox="1">
            <a:spLocks/>
          </p:cNvSpPr>
          <p:nvPr/>
        </p:nvSpPr>
        <p:spPr>
          <a:xfrm>
            <a:off x="4430931" y="334264"/>
            <a:ext cx="7378720" cy="1384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srgbClr val="FFFFFF"/>
              </a:buClr>
              <a:buSzPts val="4000"/>
            </a:pPr>
            <a:r>
              <a:rPr lang="en-US" sz="4000" kern="0">
                <a:solidFill>
                  <a:srgbClr val="F5668F"/>
                </a:solidFill>
              </a:rPr>
              <a:t>56% of PVB teams have already achieved QI Excellence!</a:t>
            </a:r>
          </a:p>
        </p:txBody>
      </p:sp>
    </p:spTree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49CB89-4DEA-1AC8-5693-1B763A8AC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193675"/>
            <a:ext cx="4048125" cy="1325563"/>
          </a:xfrm>
          <a:noFill/>
        </p:spPr>
        <p:txBody>
          <a:bodyPr/>
          <a:lstStyle/>
          <a:p>
            <a:r>
              <a:rPr lang="en-US"/>
              <a:t>PVB Next Step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728F33-76D6-1119-0DB1-05980186B32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1</a:t>
            </a:fld>
            <a:endParaRPr lang="en-US"/>
          </a:p>
        </p:txBody>
      </p:sp>
      <p:grpSp>
        <p:nvGrpSpPr>
          <p:cNvPr id="15" name="Group 2">
            <a:extLst>
              <a:ext uri="{FF2B5EF4-FFF2-40B4-BE49-F238E27FC236}">
                <a16:creationId xmlns:a16="http://schemas.microsoft.com/office/drawing/2014/main" id="{66064BD8-452F-CA7B-8D23-E9832023C3BB}"/>
              </a:ext>
            </a:extLst>
          </p:cNvPr>
          <p:cNvGrpSpPr/>
          <p:nvPr/>
        </p:nvGrpSpPr>
        <p:grpSpPr>
          <a:xfrm>
            <a:off x="8703067" y="2018344"/>
            <a:ext cx="3190018" cy="2815875"/>
            <a:chOff x="0" y="0"/>
            <a:chExt cx="6970587" cy="6184200"/>
          </a:xfrm>
        </p:grpSpPr>
        <p:pic>
          <p:nvPicPr>
            <p:cNvPr id="14" name="Picture 3">
              <a:extLst>
                <a:ext uri="{FF2B5EF4-FFF2-40B4-BE49-F238E27FC236}">
                  <a16:creationId xmlns:a16="http://schemas.microsoft.com/office/drawing/2014/main" id="{7569235E-2716-294E-48DA-06F2FFCE3F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31" r="7731"/>
            <a:stretch>
              <a:fillRect/>
            </a:stretch>
          </p:blipFill>
          <p:spPr>
            <a:xfrm>
              <a:off x="0" y="0"/>
              <a:ext cx="6970587" cy="6184200"/>
            </a:xfrm>
            <a:prstGeom prst="rect">
              <a:avLst/>
            </a:prstGeom>
          </p:spPr>
        </p:pic>
      </p:grpSp>
      <p:grpSp>
        <p:nvGrpSpPr>
          <p:cNvPr id="18" name="Group 4">
            <a:extLst>
              <a:ext uri="{FF2B5EF4-FFF2-40B4-BE49-F238E27FC236}">
                <a16:creationId xmlns:a16="http://schemas.microsoft.com/office/drawing/2014/main" id="{95673390-6FED-C369-D303-B5C1C05E9AD7}"/>
              </a:ext>
            </a:extLst>
          </p:cNvPr>
          <p:cNvGrpSpPr/>
          <p:nvPr/>
        </p:nvGrpSpPr>
        <p:grpSpPr>
          <a:xfrm>
            <a:off x="8599591" y="751"/>
            <a:ext cx="3402513" cy="1712793"/>
            <a:chOff x="0" y="0"/>
            <a:chExt cx="7433676" cy="3749436"/>
          </a:xfrm>
        </p:grpSpPr>
        <p:pic>
          <p:nvPicPr>
            <p:cNvPr id="17" name="Picture 5">
              <a:extLst>
                <a:ext uri="{FF2B5EF4-FFF2-40B4-BE49-F238E27FC236}">
                  <a16:creationId xmlns:a16="http://schemas.microsoft.com/office/drawing/2014/main" id="{17F7E7C5-9832-D680-2C81-E8D446275F8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6374" b="16374"/>
            <a:stretch>
              <a:fillRect/>
            </a:stretch>
          </p:blipFill>
          <p:spPr>
            <a:xfrm>
              <a:off x="0" y="0"/>
              <a:ext cx="7433676" cy="3749436"/>
            </a:xfrm>
            <a:prstGeom prst="rect">
              <a:avLst/>
            </a:prstGeom>
          </p:spPr>
        </p:pic>
      </p:grpSp>
      <p:grpSp>
        <p:nvGrpSpPr>
          <p:cNvPr id="21" name="Group 6">
            <a:extLst>
              <a:ext uri="{FF2B5EF4-FFF2-40B4-BE49-F238E27FC236}">
                <a16:creationId xmlns:a16="http://schemas.microsoft.com/office/drawing/2014/main" id="{CFBB2AD2-EA50-53F1-AA9B-299469FD9612}"/>
              </a:ext>
            </a:extLst>
          </p:cNvPr>
          <p:cNvGrpSpPr/>
          <p:nvPr/>
        </p:nvGrpSpPr>
        <p:grpSpPr>
          <a:xfrm>
            <a:off x="6338567" y="750"/>
            <a:ext cx="1901857" cy="2661744"/>
            <a:chOff x="0" y="0"/>
            <a:chExt cx="4146614" cy="5837838"/>
          </a:xfrm>
        </p:grpSpPr>
        <p:pic>
          <p:nvPicPr>
            <p:cNvPr id="20" name="Picture 7">
              <a:extLst>
                <a:ext uri="{FF2B5EF4-FFF2-40B4-BE49-F238E27FC236}">
                  <a16:creationId xmlns:a16="http://schemas.microsoft.com/office/drawing/2014/main" id="{DD30E9AE-9C9C-1B08-0363-4BC5648878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54" r="16254"/>
            <a:stretch>
              <a:fillRect/>
            </a:stretch>
          </p:blipFill>
          <p:spPr>
            <a:xfrm>
              <a:off x="0" y="0"/>
              <a:ext cx="4146614" cy="5837838"/>
            </a:xfrm>
            <a:prstGeom prst="rect">
              <a:avLst/>
            </a:prstGeom>
          </p:spPr>
        </p:pic>
      </p:grpSp>
      <p:grpSp>
        <p:nvGrpSpPr>
          <p:cNvPr id="24" name="Group 8">
            <a:extLst>
              <a:ext uri="{FF2B5EF4-FFF2-40B4-BE49-F238E27FC236}">
                <a16:creationId xmlns:a16="http://schemas.microsoft.com/office/drawing/2014/main" id="{84EC897D-7C8B-0A2B-3C2A-1987594DABA6}"/>
              </a:ext>
            </a:extLst>
          </p:cNvPr>
          <p:cNvGrpSpPr/>
          <p:nvPr/>
        </p:nvGrpSpPr>
        <p:grpSpPr>
          <a:xfrm>
            <a:off x="6338567" y="2979994"/>
            <a:ext cx="1901857" cy="1892324"/>
            <a:chOff x="0" y="0"/>
            <a:chExt cx="4146614" cy="4146598"/>
          </a:xfrm>
        </p:grpSpPr>
        <p:pic>
          <p:nvPicPr>
            <p:cNvPr id="23" name="Picture 9">
              <a:extLst>
                <a:ext uri="{FF2B5EF4-FFF2-40B4-BE49-F238E27FC236}">
                  <a16:creationId xmlns:a16="http://schemas.microsoft.com/office/drawing/2014/main" id="{91B050EF-AE0A-29E3-F950-E1CFFCA2905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499" r="12499"/>
            <a:stretch>
              <a:fillRect/>
            </a:stretch>
          </p:blipFill>
          <p:spPr>
            <a:xfrm>
              <a:off x="0" y="0"/>
              <a:ext cx="4146614" cy="4146598"/>
            </a:xfrm>
            <a:prstGeom prst="rect">
              <a:avLst/>
            </a:prstGeom>
          </p:spPr>
        </p:pic>
      </p:grpSp>
      <p:grpSp>
        <p:nvGrpSpPr>
          <p:cNvPr id="27" name="Group 10">
            <a:extLst>
              <a:ext uri="{FF2B5EF4-FFF2-40B4-BE49-F238E27FC236}">
                <a16:creationId xmlns:a16="http://schemas.microsoft.com/office/drawing/2014/main" id="{9CC4690B-C1A2-5CA7-F24C-93F8E0E8A122}"/>
              </a:ext>
            </a:extLst>
          </p:cNvPr>
          <p:cNvGrpSpPr/>
          <p:nvPr/>
        </p:nvGrpSpPr>
        <p:grpSpPr>
          <a:xfrm>
            <a:off x="6338567" y="5131062"/>
            <a:ext cx="2800537" cy="1599165"/>
            <a:chOff x="0" y="0"/>
            <a:chExt cx="6115424" cy="3503131"/>
          </a:xfrm>
        </p:grpSpPr>
        <p:pic>
          <p:nvPicPr>
            <p:cNvPr id="26" name="Picture 11">
              <a:extLst>
                <a:ext uri="{FF2B5EF4-FFF2-40B4-BE49-F238E27FC236}">
                  <a16:creationId xmlns:a16="http://schemas.microsoft.com/office/drawing/2014/main" id="{3A26C2E8-2775-064A-CBA1-7988852EFF4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810" b="11810"/>
            <a:stretch>
              <a:fillRect/>
            </a:stretch>
          </p:blipFill>
          <p:spPr>
            <a:xfrm>
              <a:off x="0" y="0"/>
              <a:ext cx="6115424" cy="3503131"/>
            </a:xfrm>
            <a:prstGeom prst="rect">
              <a:avLst/>
            </a:prstGeom>
          </p:spPr>
        </p:pic>
      </p:grpSp>
      <p:grpSp>
        <p:nvGrpSpPr>
          <p:cNvPr id="30" name="Group 12">
            <a:extLst>
              <a:ext uri="{FF2B5EF4-FFF2-40B4-BE49-F238E27FC236}">
                <a16:creationId xmlns:a16="http://schemas.microsoft.com/office/drawing/2014/main" id="{F4CF4141-7CAC-498E-3FC9-33FEE4EB1EDE}"/>
              </a:ext>
            </a:extLst>
          </p:cNvPr>
          <p:cNvGrpSpPr/>
          <p:nvPr/>
        </p:nvGrpSpPr>
        <p:grpSpPr>
          <a:xfrm>
            <a:off x="9519067" y="5131062"/>
            <a:ext cx="2473512" cy="1599165"/>
            <a:chOff x="0" y="0"/>
            <a:chExt cx="5404224" cy="3503131"/>
          </a:xfrm>
        </p:grpSpPr>
        <p:pic>
          <p:nvPicPr>
            <p:cNvPr id="29" name="Picture 13">
              <a:extLst>
                <a:ext uri="{FF2B5EF4-FFF2-40B4-BE49-F238E27FC236}">
                  <a16:creationId xmlns:a16="http://schemas.microsoft.com/office/drawing/2014/main" id="{33E2D674-AF2D-A66E-877E-DEC4B8CCDD1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785" b="6785"/>
            <a:stretch>
              <a:fillRect/>
            </a:stretch>
          </p:blipFill>
          <p:spPr>
            <a:xfrm>
              <a:off x="0" y="0"/>
              <a:ext cx="5404224" cy="3503131"/>
            </a:xfrm>
            <a:prstGeom prst="rect">
              <a:avLst/>
            </a:prstGeom>
          </p:spPr>
        </p:pic>
      </p:grp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975C3B-70E2-FCB8-F337-59004ABAFD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90500" y="1333500"/>
            <a:ext cx="5905500" cy="4351338"/>
          </a:xfrm>
        </p:spPr>
        <p:txBody>
          <a:bodyPr/>
          <a:lstStyle/>
          <a:p>
            <a:r>
              <a:rPr lang="en-US" sz="2800" b="1" dirty="0"/>
              <a:t>Our goal is to help all PVB teams achieve QI Excellence and sustain PVB progress through...</a:t>
            </a:r>
          </a:p>
          <a:p>
            <a:pPr lvl="1">
              <a:buFont typeface="Wingdings"/>
              <a:buChar char="q"/>
            </a:pPr>
            <a:r>
              <a:rPr lang="en-US" sz="2400" dirty="0"/>
              <a:t>PVB Sustainability Plans</a:t>
            </a:r>
          </a:p>
          <a:p>
            <a:pPr lvl="1">
              <a:buFont typeface="Wingdings"/>
              <a:buChar char="q"/>
            </a:pPr>
            <a:r>
              <a:rPr lang="en-US" sz="2400" dirty="0"/>
              <a:t>Reducing NTSV C-Section Rate Disparity Gap</a:t>
            </a:r>
          </a:p>
          <a:p>
            <a:pPr lvl="1">
              <a:buFont typeface="Wingdings"/>
              <a:buChar char="q"/>
            </a:pPr>
            <a:r>
              <a:rPr lang="en-US" sz="2400" dirty="0"/>
              <a:t>Provider Buy-In</a:t>
            </a:r>
          </a:p>
          <a:p>
            <a:pPr lvl="1">
              <a:buFont typeface="Wingdings"/>
              <a:buChar char="q"/>
            </a:pPr>
            <a:r>
              <a:rPr lang="en-US" sz="2400" dirty="0"/>
              <a:t>Connecting with Coaches</a:t>
            </a:r>
          </a:p>
          <a:p>
            <a:pPr lvl="1">
              <a:buFont typeface="Wingdings"/>
              <a:buChar char="q"/>
            </a:pPr>
            <a:r>
              <a:rPr lang="en-US" sz="2400" dirty="0"/>
              <a:t>30-60-90-day plans</a:t>
            </a:r>
          </a:p>
          <a:p>
            <a:pPr lvl="1">
              <a:buFont typeface="Wingdings"/>
              <a:buChar char="q"/>
            </a:pPr>
            <a:r>
              <a:rPr lang="en-US" sz="2400" dirty="0"/>
              <a:t>QI Calls with ILPQC </a:t>
            </a:r>
          </a:p>
        </p:txBody>
      </p:sp>
    </p:spTree>
    <p:extLst>
      <p:ext uri="{BB962C8B-B14F-4D97-AF65-F5344CB8AC3E}">
        <p14:creationId xmlns:p14="http://schemas.microsoft.com/office/powerpoint/2010/main" val="99744644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6" name="Google Shape;4086;p431"/>
          <p:cNvSpPr txBox="1">
            <a:spLocks noGrp="1"/>
          </p:cNvSpPr>
          <p:nvPr>
            <p:ph type="title"/>
          </p:nvPr>
        </p:nvSpPr>
        <p:spPr>
          <a:xfrm>
            <a:off x="-1325255" y="713301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Birth Equity Initiative</a:t>
            </a:r>
            <a:endParaRPr/>
          </a:p>
        </p:txBody>
      </p:sp>
      <p:sp>
        <p:nvSpPr>
          <p:cNvPr id="4087" name="Google Shape;4087;p431"/>
          <p:cNvSpPr txBox="1"/>
          <p:nvPr/>
        </p:nvSpPr>
        <p:spPr>
          <a:xfrm>
            <a:off x="1271039" y="2729930"/>
            <a:ext cx="5329671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en-US" sz="2400">
                <a:solidFill>
                  <a:schemeClr val="dk1"/>
                </a:solidFill>
                <a:latin typeface="Calibri"/>
                <a:cs typeface="Calibri"/>
                <a:sym typeface="Calibri"/>
              </a:rPr>
              <a:t>Working together to implement actionable strategies that sustain Birth Equity work</a:t>
            </a:r>
            <a:endParaRPr lang="en-US">
              <a:solidFill>
                <a:schemeClr val="dk1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None/>
            </a:pPr>
            <a:endParaRPr sz="2400" b="0" i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2BE4323-4474-ADDD-63E9-4E0CF40FFE6F}"/>
              </a:ext>
            </a:extLst>
          </p:cNvPr>
          <p:cNvSpPr txBox="1"/>
          <p:nvPr/>
        </p:nvSpPr>
        <p:spPr>
          <a:xfrm>
            <a:off x="8040125" y="4932147"/>
            <a:ext cx="3318111" cy="70788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solidFill>
                  <a:schemeClr val="accent1"/>
                </a:solidFill>
                <a:cs typeface="Arial"/>
              </a:rPr>
              <a:t>Launched June 2021</a:t>
            </a:r>
          </a:p>
          <a:p>
            <a:r>
              <a:rPr lang="en-US" sz="2000" b="1">
                <a:solidFill>
                  <a:schemeClr val="accent1"/>
                </a:solidFill>
                <a:cs typeface="Arial"/>
              </a:rPr>
              <a:t>75 participating hospitals</a:t>
            </a:r>
          </a:p>
        </p:txBody>
      </p:sp>
    </p:spTree>
    <p:extLst>
      <p:ext uri="{BB962C8B-B14F-4D97-AF65-F5344CB8AC3E}">
        <p14:creationId xmlns:p14="http://schemas.microsoft.com/office/powerpoint/2010/main" val="214222718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894272" y="2044580"/>
            <a:ext cx="1593182" cy="1593182"/>
            <a:chOff x="0" y="0"/>
            <a:chExt cx="812800" cy="812800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7F00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5" name="Group 5"/>
          <p:cNvGrpSpPr/>
          <p:nvPr/>
        </p:nvGrpSpPr>
        <p:grpSpPr>
          <a:xfrm>
            <a:off x="1066165" y="2216474"/>
            <a:ext cx="1249395" cy="1249395"/>
            <a:chOff x="0" y="0"/>
            <a:chExt cx="812800" cy="812800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73486" lvl="1" indent="-136744" algn="ctr">
                <a:lnSpc>
                  <a:spcPts val="1773"/>
                </a:lnSpc>
                <a:buFont typeface="Arial"/>
                <a:buChar char="•"/>
              </a:pPr>
              <a:endParaRPr sz="800"/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2656327" y="2044580"/>
            <a:ext cx="1593182" cy="1593182"/>
            <a:chOff x="0" y="0"/>
            <a:chExt cx="812800" cy="812800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4FC25B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11" name="Group 11"/>
          <p:cNvGrpSpPr/>
          <p:nvPr/>
        </p:nvGrpSpPr>
        <p:grpSpPr>
          <a:xfrm>
            <a:off x="2828220" y="2216474"/>
            <a:ext cx="1249395" cy="1249395"/>
            <a:chOff x="0" y="0"/>
            <a:chExt cx="812800" cy="812800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13" name="TextBox 13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14" name="Group 14"/>
          <p:cNvGrpSpPr/>
          <p:nvPr/>
        </p:nvGrpSpPr>
        <p:grpSpPr>
          <a:xfrm>
            <a:off x="4418382" y="2044580"/>
            <a:ext cx="1593182" cy="1593182"/>
            <a:chOff x="0" y="0"/>
            <a:chExt cx="812800" cy="812800"/>
          </a:xfrm>
        </p:grpSpPr>
        <p:sp>
          <p:nvSpPr>
            <p:cNvPr id="15" name="Freeform 15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AD58FE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16" name="TextBox 16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17" name="Group 17"/>
          <p:cNvGrpSpPr/>
          <p:nvPr/>
        </p:nvGrpSpPr>
        <p:grpSpPr>
          <a:xfrm>
            <a:off x="4590275" y="2216474"/>
            <a:ext cx="1249395" cy="1249395"/>
            <a:chOff x="0" y="0"/>
            <a:chExt cx="812800" cy="812800"/>
          </a:xfrm>
        </p:grpSpPr>
        <p:sp>
          <p:nvSpPr>
            <p:cNvPr id="18" name="Freeform 18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19" name="TextBox 19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20" name="Group 20"/>
          <p:cNvGrpSpPr/>
          <p:nvPr/>
        </p:nvGrpSpPr>
        <p:grpSpPr>
          <a:xfrm>
            <a:off x="6185207" y="2049351"/>
            <a:ext cx="1583641" cy="1583641"/>
            <a:chOff x="0" y="0"/>
            <a:chExt cx="812800" cy="812800"/>
          </a:xfrm>
        </p:grpSpPr>
        <p:sp>
          <p:nvSpPr>
            <p:cNvPr id="21" name="Freeform 21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8EFE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22" name="TextBox 22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23" name="Group 23"/>
          <p:cNvGrpSpPr/>
          <p:nvPr/>
        </p:nvGrpSpPr>
        <p:grpSpPr>
          <a:xfrm>
            <a:off x="6352330" y="2216474"/>
            <a:ext cx="1249395" cy="1249395"/>
            <a:chOff x="0" y="0"/>
            <a:chExt cx="812800" cy="812800"/>
          </a:xfrm>
        </p:grpSpPr>
        <p:sp>
          <p:nvSpPr>
            <p:cNvPr id="24" name="Freeform 24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25" name="TextBox 25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26" name="Group 26"/>
          <p:cNvGrpSpPr/>
          <p:nvPr/>
        </p:nvGrpSpPr>
        <p:grpSpPr>
          <a:xfrm>
            <a:off x="7947262" y="2049351"/>
            <a:ext cx="1583641" cy="1583641"/>
            <a:chOff x="0" y="0"/>
            <a:chExt cx="812800" cy="812800"/>
          </a:xfrm>
        </p:grpSpPr>
        <p:sp>
          <p:nvSpPr>
            <p:cNvPr id="27" name="Freeform 27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D85BC3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28" name="TextBox 28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29" name="Group 29"/>
          <p:cNvGrpSpPr/>
          <p:nvPr/>
        </p:nvGrpSpPr>
        <p:grpSpPr>
          <a:xfrm>
            <a:off x="8114385" y="2216474"/>
            <a:ext cx="1249395" cy="1249395"/>
            <a:chOff x="0" y="0"/>
            <a:chExt cx="812800" cy="812800"/>
          </a:xfrm>
        </p:grpSpPr>
        <p:sp>
          <p:nvSpPr>
            <p:cNvPr id="30" name="Freeform 30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31" name="TextBox 31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32" name="Group 32"/>
          <p:cNvGrpSpPr/>
          <p:nvPr/>
        </p:nvGrpSpPr>
        <p:grpSpPr>
          <a:xfrm>
            <a:off x="9709316" y="2049351"/>
            <a:ext cx="1583641" cy="1583641"/>
            <a:chOff x="0" y="0"/>
            <a:chExt cx="812800" cy="812800"/>
          </a:xfrm>
        </p:grpSpPr>
        <p:sp>
          <p:nvSpPr>
            <p:cNvPr id="33" name="Freeform 33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E0D905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34" name="TextBox 34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35" name="Group 35"/>
          <p:cNvGrpSpPr/>
          <p:nvPr/>
        </p:nvGrpSpPr>
        <p:grpSpPr>
          <a:xfrm>
            <a:off x="9876439" y="2216474"/>
            <a:ext cx="1249395" cy="1249395"/>
            <a:chOff x="0" y="0"/>
            <a:chExt cx="812800" cy="812800"/>
          </a:xfrm>
        </p:grpSpPr>
        <p:sp>
          <p:nvSpPr>
            <p:cNvPr id="36" name="Freeform 36"/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37" name="TextBox 37"/>
            <p:cNvSpPr txBox="1"/>
            <p:nvPr/>
          </p:nvSpPr>
          <p:spPr>
            <a:xfrm>
              <a:off x="76200" y="38100"/>
              <a:ext cx="660400" cy="6985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sp>
        <p:nvSpPr>
          <p:cNvPr id="38" name="Freeform 38"/>
          <p:cNvSpPr/>
          <p:nvPr/>
        </p:nvSpPr>
        <p:spPr>
          <a:xfrm>
            <a:off x="-536446" y="5954940"/>
            <a:ext cx="1072891" cy="434521"/>
          </a:xfrm>
          <a:custGeom>
            <a:avLst/>
            <a:gdLst/>
            <a:ahLst/>
            <a:cxnLst/>
            <a:rect l="l" t="t" r="r" b="b"/>
            <a:pathLst>
              <a:path w="1609337" h="651782">
                <a:moveTo>
                  <a:pt x="0" y="0"/>
                </a:moveTo>
                <a:lnTo>
                  <a:pt x="1609338" y="0"/>
                </a:lnTo>
                <a:lnTo>
                  <a:pt x="1609338" y="651782"/>
                </a:lnTo>
                <a:lnTo>
                  <a:pt x="0" y="651782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39" name="Freeform 39"/>
          <p:cNvSpPr/>
          <p:nvPr/>
        </p:nvSpPr>
        <p:spPr>
          <a:xfrm>
            <a:off x="11495627" y="-696374"/>
            <a:ext cx="1392747" cy="1392747"/>
          </a:xfrm>
          <a:custGeom>
            <a:avLst/>
            <a:gdLst/>
            <a:ahLst/>
            <a:cxnLst/>
            <a:rect l="l" t="t" r="r" b="b"/>
            <a:pathLst>
              <a:path w="2089120" h="2089120">
                <a:moveTo>
                  <a:pt x="0" y="0"/>
                </a:moveTo>
                <a:lnTo>
                  <a:pt x="2089120" y="0"/>
                </a:lnTo>
                <a:lnTo>
                  <a:pt x="2089120" y="2089120"/>
                </a:lnTo>
                <a:lnTo>
                  <a:pt x="0" y="208912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40" name="Freeform 40"/>
          <p:cNvSpPr/>
          <p:nvPr/>
        </p:nvSpPr>
        <p:spPr>
          <a:xfrm>
            <a:off x="-1970900" y="-1403915"/>
            <a:ext cx="3250207" cy="3448495"/>
          </a:xfrm>
          <a:custGeom>
            <a:avLst/>
            <a:gdLst/>
            <a:ahLst/>
            <a:cxnLst/>
            <a:rect l="l" t="t" r="r" b="b"/>
            <a:pathLst>
              <a:path w="4875310" h="5172743">
                <a:moveTo>
                  <a:pt x="0" y="0"/>
                </a:moveTo>
                <a:lnTo>
                  <a:pt x="4875311" y="0"/>
                </a:lnTo>
                <a:lnTo>
                  <a:pt x="4875311" y="5172743"/>
                </a:lnTo>
                <a:lnTo>
                  <a:pt x="0" y="517274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41" name="Freeform 41"/>
          <p:cNvSpPr/>
          <p:nvPr/>
        </p:nvSpPr>
        <p:spPr>
          <a:xfrm rot="10035146">
            <a:off x="10566897" y="5133753"/>
            <a:ext cx="3250207" cy="3448495"/>
          </a:xfrm>
          <a:custGeom>
            <a:avLst/>
            <a:gdLst/>
            <a:ahLst/>
            <a:cxnLst/>
            <a:rect l="l" t="t" r="r" b="b"/>
            <a:pathLst>
              <a:path w="4875310" h="5172743">
                <a:moveTo>
                  <a:pt x="0" y="0"/>
                </a:moveTo>
                <a:lnTo>
                  <a:pt x="4875310" y="0"/>
                </a:lnTo>
                <a:lnTo>
                  <a:pt x="4875310" y="5172744"/>
                </a:lnTo>
                <a:lnTo>
                  <a:pt x="0" y="5172744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alphaModFix amt="50000"/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grpSp>
        <p:nvGrpSpPr>
          <p:cNvPr id="42" name="Group 42"/>
          <p:cNvGrpSpPr/>
          <p:nvPr/>
        </p:nvGrpSpPr>
        <p:grpSpPr>
          <a:xfrm>
            <a:off x="1524411" y="3501588"/>
            <a:ext cx="332904" cy="409729"/>
            <a:chOff x="0" y="0"/>
            <a:chExt cx="660400" cy="812800"/>
          </a:xfrm>
        </p:grpSpPr>
        <p:sp>
          <p:nvSpPr>
            <p:cNvPr id="43" name="Freeform 43"/>
            <p:cNvSpPr/>
            <p:nvPr/>
          </p:nvSpPr>
          <p:spPr>
            <a:xfrm>
              <a:off x="0" y="0"/>
              <a:ext cx="660400" cy="812800"/>
            </a:xfrm>
            <a:custGeom>
              <a:avLst/>
              <a:gdLst/>
              <a:ahLst/>
              <a:cxnLst/>
              <a:rect l="l" t="t" r="r" b="b"/>
              <a:pathLst>
                <a:path w="660400" h="812800">
                  <a:moveTo>
                    <a:pt x="220252" y="793731"/>
                  </a:moveTo>
                  <a:cubicBezTo>
                    <a:pt x="254109" y="805245"/>
                    <a:pt x="292600" y="812800"/>
                    <a:pt x="330378" y="812800"/>
                  </a:cubicBezTo>
                  <a:cubicBezTo>
                    <a:pt x="368157" y="812800"/>
                    <a:pt x="404509" y="806323"/>
                    <a:pt x="438009" y="794809"/>
                  </a:cubicBezTo>
                  <a:cubicBezTo>
                    <a:pt x="438723" y="794450"/>
                    <a:pt x="439435" y="794450"/>
                    <a:pt x="440148" y="794090"/>
                  </a:cubicBezTo>
                  <a:cubicBezTo>
                    <a:pt x="565955" y="748035"/>
                    <a:pt x="658618" y="626421"/>
                    <a:pt x="660400" y="484298"/>
                  </a:cubicBezTo>
                  <a:lnTo>
                    <a:pt x="660400" y="0"/>
                  </a:lnTo>
                  <a:lnTo>
                    <a:pt x="0" y="0"/>
                  </a:lnTo>
                  <a:lnTo>
                    <a:pt x="0" y="483939"/>
                  </a:lnTo>
                  <a:cubicBezTo>
                    <a:pt x="1782" y="627140"/>
                    <a:pt x="93019" y="748755"/>
                    <a:pt x="220252" y="793731"/>
                  </a:cubicBezTo>
                  <a:close/>
                </a:path>
              </a:pathLst>
            </a:custGeom>
            <a:solidFill>
              <a:srgbClr val="FF7F00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44" name="TextBox 44"/>
            <p:cNvSpPr txBox="1"/>
            <p:nvPr/>
          </p:nvSpPr>
          <p:spPr>
            <a:xfrm>
              <a:off x="0" y="-38100"/>
              <a:ext cx="660400" cy="723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45" name="Group 45"/>
          <p:cNvGrpSpPr/>
          <p:nvPr/>
        </p:nvGrpSpPr>
        <p:grpSpPr>
          <a:xfrm>
            <a:off x="3286465" y="3501588"/>
            <a:ext cx="332904" cy="409729"/>
            <a:chOff x="0" y="0"/>
            <a:chExt cx="660400" cy="812800"/>
          </a:xfrm>
        </p:grpSpPr>
        <p:sp>
          <p:nvSpPr>
            <p:cNvPr id="46" name="Freeform 46"/>
            <p:cNvSpPr/>
            <p:nvPr/>
          </p:nvSpPr>
          <p:spPr>
            <a:xfrm>
              <a:off x="0" y="0"/>
              <a:ext cx="660400" cy="812800"/>
            </a:xfrm>
            <a:custGeom>
              <a:avLst/>
              <a:gdLst/>
              <a:ahLst/>
              <a:cxnLst/>
              <a:rect l="l" t="t" r="r" b="b"/>
              <a:pathLst>
                <a:path w="660400" h="812800">
                  <a:moveTo>
                    <a:pt x="220252" y="793731"/>
                  </a:moveTo>
                  <a:cubicBezTo>
                    <a:pt x="254109" y="805245"/>
                    <a:pt x="292600" y="812800"/>
                    <a:pt x="330378" y="812800"/>
                  </a:cubicBezTo>
                  <a:cubicBezTo>
                    <a:pt x="368157" y="812800"/>
                    <a:pt x="404509" y="806323"/>
                    <a:pt x="438009" y="794809"/>
                  </a:cubicBezTo>
                  <a:cubicBezTo>
                    <a:pt x="438723" y="794450"/>
                    <a:pt x="439435" y="794450"/>
                    <a:pt x="440148" y="794090"/>
                  </a:cubicBezTo>
                  <a:cubicBezTo>
                    <a:pt x="565955" y="748035"/>
                    <a:pt x="658618" y="626421"/>
                    <a:pt x="660400" y="484298"/>
                  </a:cubicBezTo>
                  <a:lnTo>
                    <a:pt x="660400" y="0"/>
                  </a:lnTo>
                  <a:lnTo>
                    <a:pt x="0" y="0"/>
                  </a:lnTo>
                  <a:lnTo>
                    <a:pt x="0" y="483939"/>
                  </a:lnTo>
                  <a:cubicBezTo>
                    <a:pt x="1782" y="627140"/>
                    <a:pt x="93019" y="748755"/>
                    <a:pt x="220252" y="793731"/>
                  </a:cubicBezTo>
                  <a:close/>
                </a:path>
              </a:pathLst>
            </a:custGeom>
            <a:solidFill>
              <a:srgbClr val="4FC25B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47" name="TextBox 47"/>
            <p:cNvSpPr txBox="1"/>
            <p:nvPr/>
          </p:nvSpPr>
          <p:spPr>
            <a:xfrm>
              <a:off x="0" y="-38100"/>
              <a:ext cx="660400" cy="723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48" name="Group 48"/>
          <p:cNvGrpSpPr/>
          <p:nvPr/>
        </p:nvGrpSpPr>
        <p:grpSpPr>
          <a:xfrm>
            <a:off x="5048521" y="3501588"/>
            <a:ext cx="332904" cy="409729"/>
            <a:chOff x="0" y="0"/>
            <a:chExt cx="660400" cy="812800"/>
          </a:xfrm>
        </p:grpSpPr>
        <p:sp>
          <p:nvSpPr>
            <p:cNvPr id="49" name="Freeform 49"/>
            <p:cNvSpPr/>
            <p:nvPr/>
          </p:nvSpPr>
          <p:spPr>
            <a:xfrm>
              <a:off x="0" y="0"/>
              <a:ext cx="660400" cy="812800"/>
            </a:xfrm>
            <a:custGeom>
              <a:avLst/>
              <a:gdLst/>
              <a:ahLst/>
              <a:cxnLst/>
              <a:rect l="l" t="t" r="r" b="b"/>
              <a:pathLst>
                <a:path w="660400" h="812800">
                  <a:moveTo>
                    <a:pt x="220252" y="793731"/>
                  </a:moveTo>
                  <a:cubicBezTo>
                    <a:pt x="254109" y="805245"/>
                    <a:pt x="292600" y="812800"/>
                    <a:pt x="330378" y="812800"/>
                  </a:cubicBezTo>
                  <a:cubicBezTo>
                    <a:pt x="368157" y="812800"/>
                    <a:pt x="404509" y="806323"/>
                    <a:pt x="438009" y="794809"/>
                  </a:cubicBezTo>
                  <a:cubicBezTo>
                    <a:pt x="438723" y="794450"/>
                    <a:pt x="439435" y="794450"/>
                    <a:pt x="440148" y="794090"/>
                  </a:cubicBezTo>
                  <a:cubicBezTo>
                    <a:pt x="565955" y="748035"/>
                    <a:pt x="658618" y="626421"/>
                    <a:pt x="660400" y="484298"/>
                  </a:cubicBezTo>
                  <a:lnTo>
                    <a:pt x="660400" y="0"/>
                  </a:lnTo>
                  <a:lnTo>
                    <a:pt x="0" y="0"/>
                  </a:lnTo>
                  <a:lnTo>
                    <a:pt x="0" y="483939"/>
                  </a:lnTo>
                  <a:cubicBezTo>
                    <a:pt x="1782" y="627140"/>
                    <a:pt x="93019" y="748755"/>
                    <a:pt x="220252" y="793731"/>
                  </a:cubicBezTo>
                  <a:close/>
                </a:path>
              </a:pathLst>
            </a:custGeom>
            <a:solidFill>
              <a:srgbClr val="AD58FE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50" name="TextBox 50"/>
            <p:cNvSpPr txBox="1"/>
            <p:nvPr/>
          </p:nvSpPr>
          <p:spPr>
            <a:xfrm>
              <a:off x="0" y="-38100"/>
              <a:ext cx="660400" cy="723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51" name="Group 51"/>
          <p:cNvGrpSpPr/>
          <p:nvPr/>
        </p:nvGrpSpPr>
        <p:grpSpPr>
          <a:xfrm>
            <a:off x="6810575" y="3501588"/>
            <a:ext cx="332904" cy="409729"/>
            <a:chOff x="0" y="0"/>
            <a:chExt cx="660400" cy="812800"/>
          </a:xfrm>
        </p:grpSpPr>
        <p:sp>
          <p:nvSpPr>
            <p:cNvPr id="52" name="Freeform 52"/>
            <p:cNvSpPr/>
            <p:nvPr/>
          </p:nvSpPr>
          <p:spPr>
            <a:xfrm>
              <a:off x="0" y="0"/>
              <a:ext cx="660400" cy="812800"/>
            </a:xfrm>
            <a:custGeom>
              <a:avLst/>
              <a:gdLst/>
              <a:ahLst/>
              <a:cxnLst/>
              <a:rect l="l" t="t" r="r" b="b"/>
              <a:pathLst>
                <a:path w="660400" h="812800">
                  <a:moveTo>
                    <a:pt x="220252" y="793731"/>
                  </a:moveTo>
                  <a:cubicBezTo>
                    <a:pt x="254109" y="805245"/>
                    <a:pt x="292600" y="812800"/>
                    <a:pt x="330378" y="812800"/>
                  </a:cubicBezTo>
                  <a:cubicBezTo>
                    <a:pt x="368157" y="812800"/>
                    <a:pt x="404509" y="806323"/>
                    <a:pt x="438009" y="794809"/>
                  </a:cubicBezTo>
                  <a:cubicBezTo>
                    <a:pt x="438723" y="794450"/>
                    <a:pt x="439435" y="794450"/>
                    <a:pt x="440148" y="794090"/>
                  </a:cubicBezTo>
                  <a:cubicBezTo>
                    <a:pt x="565955" y="748035"/>
                    <a:pt x="658618" y="626421"/>
                    <a:pt x="660400" y="484298"/>
                  </a:cubicBezTo>
                  <a:lnTo>
                    <a:pt x="660400" y="0"/>
                  </a:lnTo>
                  <a:lnTo>
                    <a:pt x="0" y="0"/>
                  </a:lnTo>
                  <a:lnTo>
                    <a:pt x="0" y="483939"/>
                  </a:lnTo>
                  <a:cubicBezTo>
                    <a:pt x="1782" y="627140"/>
                    <a:pt x="93019" y="748755"/>
                    <a:pt x="220252" y="793731"/>
                  </a:cubicBezTo>
                  <a:close/>
                </a:path>
              </a:pathLst>
            </a:custGeom>
            <a:solidFill>
              <a:srgbClr val="008EFE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53" name="TextBox 53"/>
            <p:cNvSpPr txBox="1"/>
            <p:nvPr/>
          </p:nvSpPr>
          <p:spPr>
            <a:xfrm>
              <a:off x="0" y="-38100"/>
              <a:ext cx="660400" cy="723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54" name="Group 54"/>
          <p:cNvGrpSpPr/>
          <p:nvPr/>
        </p:nvGrpSpPr>
        <p:grpSpPr>
          <a:xfrm>
            <a:off x="8572630" y="3501588"/>
            <a:ext cx="332904" cy="409729"/>
            <a:chOff x="0" y="0"/>
            <a:chExt cx="660400" cy="812800"/>
          </a:xfrm>
        </p:grpSpPr>
        <p:sp>
          <p:nvSpPr>
            <p:cNvPr id="55" name="Freeform 55"/>
            <p:cNvSpPr/>
            <p:nvPr/>
          </p:nvSpPr>
          <p:spPr>
            <a:xfrm>
              <a:off x="0" y="0"/>
              <a:ext cx="660400" cy="812800"/>
            </a:xfrm>
            <a:custGeom>
              <a:avLst/>
              <a:gdLst/>
              <a:ahLst/>
              <a:cxnLst/>
              <a:rect l="l" t="t" r="r" b="b"/>
              <a:pathLst>
                <a:path w="660400" h="812800">
                  <a:moveTo>
                    <a:pt x="220252" y="793731"/>
                  </a:moveTo>
                  <a:cubicBezTo>
                    <a:pt x="254109" y="805245"/>
                    <a:pt x="292600" y="812800"/>
                    <a:pt x="330378" y="812800"/>
                  </a:cubicBezTo>
                  <a:cubicBezTo>
                    <a:pt x="368157" y="812800"/>
                    <a:pt x="404509" y="806323"/>
                    <a:pt x="438009" y="794809"/>
                  </a:cubicBezTo>
                  <a:cubicBezTo>
                    <a:pt x="438723" y="794450"/>
                    <a:pt x="439435" y="794450"/>
                    <a:pt x="440148" y="794090"/>
                  </a:cubicBezTo>
                  <a:cubicBezTo>
                    <a:pt x="565955" y="748035"/>
                    <a:pt x="658618" y="626421"/>
                    <a:pt x="660400" y="484298"/>
                  </a:cubicBezTo>
                  <a:lnTo>
                    <a:pt x="660400" y="0"/>
                  </a:lnTo>
                  <a:lnTo>
                    <a:pt x="0" y="0"/>
                  </a:lnTo>
                  <a:lnTo>
                    <a:pt x="0" y="483939"/>
                  </a:lnTo>
                  <a:cubicBezTo>
                    <a:pt x="1782" y="627140"/>
                    <a:pt x="93019" y="748755"/>
                    <a:pt x="220252" y="793731"/>
                  </a:cubicBezTo>
                  <a:close/>
                </a:path>
              </a:pathLst>
            </a:custGeom>
            <a:solidFill>
              <a:srgbClr val="D85BC3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56" name="TextBox 56"/>
            <p:cNvSpPr txBox="1"/>
            <p:nvPr/>
          </p:nvSpPr>
          <p:spPr>
            <a:xfrm>
              <a:off x="0" y="-38100"/>
              <a:ext cx="660400" cy="723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grpSp>
        <p:nvGrpSpPr>
          <p:cNvPr id="57" name="Group 57"/>
          <p:cNvGrpSpPr/>
          <p:nvPr/>
        </p:nvGrpSpPr>
        <p:grpSpPr>
          <a:xfrm>
            <a:off x="10334685" y="3501588"/>
            <a:ext cx="332904" cy="409729"/>
            <a:chOff x="0" y="0"/>
            <a:chExt cx="660400" cy="812800"/>
          </a:xfrm>
        </p:grpSpPr>
        <p:sp>
          <p:nvSpPr>
            <p:cNvPr id="58" name="Freeform 58"/>
            <p:cNvSpPr/>
            <p:nvPr/>
          </p:nvSpPr>
          <p:spPr>
            <a:xfrm>
              <a:off x="0" y="0"/>
              <a:ext cx="660400" cy="812800"/>
            </a:xfrm>
            <a:custGeom>
              <a:avLst/>
              <a:gdLst/>
              <a:ahLst/>
              <a:cxnLst/>
              <a:rect l="l" t="t" r="r" b="b"/>
              <a:pathLst>
                <a:path w="660400" h="812800">
                  <a:moveTo>
                    <a:pt x="220252" y="793731"/>
                  </a:moveTo>
                  <a:cubicBezTo>
                    <a:pt x="254109" y="805245"/>
                    <a:pt x="292600" y="812800"/>
                    <a:pt x="330378" y="812800"/>
                  </a:cubicBezTo>
                  <a:cubicBezTo>
                    <a:pt x="368157" y="812800"/>
                    <a:pt x="404509" y="806323"/>
                    <a:pt x="438009" y="794809"/>
                  </a:cubicBezTo>
                  <a:cubicBezTo>
                    <a:pt x="438723" y="794450"/>
                    <a:pt x="439435" y="794450"/>
                    <a:pt x="440148" y="794090"/>
                  </a:cubicBezTo>
                  <a:cubicBezTo>
                    <a:pt x="565955" y="748035"/>
                    <a:pt x="658618" y="626421"/>
                    <a:pt x="660400" y="484298"/>
                  </a:cubicBezTo>
                  <a:lnTo>
                    <a:pt x="660400" y="0"/>
                  </a:lnTo>
                  <a:lnTo>
                    <a:pt x="0" y="0"/>
                  </a:lnTo>
                  <a:lnTo>
                    <a:pt x="0" y="483939"/>
                  </a:lnTo>
                  <a:cubicBezTo>
                    <a:pt x="1782" y="627140"/>
                    <a:pt x="93019" y="748755"/>
                    <a:pt x="220252" y="793731"/>
                  </a:cubicBezTo>
                  <a:close/>
                </a:path>
              </a:pathLst>
            </a:custGeom>
            <a:solidFill>
              <a:srgbClr val="E0D905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59" name="TextBox 59"/>
            <p:cNvSpPr txBox="1"/>
            <p:nvPr/>
          </p:nvSpPr>
          <p:spPr>
            <a:xfrm>
              <a:off x="0" y="-38100"/>
              <a:ext cx="660400" cy="723900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  <p:sp>
        <p:nvSpPr>
          <p:cNvPr id="60" name="Freeform 60"/>
          <p:cNvSpPr/>
          <p:nvPr/>
        </p:nvSpPr>
        <p:spPr>
          <a:xfrm>
            <a:off x="1338400" y="2347228"/>
            <a:ext cx="704927" cy="955833"/>
          </a:xfrm>
          <a:custGeom>
            <a:avLst/>
            <a:gdLst/>
            <a:ahLst/>
            <a:cxnLst/>
            <a:rect l="l" t="t" r="r" b="b"/>
            <a:pathLst>
              <a:path w="1057391" h="1433750">
                <a:moveTo>
                  <a:pt x="0" y="0"/>
                </a:moveTo>
                <a:lnTo>
                  <a:pt x="1057391" y="0"/>
                </a:lnTo>
                <a:lnTo>
                  <a:pt x="1057391" y="1433751"/>
                </a:lnTo>
                <a:lnTo>
                  <a:pt x="0" y="1433751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61" name="Freeform 61"/>
          <p:cNvSpPr/>
          <p:nvPr/>
        </p:nvSpPr>
        <p:spPr>
          <a:xfrm>
            <a:off x="4671158" y="2297357"/>
            <a:ext cx="1087629" cy="1087629"/>
          </a:xfrm>
          <a:custGeom>
            <a:avLst/>
            <a:gdLst/>
            <a:ahLst/>
            <a:cxnLst/>
            <a:rect l="l" t="t" r="r" b="b"/>
            <a:pathLst>
              <a:path w="1631444" h="1631444">
                <a:moveTo>
                  <a:pt x="0" y="0"/>
                </a:moveTo>
                <a:lnTo>
                  <a:pt x="1631444" y="0"/>
                </a:lnTo>
                <a:lnTo>
                  <a:pt x="1631444" y="1631444"/>
                </a:lnTo>
                <a:lnTo>
                  <a:pt x="0" y="1631444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62" name="Freeform 62"/>
          <p:cNvSpPr/>
          <p:nvPr/>
        </p:nvSpPr>
        <p:spPr>
          <a:xfrm>
            <a:off x="6397501" y="2245619"/>
            <a:ext cx="1159053" cy="1159053"/>
          </a:xfrm>
          <a:custGeom>
            <a:avLst/>
            <a:gdLst/>
            <a:ahLst/>
            <a:cxnLst/>
            <a:rect l="l" t="t" r="r" b="b"/>
            <a:pathLst>
              <a:path w="1738579" h="1738579">
                <a:moveTo>
                  <a:pt x="0" y="0"/>
                </a:moveTo>
                <a:lnTo>
                  <a:pt x="1738580" y="0"/>
                </a:lnTo>
                <a:lnTo>
                  <a:pt x="1738580" y="1738579"/>
                </a:lnTo>
                <a:lnTo>
                  <a:pt x="0" y="1738579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63" name="Freeform 63"/>
          <p:cNvSpPr/>
          <p:nvPr/>
        </p:nvSpPr>
        <p:spPr>
          <a:xfrm>
            <a:off x="3013003" y="2407656"/>
            <a:ext cx="879828" cy="867031"/>
          </a:xfrm>
          <a:custGeom>
            <a:avLst/>
            <a:gdLst/>
            <a:ahLst/>
            <a:cxnLst/>
            <a:rect l="l" t="t" r="r" b="b"/>
            <a:pathLst>
              <a:path w="1319742" h="1300546">
                <a:moveTo>
                  <a:pt x="0" y="0"/>
                </a:moveTo>
                <a:lnTo>
                  <a:pt x="1319743" y="0"/>
                </a:lnTo>
                <a:lnTo>
                  <a:pt x="1319743" y="1300546"/>
                </a:lnTo>
                <a:lnTo>
                  <a:pt x="0" y="1300546"/>
                </a:lnTo>
                <a:lnTo>
                  <a:pt x="0" y="0"/>
                </a:lnTo>
                <a:close/>
              </a:path>
            </a:pathLst>
          </a:custGeom>
          <a:blipFill>
            <a:blip r:embed="rId15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64" name="Freeform 64"/>
          <p:cNvSpPr/>
          <p:nvPr/>
        </p:nvSpPr>
        <p:spPr>
          <a:xfrm>
            <a:off x="8205860" y="2482852"/>
            <a:ext cx="1066444" cy="791835"/>
          </a:xfrm>
          <a:custGeom>
            <a:avLst/>
            <a:gdLst/>
            <a:ahLst/>
            <a:cxnLst/>
            <a:rect l="l" t="t" r="r" b="b"/>
            <a:pathLst>
              <a:path w="1599666" h="1187752">
                <a:moveTo>
                  <a:pt x="0" y="0"/>
                </a:moveTo>
                <a:lnTo>
                  <a:pt x="1599666" y="0"/>
                </a:lnTo>
                <a:lnTo>
                  <a:pt x="1599666" y="1187752"/>
                </a:lnTo>
                <a:lnTo>
                  <a:pt x="0" y="1187752"/>
                </a:lnTo>
                <a:lnTo>
                  <a:pt x="0" y="0"/>
                </a:lnTo>
                <a:close/>
              </a:path>
            </a:pathLst>
          </a:custGeom>
          <a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65" name="Freeform 65"/>
          <p:cNvSpPr/>
          <p:nvPr/>
        </p:nvSpPr>
        <p:spPr>
          <a:xfrm>
            <a:off x="9994498" y="2388842"/>
            <a:ext cx="1033896" cy="904659"/>
          </a:xfrm>
          <a:custGeom>
            <a:avLst/>
            <a:gdLst/>
            <a:ahLst/>
            <a:cxnLst/>
            <a:rect l="l" t="t" r="r" b="b"/>
            <a:pathLst>
              <a:path w="1550844" h="1356988">
                <a:moveTo>
                  <a:pt x="0" y="0"/>
                </a:moveTo>
                <a:lnTo>
                  <a:pt x="1550844" y="0"/>
                </a:lnTo>
                <a:lnTo>
                  <a:pt x="1550844" y="1356988"/>
                </a:lnTo>
                <a:lnTo>
                  <a:pt x="0" y="1356988"/>
                </a:lnTo>
                <a:lnTo>
                  <a:pt x="0" y="0"/>
                </a:lnTo>
                <a:close/>
              </a:path>
            </a:pathLst>
          </a:custGeom>
          <a:blipFill>
            <a:blip r:embed="rId19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66" name="TextBox 66"/>
          <p:cNvSpPr txBox="1"/>
          <p:nvPr/>
        </p:nvSpPr>
        <p:spPr>
          <a:xfrm>
            <a:off x="3265994" y="1262316"/>
            <a:ext cx="5570339" cy="5693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4667"/>
              </a:lnSpc>
              <a:spcBef>
                <a:spcPct val="0"/>
              </a:spcBef>
            </a:pPr>
            <a:r>
              <a:rPr lang="en-US" sz="3300" b="1">
                <a:solidFill>
                  <a:srgbClr val="000000"/>
                </a:solidFill>
                <a:latin typeface="Inter Bold"/>
              </a:rPr>
              <a:t>Birth Equity Key Strategies</a:t>
            </a:r>
          </a:p>
        </p:txBody>
      </p:sp>
      <p:sp>
        <p:nvSpPr>
          <p:cNvPr id="67" name="TextBox 67"/>
          <p:cNvSpPr txBox="1"/>
          <p:nvPr/>
        </p:nvSpPr>
        <p:spPr>
          <a:xfrm>
            <a:off x="951795" y="4178016"/>
            <a:ext cx="1478135" cy="1520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427"/>
              </a:lnSpc>
              <a:spcBef>
                <a:spcPct val="0"/>
              </a:spcBef>
            </a:pPr>
            <a:r>
              <a:rPr lang="en-US" sz="1700">
                <a:solidFill>
                  <a:srgbClr val="000000"/>
                </a:solidFill>
                <a:latin typeface="Canva Sans"/>
              </a:rPr>
              <a:t>Optimize</a:t>
            </a:r>
            <a:r>
              <a:rPr lang="en-US" sz="1700">
                <a:solidFill>
                  <a:srgbClr val="000000"/>
                </a:solidFill>
                <a:latin typeface="Canva Sans Bold"/>
              </a:rPr>
              <a:t> </a:t>
            </a:r>
            <a:r>
              <a:rPr lang="en-US" sz="1700" b="1">
                <a:solidFill>
                  <a:srgbClr val="000000"/>
                </a:solidFill>
                <a:latin typeface="Canva Sans Bold"/>
              </a:rPr>
              <a:t>race and ethnicity data collection</a:t>
            </a:r>
            <a:r>
              <a:rPr lang="en-US" sz="1700">
                <a:solidFill>
                  <a:srgbClr val="000000"/>
                </a:solidFill>
                <a:latin typeface="Canva Sans"/>
              </a:rPr>
              <a:t> and review stratified data</a:t>
            </a:r>
          </a:p>
        </p:txBody>
      </p:sp>
      <p:sp>
        <p:nvSpPr>
          <p:cNvPr id="68" name="TextBox 68"/>
          <p:cNvSpPr txBox="1"/>
          <p:nvPr/>
        </p:nvSpPr>
        <p:spPr>
          <a:xfrm>
            <a:off x="2588140" y="4178016"/>
            <a:ext cx="1729556" cy="1828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427"/>
              </a:lnSpc>
              <a:spcBef>
                <a:spcPct val="0"/>
              </a:spcBef>
            </a:pPr>
            <a:r>
              <a:rPr lang="en-US" sz="1700">
                <a:solidFill>
                  <a:srgbClr val="000000"/>
                </a:solidFill>
                <a:latin typeface="Canva Sans"/>
              </a:rPr>
              <a:t>Screen all patients for</a:t>
            </a:r>
            <a:r>
              <a:rPr lang="en-US" sz="1700">
                <a:solidFill>
                  <a:srgbClr val="000000"/>
                </a:solidFill>
                <a:latin typeface="Canva Sans Bold"/>
              </a:rPr>
              <a:t> </a:t>
            </a:r>
            <a:r>
              <a:rPr lang="en-US" sz="1700" b="1">
                <a:solidFill>
                  <a:srgbClr val="000000"/>
                </a:solidFill>
                <a:latin typeface="Canva Sans Bold"/>
              </a:rPr>
              <a:t>social determinants of health</a:t>
            </a:r>
            <a:r>
              <a:rPr lang="en-US" sz="1700">
                <a:solidFill>
                  <a:srgbClr val="000000"/>
                </a:solidFill>
                <a:latin typeface="Canva Sans"/>
              </a:rPr>
              <a:t> and link to community resources </a:t>
            </a:r>
            <a:endParaRPr lang="en-US" sz="1733">
              <a:solidFill>
                <a:srgbClr val="000000"/>
              </a:solidFill>
              <a:latin typeface="Canva Sans"/>
            </a:endParaRPr>
          </a:p>
        </p:txBody>
      </p:sp>
      <p:sp>
        <p:nvSpPr>
          <p:cNvPr id="69" name="TextBox 69"/>
          <p:cNvSpPr txBox="1"/>
          <p:nvPr/>
        </p:nvSpPr>
        <p:spPr>
          <a:xfrm>
            <a:off x="4401535" y="4178016"/>
            <a:ext cx="1626876" cy="1828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427"/>
              </a:lnSpc>
              <a:spcBef>
                <a:spcPct val="0"/>
              </a:spcBef>
            </a:pPr>
            <a:r>
              <a:rPr lang="en-US" sz="1700">
                <a:solidFill>
                  <a:srgbClr val="000000"/>
                </a:solidFill>
                <a:latin typeface="Canva Sans"/>
              </a:rPr>
              <a:t>Standardize</a:t>
            </a:r>
            <a:r>
              <a:rPr lang="en-US" sz="1700">
                <a:solidFill>
                  <a:srgbClr val="000000"/>
                </a:solidFill>
                <a:latin typeface="Canva Sans Bold"/>
              </a:rPr>
              <a:t> </a:t>
            </a:r>
            <a:r>
              <a:rPr lang="en-US" sz="1700" b="1">
                <a:solidFill>
                  <a:srgbClr val="000000"/>
                </a:solidFill>
                <a:latin typeface="Canva Sans Bold"/>
              </a:rPr>
              <a:t>postpartum safety education</a:t>
            </a:r>
            <a:r>
              <a:rPr lang="en-US" sz="1700">
                <a:solidFill>
                  <a:srgbClr val="000000"/>
                </a:solidFill>
                <a:latin typeface="Canva Sans Bold"/>
              </a:rPr>
              <a:t> </a:t>
            </a:r>
            <a:r>
              <a:rPr lang="en-US" sz="1700">
                <a:solidFill>
                  <a:srgbClr val="000000"/>
                </a:solidFill>
                <a:latin typeface="Canva Sans"/>
              </a:rPr>
              <a:t>and schedule early postpartum visit</a:t>
            </a:r>
          </a:p>
        </p:txBody>
      </p:sp>
      <p:sp>
        <p:nvSpPr>
          <p:cNvPr id="70" name="TextBox 70"/>
          <p:cNvSpPr txBox="1"/>
          <p:nvPr/>
        </p:nvSpPr>
        <p:spPr>
          <a:xfrm>
            <a:off x="6154435" y="4178016"/>
            <a:ext cx="1645187" cy="182838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427"/>
              </a:lnSpc>
              <a:spcBef>
                <a:spcPct val="0"/>
              </a:spcBef>
            </a:pPr>
            <a:r>
              <a:rPr lang="en-US" sz="1700">
                <a:solidFill>
                  <a:srgbClr val="000000"/>
                </a:solidFill>
                <a:latin typeface="Canva Sans"/>
              </a:rPr>
              <a:t>Engage</a:t>
            </a:r>
            <a:r>
              <a:rPr lang="en-US" sz="1700">
                <a:solidFill>
                  <a:srgbClr val="000000"/>
                </a:solidFill>
                <a:latin typeface="Canva Sans Bold"/>
              </a:rPr>
              <a:t> </a:t>
            </a:r>
            <a:r>
              <a:rPr lang="en-US" sz="1700" b="1">
                <a:solidFill>
                  <a:srgbClr val="000000"/>
                </a:solidFill>
                <a:latin typeface="Canva Sans Bold"/>
              </a:rPr>
              <a:t>patients and community</a:t>
            </a:r>
            <a:r>
              <a:rPr lang="en-US" sz="1700">
                <a:solidFill>
                  <a:srgbClr val="000000"/>
                </a:solidFill>
                <a:latin typeface="Canva Sans Bold"/>
              </a:rPr>
              <a:t> members </a:t>
            </a:r>
            <a:r>
              <a:rPr lang="en-US" sz="1700">
                <a:solidFill>
                  <a:srgbClr val="000000"/>
                </a:solidFill>
                <a:latin typeface="Canva Sans"/>
              </a:rPr>
              <a:t>for quality improvement input</a:t>
            </a:r>
          </a:p>
        </p:txBody>
      </p:sp>
      <p:sp>
        <p:nvSpPr>
          <p:cNvPr id="71" name="TextBox 71"/>
          <p:cNvSpPr txBox="1"/>
          <p:nvPr/>
        </p:nvSpPr>
        <p:spPr>
          <a:xfrm>
            <a:off x="7976877" y="4178016"/>
            <a:ext cx="1524411" cy="213616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427"/>
              </a:lnSpc>
              <a:spcBef>
                <a:spcPct val="0"/>
              </a:spcBef>
            </a:pPr>
            <a:r>
              <a:rPr lang="en-US" sz="1700">
                <a:solidFill>
                  <a:srgbClr val="000000"/>
                </a:solidFill>
                <a:latin typeface="Canva Sans"/>
              </a:rPr>
              <a:t>Implement</a:t>
            </a:r>
            <a:r>
              <a:rPr lang="en-US" sz="1700">
                <a:solidFill>
                  <a:srgbClr val="000000"/>
                </a:solidFill>
                <a:latin typeface="Canva Sans Bold"/>
              </a:rPr>
              <a:t> </a:t>
            </a:r>
            <a:r>
              <a:rPr lang="en-US" sz="1700" b="1">
                <a:solidFill>
                  <a:srgbClr val="000000"/>
                </a:solidFill>
                <a:latin typeface="Canva Sans Bold"/>
              </a:rPr>
              <a:t>implicit bias and respectful care training</a:t>
            </a:r>
            <a:r>
              <a:rPr lang="en-US" sz="1700">
                <a:solidFill>
                  <a:srgbClr val="000000"/>
                </a:solidFill>
                <a:latin typeface="Canva Sans Bold"/>
              </a:rPr>
              <a:t> </a:t>
            </a:r>
            <a:r>
              <a:rPr lang="en-US" sz="1700">
                <a:solidFill>
                  <a:srgbClr val="000000"/>
                </a:solidFill>
                <a:latin typeface="Canva Sans"/>
              </a:rPr>
              <a:t>for providers, nurses, other staff</a:t>
            </a:r>
          </a:p>
        </p:txBody>
      </p:sp>
      <p:sp>
        <p:nvSpPr>
          <p:cNvPr id="72" name="TextBox 72"/>
          <p:cNvSpPr txBox="1"/>
          <p:nvPr/>
        </p:nvSpPr>
        <p:spPr>
          <a:xfrm>
            <a:off x="9660860" y="4178016"/>
            <a:ext cx="1680554" cy="152060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427"/>
              </a:lnSpc>
              <a:spcBef>
                <a:spcPct val="0"/>
              </a:spcBef>
            </a:pPr>
            <a:r>
              <a:rPr lang="en-US" sz="1700">
                <a:solidFill>
                  <a:srgbClr val="000000"/>
                </a:solidFill>
                <a:latin typeface="Canva Sans"/>
              </a:rPr>
              <a:t>Share</a:t>
            </a:r>
            <a:r>
              <a:rPr lang="en-US" sz="1700">
                <a:solidFill>
                  <a:srgbClr val="000000"/>
                </a:solidFill>
                <a:latin typeface="Canva Sans Bold"/>
              </a:rPr>
              <a:t> </a:t>
            </a:r>
            <a:r>
              <a:rPr lang="en-US" sz="1700" b="1">
                <a:solidFill>
                  <a:srgbClr val="000000"/>
                </a:solidFill>
                <a:latin typeface="Canva Sans Bold"/>
              </a:rPr>
              <a:t>respectful care practices and survey patients (PREM)</a:t>
            </a:r>
            <a:r>
              <a:rPr lang="en-US" sz="1700">
                <a:solidFill>
                  <a:srgbClr val="000000"/>
                </a:solidFill>
                <a:latin typeface="Canva Sans Bold"/>
              </a:rPr>
              <a:t> </a:t>
            </a:r>
            <a:r>
              <a:rPr lang="en-US" sz="1700">
                <a:solidFill>
                  <a:srgbClr val="000000"/>
                </a:solidFill>
                <a:latin typeface="Canva Sans"/>
              </a:rPr>
              <a:t>on their care experience</a:t>
            </a:r>
          </a:p>
        </p:txBody>
      </p:sp>
      <p:sp>
        <p:nvSpPr>
          <p:cNvPr id="73" name="TextBox 73"/>
          <p:cNvSpPr txBox="1"/>
          <p:nvPr/>
        </p:nvSpPr>
        <p:spPr>
          <a:xfrm>
            <a:off x="1368233" y="209963"/>
            <a:ext cx="9634716" cy="9138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700"/>
              </a:lnSpc>
              <a:spcBef>
                <a:spcPct val="0"/>
              </a:spcBef>
            </a:pPr>
            <a:r>
              <a:rPr lang="en-US" sz="2466">
                <a:solidFill>
                  <a:srgbClr val="000000"/>
                </a:solidFill>
                <a:latin typeface="Canva Sans Bold"/>
              </a:rPr>
              <a:t>Birth Equity Initiative Aim:</a:t>
            </a:r>
            <a:r>
              <a:rPr lang="en-US" sz="2466">
                <a:solidFill>
                  <a:srgbClr val="000000"/>
                </a:solidFill>
                <a:latin typeface="Canva Sans"/>
              </a:rPr>
              <a:t> By May 2024, &gt; 70% of participating hospitals will have implemented all key strategies</a:t>
            </a:r>
          </a:p>
        </p:txBody>
      </p:sp>
    </p:spTree>
    <p:extLst>
      <p:ext uri="{BB962C8B-B14F-4D97-AF65-F5344CB8AC3E}">
        <p14:creationId xmlns:p14="http://schemas.microsoft.com/office/powerpoint/2010/main" val="312159243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4F8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685800" y="2038009"/>
            <a:ext cx="2628900" cy="4384694"/>
            <a:chOff x="0" y="0"/>
            <a:chExt cx="1333923" cy="2224826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1333923" cy="2224826"/>
            </a:xfrm>
            <a:custGeom>
              <a:avLst/>
              <a:gdLst/>
              <a:ahLst/>
              <a:cxnLst/>
              <a:rect l="l" t="t" r="r" b="b"/>
              <a:pathLst>
                <a:path w="1333923" h="2224826">
                  <a:moveTo>
                    <a:pt x="0" y="0"/>
                  </a:moveTo>
                  <a:lnTo>
                    <a:pt x="1333923" y="0"/>
                  </a:lnTo>
                  <a:lnTo>
                    <a:pt x="1333923" y="2224826"/>
                  </a:lnTo>
                  <a:lnTo>
                    <a:pt x="0" y="2224826"/>
                  </a:lnTo>
                  <a:close/>
                </a:path>
              </a:pathLst>
            </a:custGeom>
            <a:solidFill>
              <a:srgbClr val="9F6E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grpSp>
        <p:nvGrpSpPr>
          <p:cNvPr id="4" name="Group 4"/>
          <p:cNvGrpSpPr/>
          <p:nvPr/>
        </p:nvGrpSpPr>
        <p:grpSpPr>
          <a:xfrm>
            <a:off x="3416300" y="2038009"/>
            <a:ext cx="2628900" cy="4384694"/>
            <a:chOff x="0" y="0"/>
            <a:chExt cx="1333923" cy="2224826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1333923" cy="2224826"/>
            </a:xfrm>
            <a:custGeom>
              <a:avLst/>
              <a:gdLst/>
              <a:ahLst/>
              <a:cxnLst/>
              <a:rect l="l" t="t" r="r" b="b"/>
              <a:pathLst>
                <a:path w="1333923" h="2224826">
                  <a:moveTo>
                    <a:pt x="0" y="0"/>
                  </a:moveTo>
                  <a:lnTo>
                    <a:pt x="1333923" y="0"/>
                  </a:lnTo>
                  <a:lnTo>
                    <a:pt x="1333923" y="2224826"/>
                  </a:lnTo>
                  <a:lnTo>
                    <a:pt x="0" y="2224826"/>
                  </a:lnTo>
                  <a:close/>
                </a:path>
              </a:pathLst>
            </a:custGeom>
            <a:solidFill>
              <a:srgbClr val="FF5757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grpSp>
        <p:nvGrpSpPr>
          <p:cNvPr id="6" name="Group 6"/>
          <p:cNvGrpSpPr/>
          <p:nvPr/>
        </p:nvGrpSpPr>
        <p:grpSpPr>
          <a:xfrm>
            <a:off x="6146800" y="2038009"/>
            <a:ext cx="2628900" cy="4384694"/>
            <a:chOff x="0" y="0"/>
            <a:chExt cx="1333923" cy="2224826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1333923" cy="2224826"/>
            </a:xfrm>
            <a:custGeom>
              <a:avLst/>
              <a:gdLst/>
              <a:ahLst/>
              <a:cxnLst/>
              <a:rect l="l" t="t" r="r" b="b"/>
              <a:pathLst>
                <a:path w="1333923" h="2224826">
                  <a:moveTo>
                    <a:pt x="0" y="0"/>
                  </a:moveTo>
                  <a:lnTo>
                    <a:pt x="1333923" y="0"/>
                  </a:lnTo>
                  <a:lnTo>
                    <a:pt x="1333923" y="2224826"/>
                  </a:lnTo>
                  <a:lnTo>
                    <a:pt x="0" y="2224826"/>
                  </a:lnTo>
                  <a:close/>
                </a:path>
              </a:pathLst>
            </a:custGeom>
            <a:solidFill>
              <a:srgbClr val="0CC0D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8877300" y="2038009"/>
            <a:ext cx="2628900" cy="4384694"/>
            <a:chOff x="0" y="0"/>
            <a:chExt cx="1333923" cy="2224826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1333923" cy="2224826"/>
            </a:xfrm>
            <a:custGeom>
              <a:avLst/>
              <a:gdLst/>
              <a:ahLst/>
              <a:cxnLst/>
              <a:rect l="l" t="t" r="r" b="b"/>
              <a:pathLst>
                <a:path w="1333923" h="2224826">
                  <a:moveTo>
                    <a:pt x="0" y="0"/>
                  </a:moveTo>
                  <a:lnTo>
                    <a:pt x="1333923" y="0"/>
                  </a:lnTo>
                  <a:lnTo>
                    <a:pt x="1333923" y="2224826"/>
                  </a:lnTo>
                  <a:lnTo>
                    <a:pt x="0" y="2224826"/>
                  </a:lnTo>
                  <a:close/>
                </a:path>
              </a:pathLst>
            </a:custGeom>
            <a:solidFill>
              <a:srgbClr val="FFA268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grpSp>
        <p:nvGrpSpPr>
          <p:cNvPr id="10" name="Group 10"/>
          <p:cNvGrpSpPr/>
          <p:nvPr/>
        </p:nvGrpSpPr>
        <p:grpSpPr>
          <a:xfrm>
            <a:off x="685800" y="2038009"/>
            <a:ext cx="2628900" cy="1219200"/>
            <a:chOff x="0" y="0"/>
            <a:chExt cx="1333923" cy="618631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1333923" cy="618631"/>
            </a:xfrm>
            <a:custGeom>
              <a:avLst/>
              <a:gdLst/>
              <a:ahLst/>
              <a:cxnLst/>
              <a:rect l="l" t="t" r="r" b="b"/>
              <a:pathLst>
                <a:path w="1333923" h="618631">
                  <a:moveTo>
                    <a:pt x="0" y="0"/>
                  </a:moveTo>
                  <a:lnTo>
                    <a:pt x="1333923" y="0"/>
                  </a:lnTo>
                  <a:lnTo>
                    <a:pt x="1333923" y="618631"/>
                  </a:lnTo>
                  <a:lnTo>
                    <a:pt x="0" y="618631"/>
                  </a:lnTo>
                  <a:close/>
                </a:path>
              </a:pathLst>
            </a:custGeom>
            <a:solidFill>
              <a:srgbClr val="8045F4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sp>
        <p:nvSpPr>
          <p:cNvPr id="12" name="TextBox 12"/>
          <p:cNvSpPr txBox="1"/>
          <p:nvPr/>
        </p:nvSpPr>
        <p:spPr>
          <a:xfrm>
            <a:off x="995608" y="469136"/>
            <a:ext cx="10302385" cy="130217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5226"/>
              </a:lnSpc>
            </a:pPr>
            <a:r>
              <a:rPr lang="en-US" sz="3733">
                <a:solidFill>
                  <a:srgbClr val="545454"/>
                </a:solidFill>
                <a:latin typeface="Open Sans Bold"/>
              </a:rPr>
              <a:t>2024 BE Goals: Building the infrastructure to sustain Birth Equity work</a:t>
            </a:r>
          </a:p>
        </p:txBody>
      </p:sp>
      <p:grpSp>
        <p:nvGrpSpPr>
          <p:cNvPr id="13" name="Group 13"/>
          <p:cNvGrpSpPr/>
          <p:nvPr/>
        </p:nvGrpSpPr>
        <p:grpSpPr>
          <a:xfrm>
            <a:off x="3416300" y="2038009"/>
            <a:ext cx="2628900" cy="1219200"/>
            <a:chOff x="0" y="0"/>
            <a:chExt cx="1333923" cy="618631"/>
          </a:xfrm>
        </p:grpSpPr>
        <p:sp>
          <p:nvSpPr>
            <p:cNvPr id="14" name="Freeform 14"/>
            <p:cNvSpPr/>
            <p:nvPr/>
          </p:nvSpPr>
          <p:spPr>
            <a:xfrm>
              <a:off x="0" y="0"/>
              <a:ext cx="1333923" cy="618631"/>
            </a:xfrm>
            <a:custGeom>
              <a:avLst/>
              <a:gdLst/>
              <a:ahLst/>
              <a:cxnLst/>
              <a:rect l="l" t="t" r="r" b="b"/>
              <a:pathLst>
                <a:path w="1333923" h="618631">
                  <a:moveTo>
                    <a:pt x="0" y="0"/>
                  </a:moveTo>
                  <a:lnTo>
                    <a:pt x="1333923" y="0"/>
                  </a:lnTo>
                  <a:lnTo>
                    <a:pt x="1333923" y="618631"/>
                  </a:lnTo>
                  <a:lnTo>
                    <a:pt x="0" y="618631"/>
                  </a:lnTo>
                  <a:close/>
                </a:path>
              </a:pathLst>
            </a:custGeom>
            <a:solidFill>
              <a:srgbClr val="FF3131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grpSp>
        <p:nvGrpSpPr>
          <p:cNvPr id="15" name="Group 15"/>
          <p:cNvGrpSpPr/>
          <p:nvPr/>
        </p:nvGrpSpPr>
        <p:grpSpPr>
          <a:xfrm>
            <a:off x="6146800" y="2038009"/>
            <a:ext cx="2628900" cy="1219200"/>
            <a:chOff x="0" y="0"/>
            <a:chExt cx="1333923" cy="618631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1333923" cy="618631"/>
            </a:xfrm>
            <a:custGeom>
              <a:avLst/>
              <a:gdLst/>
              <a:ahLst/>
              <a:cxnLst/>
              <a:rect l="l" t="t" r="r" b="b"/>
              <a:pathLst>
                <a:path w="1333923" h="618631">
                  <a:moveTo>
                    <a:pt x="0" y="0"/>
                  </a:moveTo>
                  <a:lnTo>
                    <a:pt x="1333923" y="0"/>
                  </a:lnTo>
                  <a:lnTo>
                    <a:pt x="1333923" y="618631"/>
                  </a:lnTo>
                  <a:lnTo>
                    <a:pt x="0" y="618631"/>
                  </a:lnTo>
                  <a:close/>
                </a:path>
              </a:pathLst>
            </a:custGeom>
            <a:solidFill>
              <a:srgbClr val="0097B2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grpSp>
        <p:nvGrpSpPr>
          <p:cNvPr id="17" name="Group 17"/>
          <p:cNvGrpSpPr/>
          <p:nvPr/>
        </p:nvGrpSpPr>
        <p:grpSpPr>
          <a:xfrm>
            <a:off x="8877300" y="2038009"/>
            <a:ext cx="2628900" cy="1219200"/>
            <a:chOff x="0" y="0"/>
            <a:chExt cx="1333923" cy="618631"/>
          </a:xfrm>
        </p:grpSpPr>
        <p:sp>
          <p:nvSpPr>
            <p:cNvPr id="18" name="Freeform 18"/>
            <p:cNvSpPr/>
            <p:nvPr/>
          </p:nvSpPr>
          <p:spPr>
            <a:xfrm>
              <a:off x="0" y="0"/>
              <a:ext cx="1333923" cy="618631"/>
            </a:xfrm>
            <a:custGeom>
              <a:avLst/>
              <a:gdLst/>
              <a:ahLst/>
              <a:cxnLst/>
              <a:rect l="l" t="t" r="r" b="b"/>
              <a:pathLst>
                <a:path w="1333923" h="618631">
                  <a:moveTo>
                    <a:pt x="0" y="0"/>
                  </a:moveTo>
                  <a:lnTo>
                    <a:pt x="1333923" y="0"/>
                  </a:lnTo>
                  <a:lnTo>
                    <a:pt x="1333923" y="618631"/>
                  </a:lnTo>
                  <a:lnTo>
                    <a:pt x="0" y="618631"/>
                  </a:lnTo>
                  <a:close/>
                </a:path>
              </a:pathLst>
            </a:custGeom>
            <a:solidFill>
              <a:srgbClr val="D47F49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sp>
        <p:nvSpPr>
          <p:cNvPr id="19" name="TextBox 19"/>
          <p:cNvSpPr txBox="1"/>
          <p:nvPr/>
        </p:nvSpPr>
        <p:spPr>
          <a:xfrm>
            <a:off x="858172" y="3390900"/>
            <a:ext cx="2192532" cy="254274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8620" lvl="1" indent="-194310" algn="l">
              <a:lnSpc>
                <a:spcPts val="2519"/>
              </a:lnSpc>
              <a:buFont typeface="Arial"/>
              <a:buChar char="•"/>
            </a:pPr>
            <a:r>
              <a:rPr lang="en-US" sz="2000" b="1">
                <a:solidFill>
                  <a:srgbClr val="FFFFFF"/>
                </a:solidFill>
                <a:latin typeface="Open Sans Bold"/>
              </a:rPr>
              <a:t>Host Respectful Care Breakfasts</a:t>
            </a:r>
            <a:endParaRPr lang="en-US" sz="2000" b="1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marL="388620" lvl="1" indent="-194310" algn="l">
              <a:lnSpc>
                <a:spcPts val="2519"/>
              </a:lnSpc>
              <a:buFont typeface="Arial"/>
              <a:buChar char="•"/>
            </a:pPr>
            <a:r>
              <a:rPr lang="en-US" sz="2000" b="1">
                <a:solidFill>
                  <a:srgbClr val="FFFFFF"/>
                </a:solidFill>
                <a:latin typeface="Open Sans Bold"/>
              </a:rPr>
              <a:t>Engage a Patient Partner on your QI team</a:t>
            </a:r>
            <a:endParaRPr lang="en-US" sz="2000" b="1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20" name="TextBox 20"/>
          <p:cNvSpPr txBox="1"/>
          <p:nvPr/>
        </p:nvSpPr>
        <p:spPr>
          <a:xfrm>
            <a:off x="3416299" y="3397251"/>
            <a:ext cx="2628901" cy="269304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30835" lvl="1" indent="-165100" algn="l">
              <a:lnSpc>
                <a:spcPts val="2146"/>
              </a:lnSpc>
              <a:buFont typeface="Arial"/>
              <a:buChar char="•"/>
            </a:pPr>
            <a:r>
              <a:rPr lang="en-US" sz="1900" b="1">
                <a:solidFill>
                  <a:srgbClr val="FFFFFF"/>
                </a:solidFill>
                <a:latin typeface="Open Sans Bold"/>
              </a:rPr>
              <a:t>Build relationships with community partners to improve patient linkage,</a:t>
            </a:r>
            <a:r>
              <a:rPr lang="en-US" sz="2000" b="1">
                <a:solidFill>
                  <a:srgbClr val="FFFFFF"/>
                </a:solidFill>
                <a:latin typeface="Open Sans Bold"/>
              </a:rPr>
              <a:t> </a:t>
            </a:r>
            <a:r>
              <a:rPr lang="en-US" sz="1800" b="1" i="1">
                <a:solidFill>
                  <a:srgbClr val="FFFFFF"/>
                </a:solidFill>
                <a:latin typeface="Open Sans Bold"/>
              </a:rPr>
              <a:t>such as Community-based Doulas and Home Visiting Programs</a:t>
            </a:r>
            <a:endParaRPr lang="en-US" sz="1800" b="1" i="1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marL="330835" lvl="1" indent="-165100" algn="l">
              <a:lnSpc>
                <a:spcPts val="2146"/>
              </a:lnSpc>
              <a:buFont typeface="Arial"/>
              <a:buChar char="•"/>
            </a:pPr>
            <a:r>
              <a:rPr lang="en-US" sz="1900" b="1">
                <a:solidFill>
                  <a:srgbClr val="FFFFFF"/>
                </a:solidFill>
                <a:latin typeface="Open Sans Bold"/>
              </a:rPr>
              <a:t>Expand strategies to outpatient sites</a:t>
            </a:r>
            <a:endParaRPr lang="en-US" sz="1900" b="1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21" name="TextBox 21"/>
          <p:cNvSpPr txBox="1"/>
          <p:nvPr/>
        </p:nvSpPr>
        <p:spPr>
          <a:xfrm>
            <a:off x="6146800" y="3364543"/>
            <a:ext cx="2628900" cy="282128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5440" lvl="1" indent="-172720" algn="l">
              <a:lnSpc>
                <a:spcPts val="2239"/>
              </a:lnSpc>
              <a:buFont typeface="Arial"/>
              <a:buChar char="•"/>
            </a:pPr>
            <a:r>
              <a:rPr lang="en-US" sz="2000" b="1">
                <a:solidFill>
                  <a:srgbClr val="FFFFFF"/>
                </a:solidFill>
                <a:latin typeface="Open Sans Bold"/>
              </a:rPr>
              <a:t>Increase PREM survey completion &gt; 10% or 15 surveys per month to obtain patient feedback</a:t>
            </a:r>
            <a:endParaRPr lang="en-US" sz="2000" b="1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marL="345440" lvl="1" indent="-172720" algn="l">
              <a:lnSpc>
                <a:spcPts val="2239"/>
              </a:lnSpc>
              <a:buFont typeface="Arial"/>
              <a:buChar char="•"/>
            </a:pPr>
            <a:r>
              <a:rPr lang="en-US" sz="2000" b="1">
                <a:solidFill>
                  <a:srgbClr val="FFFFFF"/>
                </a:solidFill>
                <a:latin typeface="Open Sans Bold"/>
              </a:rPr>
              <a:t>Utilize feedback to continue to improve respectful care</a:t>
            </a:r>
            <a:endParaRPr lang="en-US" sz="2000" b="1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22" name="TextBox 22"/>
          <p:cNvSpPr txBox="1"/>
          <p:nvPr/>
        </p:nvSpPr>
        <p:spPr>
          <a:xfrm>
            <a:off x="8877300" y="3390900"/>
            <a:ext cx="2628900" cy="221631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8620" lvl="1" indent="-194310" algn="l">
              <a:lnSpc>
                <a:spcPts val="2519"/>
              </a:lnSpc>
              <a:buFont typeface="Arial"/>
              <a:buChar char="•"/>
            </a:pPr>
            <a:r>
              <a:rPr lang="en-US" sz="2000" b="1">
                <a:solidFill>
                  <a:srgbClr val="FFFFFF"/>
                </a:solidFill>
                <a:latin typeface="Open Sans Bold"/>
              </a:rPr>
              <a:t>Stratify NTSV C-section &amp; PREM data by race, ethnicity and insurance</a:t>
            </a:r>
            <a:endParaRPr lang="en-US" sz="2000" b="1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  <a:p>
            <a:pPr marL="388620" lvl="1" indent="-194310" algn="l">
              <a:lnSpc>
                <a:spcPts val="2519"/>
              </a:lnSpc>
              <a:buFont typeface="Arial"/>
              <a:buChar char="•"/>
            </a:pPr>
            <a:r>
              <a:rPr lang="en-US" sz="2000" b="1">
                <a:solidFill>
                  <a:srgbClr val="FFFFFF"/>
                </a:solidFill>
                <a:latin typeface="Open Sans Bold"/>
              </a:rPr>
              <a:t>Take action on disparities</a:t>
            </a:r>
            <a:endParaRPr lang="en-US" sz="2000" b="1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23" name="TextBox 23"/>
          <p:cNvSpPr txBox="1"/>
          <p:nvPr/>
        </p:nvSpPr>
        <p:spPr>
          <a:xfrm>
            <a:off x="949796" y="2137915"/>
            <a:ext cx="2100909" cy="9812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613"/>
              </a:lnSpc>
            </a:pPr>
            <a:r>
              <a:rPr lang="en-US" sz="2000" b="1">
                <a:solidFill>
                  <a:srgbClr val="FFFFFF"/>
                </a:solidFill>
                <a:latin typeface="Open Sans Bold"/>
              </a:rPr>
              <a:t>Patient &amp; Community Engagement</a:t>
            </a:r>
            <a:endParaRPr lang="en-US" sz="2000" b="1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24" name="TextBox 24"/>
          <p:cNvSpPr txBox="1"/>
          <p:nvPr/>
        </p:nvSpPr>
        <p:spPr>
          <a:xfrm>
            <a:off x="3634484" y="2137915"/>
            <a:ext cx="2192532" cy="9812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613"/>
              </a:lnSpc>
            </a:pPr>
            <a:r>
              <a:rPr lang="en-US" sz="2000" b="1">
                <a:solidFill>
                  <a:srgbClr val="FFFFFF"/>
                </a:solidFill>
                <a:latin typeface="Open Sans Bold"/>
              </a:rPr>
              <a:t>Social Determinants of Health Linkage</a:t>
            </a:r>
            <a:endParaRPr lang="en-US" sz="2000" b="1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25" name="TextBox 25"/>
          <p:cNvSpPr txBox="1"/>
          <p:nvPr/>
        </p:nvSpPr>
        <p:spPr>
          <a:xfrm>
            <a:off x="6421410" y="2310699"/>
            <a:ext cx="2079681" cy="65108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613"/>
              </a:lnSpc>
            </a:pPr>
            <a:r>
              <a:rPr lang="en-US" sz="2000" b="1">
                <a:solidFill>
                  <a:srgbClr val="FFFFFF"/>
                </a:solidFill>
                <a:latin typeface="Open Sans Bold"/>
              </a:rPr>
              <a:t>PREM Survey Completion</a:t>
            </a:r>
            <a:endParaRPr lang="en-US" sz="2000" b="1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</p:txBody>
      </p:sp>
      <p:sp>
        <p:nvSpPr>
          <p:cNvPr id="26" name="TextBox 26"/>
          <p:cNvSpPr txBox="1"/>
          <p:nvPr/>
        </p:nvSpPr>
        <p:spPr>
          <a:xfrm>
            <a:off x="9202292" y="2468115"/>
            <a:ext cx="1978916" cy="30816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613"/>
              </a:lnSpc>
            </a:pPr>
            <a:r>
              <a:rPr lang="en-US" sz="2000" b="1">
                <a:solidFill>
                  <a:srgbClr val="FFFFFF"/>
                </a:solidFill>
                <a:latin typeface="Open Sans Bold"/>
              </a:rPr>
              <a:t>Data Analysis</a:t>
            </a:r>
            <a:endParaRPr lang="en-US" sz="2000" b="1">
              <a:solidFill>
                <a:srgbClr val="FFFFFF"/>
              </a:solidFill>
              <a:latin typeface="Open Sans Bold"/>
              <a:ea typeface="Open Sans Bold"/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185323531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08D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343822" y="285653"/>
            <a:ext cx="11504356" cy="6286694"/>
            <a:chOff x="0" y="0"/>
            <a:chExt cx="4544931" cy="2483632"/>
          </a:xfrm>
        </p:grpSpPr>
        <p:sp>
          <p:nvSpPr>
            <p:cNvPr id="3" name="Freeform 3"/>
            <p:cNvSpPr/>
            <p:nvPr/>
          </p:nvSpPr>
          <p:spPr>
            <a:xfrm>
              <a:off x="0" y="0"/>
              <a:ext cx="4544931" cy="2483632"/>
            </a:xfrm>
            <a:custGeom>
              <a:avLst/>
              <a:gdLst/>
              <a:ahLst/>
              <a:cxnLst/>
              <a:rect l="l" t="t" r="r" b="b"/>
              <a:pathLst>
                <a:path w="4544931" h="2483632">
                  <a:moveTo>
                    <a:pt x="0" y="0"/>
                  </a:moveTo>
                  <a:lnTo>
                    <a:pt x="4544931" y="0"/>
                  </a:lnTo>
                  <a:lnTo>
                    <a:pt x="4544931" y="2483632"/>
                  </a:lnTo>
                  <a:lnTo>
                    <a:pt x="0" y="2483632"/>
                  </a:lnTo>
                  <a:close/>
                </a:path>
              </a:pathLst>
            </a:custGeom>
            <a:solidFill>
              <a:srgbClr val="FFF4D3"/>
            </a:solidFill>
            <a:ln w="76200" cap="sq">
              <a:solidFill>
                <a:srgbClr val="000000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4" name="TextBox 4"/>
            <p:cNvSpPr txBox="1"/>
            <p:nvPr/>
          </p:nvSpPr>
          <p:spPr>
            <a:xfrm>
              <a:off x="0" y="-38100"/>
              <a:ext cx="4544931" cy="2521732"/>
            </a:xfrm>
            <a:prstGeom prst="rect">
              <a:avLst/>
            </a:prstGeom>
          </p:spPr>
          <p:txBody>
            <a:bodyPr lIns="33867" tIns="33867" rIns="33867" bIns="33867" rtlCol="0" anchor="ctr"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sp>
        <p:nvSpPr>
          <p:cNvPr id="8" name="Freeform 8"/>
          <p:cNvSpPr/>
          <p:nvPr/>
        </p:nvSpPr>
        <p:spPr>
          <a:xfrm>
            <a:off x="10166248" y="392907"/>
            <a:ext cx="1463777" cy="1171303"/>
          </a:xfrm>
          <a:custGeom>
            <a:avLst/>
            <a:gdLst/>
            <a:ahLst/>
            <a:cxnLst/>
            <a:rect l="l" t="t" r="r" b="b"/>
            <a:pathLst>
              <a:path w="2852890" h="2314167">
                <a:moveTo>
                  <a:pt x="0" y="0"/>
                </a:moveTo>
                <a:lnTo>
                  <a:pt x="2852890" y="0"/>
                </a:lnTo>
                <a:lnTo>
                  <a:pt x="2852890" y="2314166"/>
                </a:lnTo>
                <a:lnTo>
                  <a:pt x="0" y="2314166"/>
                </a:lnTo>
                <a:lnTo>
                  <a:pt x="0" y="0"/>
                </a:lnTo>
                <a:close/>
              </a:path>
            </a:pathLst>
          </a:cu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TextBox 9"/>
          <p:cNvSpPr txBox="1"/>
          <p:nvPr/>
        </p:nvSpPr>
        <p:spPr>
          <a:xfrm>
            <a:off x="542925" y="390579"/>
            <a:ext cx="9618062" cy="11079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</a:pPr>
            <a:r>
              <a:rPr lang="en-US" sz="3600" b="1">
                <a:solidFill>
                  <a:srgbClr val="000000"/>
                </a:solidFill>
                <a:latin typeface="Bobby Jones"/>
              </a:rPr>
              <a:t>Making Change Happen: Hospital Progress with Birth Equity Systems Changes </a:t>
            </a:r>
            <a:r>
              <a:rPr lang="en-US" sz="2000" b="1">
                <a:solidFill>
                  <a:srgbClr val="000000"/>
                </a:solidFill>
                <a:latin typeface="Bobby Jones"/>
              </a:rPr>
              <a:t>Baseline - March 2024</a:t>
            </a:r>
            <a:endParaRPr lang="en-US" sz="2000">
              <a:ea typeface="Calibri"/>
              <a:cs typeface="Calibri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A21F0C10-6362-68A5-B9BB-BBBB9C4111F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3180600"/>
              </p:ext>
            </p:extLst>
          </p:nvPr>
        </p:nvGraphicFramePr>
        <p:xfrm>
          <a:off x="523875" y="1562100"/>
          <a:ext cx="11145249" cy="48593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19625">
                  <a:extLst>
                    <a:ext uri="{9D8B030D-6E8A-4147-A177-3AD203B41FA5}">
                      <a16:colId xmlns:a16="http://schemas.microsoft.com/office/drawing/2014/main" val="275380256"/>
                    </a:ext>
                  </a:extLst>
                </a:gridCol>
                <a:gridCol w="2250279">
                  <a:extLst>
                    <a:ext uri="{9D8B030D-6E8A-4147-A177-3AD203B41FA5}">
                      <a16:colId xmlns:a16="http://schemas.microsoft.com/office/drawing/2014/main" val="3893508608"/>
                    </a:ext>
                  </a:extLst>
                </a:gridCol>
                <a:gridCol w="2155030">
                  <a:extLst>
                    <a:ext uri="{9D8B030D-6E8A-4147-A177-3AD203B41FA5}">
                      <a16:colId xmlns:a16="http://schemas.microsoft.com/office/drawing/2014/main" val="2036486135"/>
                    </a:ext>
                  </a:extLst>
                </a:gridCol>
                <a:gridCol w="2120315">
                  <a:extLst>
                    <a:ext uri="{9D8B030D-6E8A-4147-A177-3AD203B41FA5}">
                      <a16:colId xmlns:a16="http://schemas.microsoft.com/office/drawing/2014/main" val="3148307951"/>
                    </a:ext>
                  </a:extLst>
                </a:gridCol>
              </a:tblGrid>
              <a:tr h="511968">
                <a:tc>
                  <a:txBody>
                    <a:bodyPr/>
                    <a:lstStyle/>
                    <a:p>
                      <a:r>
                        <a:rPr lang="en-US" sz="2100"/>
                        <a:t>Structure Measure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100"/>
                        <a:t>Baseline </a:t>
                      </a:r>
                      <a:r>
                        <a:rPr lang="en-US" sz="1200"/>
                        <a:t>(Oct – Dec 2020)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100"/>
                        <a:t>March 2023 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100"/>
                        <a:t>March 2024 </a:t>
                      </a:r>
                    </a:p>
                  </a:txBody>
                  <a:tcP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9499447"/>
                  </a:ext>
                </a:extLst>
              </a:tr>
              <a:tr h="375483">
                <a:tc>
                  <a:txBody>
                    <a:bodyPr/>
                    <a:lstStyle/>
                    <a:p>
                      <a:r>
                        <a:rPr lang="en-US" sz="2100" b="0"/>
                        <a:t>SDOH screening (L&amp;D)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100" b="0"/>
                        <a:t>17%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100"/>
                        <a:t>79%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100" b="1"/>
                        <a:t>100%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438864"/>
                  </a:ext>
                </a:extLst>
              </a:tr>
              <a:tr h="654068">
                <a:tc>
                  <a:txBody>
                    <a:bodyPr/>
                    <a:lstStyle/>
                    <a:p>
                      <a:r>
                        <a:rPr lang="en-US" sz="2100" b="0"/>
                        <a:t>Accurate self-reported race and ethnicity data collection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100" b="0"/>
                        <a:t>7%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100"/>
                        <a:t>76%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100" b="1"/>
                        <a:t>92%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5192862"/>
                  </a:ext>
                </a:extLst>
              </a:tr>
              <a:tr h="642937">
                <a:tc>
                  <a:txBody>
                    <a:bodyPr/>
                    <a:lstStyle/>
                    <a:p>
                      <a:r>
                        <a:rPr lang="en-US" sz="2100" b="0"/>
                        <a:t>Review maternal health quality data stratified by race, ethnicity, and insurance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100" b="0"/>
                        <a:t>6%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100"/>
                        <a:t>66%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100" b="1"/>
                        <a:t>86%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6050381"/>
                  </a:ext>
                </a:extLst>
              </a:tr>
              <a:tr h="440531">
                <a:tc>
                  <a:txBody>
                    <a:bodyPr/>
                    <a:lstStyle/>
                    <a:p>
                      <a:r>
                        <a:rPr lang="en-US" sz="2100" b="0"/>
                        <a:t>Engage patients &amp; community in QI work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100" b="0"/>
                        <a:t>4%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100"/>
                        <a:t>29%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100" b="1"/>
                        <a:t>62%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1241360"/>
                  </a:ext>
                </a:extLst>
              </a:tr>
              <a:tr h="404812">
                <a:tc>
                  <a:txBody>
                    <a:bodyPr/>
                    <a:lstStyle/>
                    <a:p>
                      <a:r>
                        <a:rPr lang="en-US" sz="2100" b="0"/>
                        <a:t>PREM survey implementation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100" b="0"/>
                        <a:t>9%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100"/>
                        <a:t>65%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100" b="1"/>
                        <a:t>92%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24592873"/>
                  </a:ext>
                </a:extLst>
              </a:tr>
              <a:tr h="702468">
                <a:tc>
                  <a:txBody>
                    <a:bodyPr/>
                    <a:lstStyle/>
                    <a:p>
                      <a:r>
                        <a:rPr lang="en-US" sz="2100" b="0"/>
                        <a:t>Share respectful care strategies with healthcare team and patients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100" b="0"/>
                        <a:t>9%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100"/>
                        <a:t>71%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2100" b="1"/>
                        <a:t>86%</a:t>
                      </a: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74979546"/>
                  </a:ext>
                </a:extLst>
              </a:tr>
              <a:tr h="569281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100" b="0"/>
                        <a:t>Postpartum safety patient education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100" b="0"/>
                        <a:t>54%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100"/>
                        <a:t>92%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100" b="1"/>
                        <a:t>97%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9940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64229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1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4" name="Google Shape;4194;p437"/>
          <p:cNvSpPr/>
          <p:nvPr/>
        </p:nvSpPr>
        <p:spPr>
          <a:xfrm>
            <a:off x="-1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195" name="Google Shape;4195;p437"/>
          <p:cNvSpPr txBox="1">
            <a:spLocks noGrp="1"/>
          </p:cNvSpPr>
          <p:nvPr>
            <p:ph type="title"/>
          </p:nvPr>
        </p:nvSpPr>
        <p:spPr>
          <a:xfrm>
            <a:off x="838200" y="-162506"/>
            <a:ext cx="10515600" cy="11336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</a:pPr>
            <a:r>
              <a:rPr lang="en-US" sz="4000"/>
              <a:t>PREM Survey Implementation</a:t>
            </a:r>
            <a:endParaRPr/>
          </a:p>
        </p:txBody>
      </p:sp>
      <p:sp>
        <p:nvSpPr>
          <p:cNvPr id="4196" name="Google Shape;4196;p437"/>
          <p:cNvSpPr txBox="1">
            <a:spLocks noGrp="1"/>
          </p:cNvSpPr>
          <p:nvPr>
            <p:ph type="sldNum" idx="12"/>
          </p:nvPr>
        </p:nvSpPr>
        <p:spPr>
          <a:xfrm>
            <a:off x="8331674" y="5906553"/>
            <a:ext cx="2031601" cy="2704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88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36</a:t>
            </a:fld>
            <a:endParaRPr/>
          </a:p>
        </p:txBody>
      </p:sp>
      <p:sp>
        <p:nvSpPr>
          <p:cNvPr id="4197" name="Google Shape;4197;p437"/>
          <p:cNvSpPr txBox="1">
            <a:spLocks noGrp="1"/>
          </p:cNvSpPr>
          <p:nvPr>
            <p:ph type="ftr" idx="11"/>
          </p:nvPr>
        </p:nvSpPr>
        <p:spPr>
          <a:xfrm>
            <a:off x="10254134" y="6414553"/>
            <a:ext cx="3047402" cy="2704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88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sp>
        <p:nvSpPr>
          <p:cNvPr id="4198" name="Google Shape;4198;p437"/>
          <p:cNvSpPr txBox="1"/>
          <p:nvPr/>
        </p:nvSpPr>
        <p:spPr>
          <a:xfrm>
            <a:off x="2291327" y="958988"/>
            <a:ext cx="366335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r>
              <a:rPr lang="en-US" sz="40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9% --&gt; 92%</a:t>
            </a:r>
            <a:endParaRPr sz="4000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199" name="Google Shape;4199;p437" descr="A picture containing text, person, screenshot&#10;&#10;Description automatically generated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589594" y="836800"/>
            <a:ext cx="2743200" cy="3563444"/>
          </a:xfrm>
          <a:prstGeom prst="rect">
            <a:avLst/>
          </a:prstGeom>
          <a:noFill/>
          <a:ln w="1270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4201" name="Google Shape;4201;p437"/>
          <p:cNvSpPr txBox="1"/>
          <p:nvPr/>
        </p:nvSpPr>
        <p:spPr>
          <a:xfrm>
            <a:off x="9273035" y="894850"/>
            <a:ext cx="2504800" cy="830997"/>
          </a:xfrm>
          <a:prstGeom prst="rect">
            <a:avLst/>
          </a:prstGeom>
          <a:solidFill>
            <a:srgbClr val="FDE766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ocated in your ILPQC F2F Folder!</a:t>
            </a:r>
            <a:endParaRPr sz="1800" i="1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Google Shape;4174;p435">
            <a:extLst>
              <a:ext uri="{FF2B5EF4-FFF2-40B4-BE49-F238E27FC236}">
                <a16:creationId xmlns:a16="http://schemas.microsoft.com/office/drawing/2014/main" id="{65F19143-97F1-E082-41B1-A86B8EDF7BD8}"/>
              </a:ext>
            </a:extLst>
          </p:cNvPr>
          <p:cNvSpPr txBox="1"/>
          <p:nvPr/>
        </p:nvSpPr>
        <p:spPr>
          <a:xfrm>
            <a:off x="140093" y="5072471"/>
            <a:ext cx="8544458" cy="1477287"/>
          </a:xfrm>
          <a:prstGeom prst="rect">
            <a:avLst/>
          </a:prstGeom>
          <a:noFill/>
          <a:ln w="57150" cap="flat" cmpd="sng">
            <a:solidFill>
              <a:srgbClr val="00B05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en-US" b="1" u="sng">
                <a:solidFill>
                  <a:srgbClr val="0C1625"/>
                </a:solidFill>
                <a:latin typeface="Calibri"/>
                <a:ea typeface="Calibri"/>
                <a:cs typeface="Calibri"/>
              </a:rPr>
              <a:t>Key strategies to have in place:</a:t>
            </a:r>
          </a:p>
          <a:p>
            <a:pPr marL="342900" indent="-342900">
              <a:buFont typeface="Arial"/>
              <a:buChar char="•"/>
            </a:pPr>
            <a:r>
              <a:rPr lang="en-US" b="1">
                <a:solidFill>
                  <a:srgbClr val="0C1625"/>
                </a:solidFill>
                <a:latin typeface="Calibri"/>
                <a:ea typeface="Calibri"/>
                <a:cs typeface="Calibri"/>
              </a:rPr>
              <a:t>Post PREM Survey flyers with QR Codes in each patient room</a:t>
            </a:r>
          </a:p>
          <a:p>
            <a:pPr marL="342900" indent="-342900">
              <a:buFont typeface="Arial"/>
              <a:buChar char="•"/>
            </a:pPr>
            <a:r>
              <a:rPr lang="en-US" b="1">
                <a:solidFill>
                  <a:srgbClr val="0C1625"/>
                </a:solidFill>
                <a:latin typeface="Calibri"/>
                <a:ea typeface="Calibri"/>
                <a:cs typeface="Calibri"/>
              </a:rPr>
              <a:t>Have a process flow to ask patients to complete the PREM survey before discharge to increase % completion</a:t>
            </a:r>
          </a:p>
          <a:p>
            <a:pPr marL="342900" indent="-342900">
              <a:buFont typeface="Arial"/>
              <a:buChar char="•"/>
            </a:pPr>
            <a:r>
              <a:rPr lang="en-US" b="1">
                <a:solidFill>
                  <a:srgbClr val="0C1625"/>
                </a:solidFill>
                <a:latin typeface="Calibri"/>
                <a:ea typeface="Calibri"/>
                <a:cs typeface="Calibri"/>
              </a:rPr>
              <a:t>Review PREM survey responses in </a:t>
            </a:r>
            <a:r>
              <a:rPr lang="en-US" b="1" err="1">
                <a:solidFill>
                  <a:srgbClr val="0C1625"/>
                </a:solidFill>
                <a:latin typeface="Calibri"/>
                <a:ea typeface="Calibri"/>
                <a:cs typeface="Calibri"/>
              </a:rPr>
              <a:t>REDCap</a:t>
            </a:r>
            <a:r>
              <a:rPr lang="en-US" b="1">
                <a:solidFill>
                  <a:srgbClr val="0C1625"/>
                </a:solidFill>
                <a:latin typeface="Calibri"/>
                <a:ea typeface="Calibri"/>
                <a:cs typeface="Calibri"/>
              </a:rPr>
              <a:t> and share data with your hospital team</a:t>
            </a:r>
          </a:p>
        </p:txBody>
      </p:sp>
      <p:pic>
        <p:nvPicPr>
          <p:cNvPr id="2" name="Picture 1" descr="A graph of a number of days and months&#10;&#10;Description automatically generated">
            <a:extLst>
              <a:ext uri="{FF2B5EF4-FFF2-40B4-BE49-F238E27FC236}">
                <a16:creationId xmlns:a16="http://schemas.microsoft.com/office/drawing/2014/main" id="{596A637A-B751-C535-A178-85E8DC4F8F0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700" y="1509713"/>
            <a:ext cx="6076950" cy="3419475"/>
          </a:xfrm>
          <a:prstGeom prst="rect">
            <a:avLst/>
          </a:prstGeom>
        </p:spPr>
      </p:pic>
      <p:pic>
        <p:nvPicPr>
          <p:cNvPr id="4200" name="Google Shape;4200;p437" descr="A picture containing qr code&#10;&#10;Description automatically generated"/>
          <p:cNvPicPr preferRelativeResize="0"/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556171" y="1952771"/>
            <a:ext cx="3350079" cy="4083420"/>
          </a:xfrm>
          <a:prstGeom prst="rect">
            <a:avLst/>
          </a:prstGeom>
          <a:noFill/>
          <a:ln w="1270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23486314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456" name="Google Shape;21456;p18"/>
          <p:cNvSpPr txBox="1">
            <a:spLocks noGrp="1"/>
          </p:cNvSpPr>
          <p:nvPr>
            <p:ph type="ftr" sz="quarter" idx="11"/>
          </p:nvPr>
        </p:nvSpPr>
        <p:spPr>
          <a:xfrm>
            <a:off x="103570" y="6524625"/>
            <a:ext cx="4542118" cy="248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19497"/>
              </a:buClr>
              <a:buSzPts val="1400"/>
              <a:buFont typeface="Calibri"/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21454" name="Google Shape;21454;p18"/>
          <p:cNvSpPr txBox="1">
            <a:spLocks noGrp="1"/>
          </p:cNvSpPr>
          <p:nvPr>
            <p:ph type="title" idx="4294967295"/>
          </p:nvPr>
        </p:nvSpPr>
        <p:spPr>
          <a:xfrm>
            <a:off x="2417" y="-3175"/>
            <a:ext cx="7493000" cy="1449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l">
              <a:buSzPts val="4000"/>
            </a:pPr>
            <a:r>
              <a:rPr lang="en-US" sz="4000" b="1">
                <a:solidFill>
                  <a:schemeClr val="tx2"/>
                </a:solidFill>
              </a:rPr>
              <a:t>PREM Survey Completion </a:t>
            </a:r>
            <a:br>
              <a:rPr lang="en-US" sz="4000" b="1"/>
            </a:br>
            <a:r>
              <a:rPr lang="en-US" sz="3200" b="1">
                <a:solidFill>
                  <a:schemeClr val="tx2"/>
                </a:solidFill>
              </a:rPr>
              <a:t>Goal </a:t>
            </a:r>
            <a:r>
              <a:rPr lang="en-US" sz="3200" b="1" u="sng">
                <a:solidFill>
                  <a:schemeClr val="tx2"/>
                </a:solidFill>
              </a:rPr>
              <a:t>&gt;</a:t>
            </a:r>
            <a:r>
              <a:rPr lang="en-US" sz="3200" b="1">
                <a:solidFill>
                  <a:schemeClr val="tx2"/>
                </a:solidFill>
              </a:rPr>
              <a:t>10% of births</a:t>
            </a:r>
            <a:endParaRPr lang="en-US" sz="3200" b="1">
              <a:solidFill>
                <a:schemeClr val="tx2"/>
              </a:solidFill>
              <a:ea typeface="Calibri"/>
              <a:cs typeface="Calibri"/>
            </a:endParaRPr>
          </a:p>
        </p:txBody>
      </p:sp>
      <p:sp>
        <p:nvSpPr>
          <p:cNvPr id="21457" name="Google Shape;21457;p18"/>
          <p:cNvSpPr/>
          <p:nvPr/>
        </p:nvSpPr>
        <p:spPr>
          <a:xfrm>
            <a:off x="313209" y="1445563"/>
            <a:ext cx="4774955" cy="1988599"/>
          </a:xfrm>
          <a:prstGeom prst="rect">
            <a:avLst/>
          </a:prstGeom>
          <a:solidFill>
            <a:schemeClr val="tx2"/>
          </a:solidFill>
          <a:ln w="12700" cap="flat" cmpd="sng">
            <a:solidFill>
              <a:srgbClr val="14356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r>
              <a:rPr lang="en-US"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r>
              <a:rPr lang="en-US" sz="2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10,040 </a:t>
            </a:r>
            <a:r>
              <a:rPr lang="en-US"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REM </a:t>
            </a:r>
            <a:r>
              <a:rPr lang="en-US" sz="2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surveys</a:t>
            </a:r>
            <a:endParaRPr lang="en-US" sz="140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algn="ctr"/>
            <a:r>
              <a:rPr lang="en-US" sz="280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76 </a:t>
            </a:r>
            <a:r>
              <a:rPr lang="en-US" sz="2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hospitals</a:t>
            </a: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endParaRPr sz="16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</a:pPr>
            <a:r>
              <a:rPr lang="en-US" sz="16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21% Black, 19% Hispanic, 5% Asian, 49% White</a:t>
            </a: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C3A38F17-682E-9A93-4E82-593387E3E0D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0699507"/>
              </p:ext>
            </p:extLst>
          </p:nvPr>
        </p:nvGraphicFramePr>
        <p:xfrm>
          <a:off x="103910" y="3717349"/>
          <a:ext cx="5283777" cy="29302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3CC0E4C7-559E-F111-1A33-2CB32F7B9FEB}"/>
              </a:ext>
            </a:extLst>
          </p:cNvPr>
          <p:cNvSpPr txBox="1"/>
          <p:nvPr/>
        </p:nvSpPr>
        <p:spPr>
          <a:xfrm>
            <a:off x="5569607" y="176312"/>
            <a:ext cx="6497903" cy="2369880"/>
          </a:xfrm>
          <a:prstGeom prst="rect">
            <a:avLst/>
          </a:prstGeom>
          <a:solidFill>
            <a:schemeClr val="tx2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800" dirty="0">
                <a:solidFill>
                  <a:schemeClr val="bg1"/>
                </a:solidFill>
                <a:cs typeface="Calibri"/>
              </a:rPr>
              <a:t>Improving Respectful Care</a:t>
            </a:r>
            <a:endParaRPr lang="en-US" sz="2800" dirty="0">
              <a:solidFill>
                <a:schemeClr val="bg1"/>
              </a:solidFill>
            </a:endParaRPr>
          </a:p>
          <a:p>
            <a:pPr algn="ctr"/>
            <a:endParaRPr lang="en-US" sz="2000" dirty="0">
              <a:solidFill>
                <a:schemeClr val="bg1"/>
              </a:solidFill>
              <a:ea typeface="Calibri"/>
              <a:cs typeface="Calibri"/>
            </a:endParaRPr>
          </a:p>
          <a:p>
            <a:pPr algn="ctr"/>
            <a:r>
              <a:rPr lang="en-US" sz="2000" b="1" dirty="0">
                <a:solidFill>
                  <a:schemeClr val="bg1"/>
                </a:solidFill>
                <a:cs typeface="Calibri"/>
              </a:rPr>
              <a:t>Reducing Black/White Disparity Gap</a:t>
            </a:r>
          </a:p>
          <a:p>
            <a:pPr algn="ctr"/>
            <a:r>
              <a:rPr lang="en-US" sz="2000" b="1" dirty="0">
                <a:solidFill>
                  <a:schemeClr val="bg1"/>
                </a:solidFill>
                <a:ea typeface="Calibri"/>
                <a:cs typeface="Calibri"/>
              </a:rPr>
              <a:t>But must work to eliminate</a:t>
            </a:r>
          </a:p>
          <a:p>
            <a:pPr algn="ctr"/>
            <a:endParaRPr lang="en-US" sz="2000" b="1" dirty="0">
              <a:solidFill>
                <a:schemeClr val="bg1"/>
              </a:solidFill>
              <a:ea typeface="Calibri"/>
              <a:cs typeface="Calibri"/>
            </a:endParaRPr>
          </a:p>
          <a:p>
            <a:pPr algn="ctr"/>
            <a:r>
              <a:rPr lang="en-US" sz="2000" dirty="0">
                <a:solidFill>
                  <a:schemeClr val="bg1"/>
                </a:solidFill>
                <a:ea typeface="Calibri"/>
                <a:cs typeface="Calibri"/>
              </a:rPr>
              <a:t>Continue to engage in active listening &amp; shared decision making to eliminate disparities</a:t>
            </a:r>
          </a:p>
        </p:txBody>
      </p:sp>
      <p:pic>
        <p:nvPicPr>
          <p:cNvPr id="3" name="Picture 2" descr="A graph of different colored bars&#10;&#10;Description automatically generated">
            <a:extLst>
              <a:ext uri="{FF2B5EF4-FFF2-40B4-BE49-F238E27FC236}">
                <a16:creationId xmlns:a16="http://schemas.microsoft.com/office/drawing/2014/main" id="{E7E1B381-6BD0-E101-17EA-CAF286C696B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6296" y="2508488"/>
            <a:ext cx="6484392" cy="414977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41FE9FB-90EA-ECE8-BCD5-904956C82088}"/>
              </a:ext>
            </a:extLst>
          </p:cNvPr>
          <p:cNvSpPr txBox="1"/>
          <p:nvPr/>
        </p:nvSpPr>
        <p:spPr>
          <a:xfrm>
            <a:off x="6280813" y="3667836"/>
            <a:ext cx="725037" cy="3696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dirty="0">
                <a:ea typeface="Calibri"/>
                <a:cs typeface="Calibri"/>
              </a:rPr>
              <a:t>20%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5DA78CD-577B-DF09-D984-D4A7CE891146}"/>
              </a:ext>
            </a:extLst>
          </p:cNvPr>
          <p:cNvSpPr txBox="1"/>
          <p:nvPr/>
        </p:nvSpPr>
        <p:spPr>
          <a:xfrm>
            <a:off x="6940454" y="4043149"/>
            <a:ext cx="725037" cy="3696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dirty="0">
                <a:ea typeface="Calibri"/>
                <a:cs typeface="Calibri"/>
              </a:rPr>
              <a:t>16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0E96B1-BB02-BD01-AA76-BB612B464883}"/>
              </a:ext>
            </a:extLst>
          </p:cNvPr>
          <p:cNvSpPr txBox="1"/>
          <p:nvPr/>
        </p:nvSpPr>
        <p:spPr>
          <a:xfrm>
            <a:off x="8396214" y="4441208"/>
            <a:ext cx="725037" cy="3696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dirty="0">
                <a:ea typeface="Calibri"/>
                <a:cs typeface="Calibri"/>
              </a:rPr>
              <a:t>12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5FCE3C-AC33-8037-84B2-ED25B6B0B3F3}"/>
              </a:ext>
            </a:extLst>
          </p:cNvPr>
          <p:cNvSpPr txBox="1"/>
          <p:nvPr/>
        </p:nvSpPr>
        <p:spPr>
          <a:xfrm>
            <a:off x="7713827" y="4202372"/>
            <a:ext cx="725037" cy="3696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dirty="0">
                <a:ea typeface="Calibri"/>
                <a:cs typeface="Calibri"/>
              </a:rPr>
              <a:t>15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B96043A-8E66-8800-5FE5-E37C99BECF4F}"/>
              </a:ext>
            </a:extLst>
          </p:cNvPr>
          <p:cNvSpPr txBox="1"/>
          <p:nvPr/>
        </p:nvSpPr>
        <p:spPr>
          <a:xfrm>
            <a:off x="9146841" y="3906669"/>
            <a:ext cx="725037" cy="3696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dirty="0">
                <a:ea typeface="Calibri"/>
                <a:cs typeface="Calibri"/>
              </a:rPr>
              <a:t>18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0A15AA-FDC7-9EA0-AF83-71306ACB5F83}"/>
              </a:ext>
            </a:extLst>
          </p:cNvPr>
          <p:cNvSpPr txBox="1"/>
          <p:nvPr/>
        </p:nvSpPr>
        <p:spPr>
          <a:xfrm>
            <a:off x="9806484" y="4156879"/>
            <a:ext cx="725037" cy="3696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dirty="0">
                <a:ea typeface="Calibri"/>
                <a:cs typeface="Calibri"/>
              </a:rPr>
              <a:t>15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A7EC345-8AA3-395E-EE3C-887250CD870E}"/>
              </a:ext>
            </a:extLst>
          </p:cNvPr>
          <p:cNvSpPr txBox="1"/>
          <p:nvPr/>
        </p:nvSpPr>
        <p:spPr>
          <a:xfrm>
            <a:off x="11228126" y="4418462"/>
            <a:ext cx="725037" cy="3696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dirty="0">
                <a:ea typeface="Calibri"/>
                <a:cs typeface="Calibri"/>
              </a:rPr>
              <a:t>12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87928A6-D717-305E-1D6B-9B05EB20B8B3}"/>
              </a:ext>
            </a:extLst>
          </p:cNvPr>
          <p:cNvSpPr txBox="1"/>
          <p:nvPr/>
        </p:nvSpPr>
        <p:spPr>
          <a:xfrm>
            <a:off x="10602603" y="4259238"/>
            <a:ext cx="725037" cy="3696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US" dirty="0">
                <a:ea typeface="Calibri"/>
                <a:cs typeface="Calibri"/>
              </a:rPr>
              <a:t>14%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941967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3423FF-1A00-EF64-E387-6952BD428B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571" y="92982"/>
            <a:ext cx="7227652" cy="1335088"/>
          </a:xfrm>
        </p:spPr>
        <p:txBody>
          <a:bodyPr/>
          <a:lstStyle/>
          <a:p>
            <a:r>
              <a:rPr lang="en-US" sz="3200"/>
              <a:t>Steps to Improve PREM Survey Completion, Share Data and Take Ac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5DF246-8512-4A02-70CC-1DFB9744D7A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8</a:t>
            </a:fld>
            <a:endParaRPr lang="en-US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D1099D7-47C7-665A-D774-1D7A02928F1A}"/>
              </a:ext>
            </a:extLst>
          </p:cNvPr>
          <p:cNvSpPr/>
          <p:nvPr/>
        </p:nvSpPr>
        <p:spPr>
          <a:xfrm>
            <a:off x="144601" y="2179911"/>
            <a:ext cx="2681603" cy="4063045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Access </a:t>
            </a:r>
            <a:r>
              <a:rPr lang="en-US" err="1">
                <a:solidFill>
                  <a:srgbClr val="000000"/>
                </a:solidFill>
                <a:ea typeface="+mn-lt"/>
                <a:cs typeface="+mn-lt"/>
              </a:rPr>
              <a:t>REDCap</a:t>
            </a: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 and review PREM survey reports </a:t>
            </a:r>
            <a:r>
              <a:rPr lang="en-US" b="1">
                <a:solidFill>
                  <a:srgbClr val="000000"/>
                </a:solidFill>
                <a:ea typeface="+mn-lt"/>
                <a:cs typeface="+mn-lt"/>
              </a:rPr>
              <a:t>(including completion rate report #15)</a:t>
            </a: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 with your Birth Equity team monthly.</a:t>
            </a:r>
            <a:endParaRPr lang="en-US">
              <a:solidFill>
                <a:srgbClr val="FFFFFF"/>
              </a:solidFill>
              <a:ea typeface="+mn-lt"/>
              <a:cs typeface="+mn-lt"/>
            </a:endParaRPr>
          </a:p>
          <a:p>
            <a:pPr algn="ctr"/>
            <a:endParaRPr lang="en-US">
              <a:cs typeface="Arial"/>
            </a:endParaRPr>
          </a:p>
          <a:p>
            <a:pPr algn="ctr"/>
            <a:r>
              <a:rPr lang="en-US" b="1" i="1">
                <a:solidFill>
                  <a:srgbClr val="000000"/>
                </a:solidFill>
                <a:ea typeface="+mn-lt"/>
                <a:cs typeface="+mn-lt"/>
              </a:rPr>
              <a:t>Achieve goal </a:t>
            </a:r>
            <a:r>
              <a:rPr lang="en-US" b="1" i="1" u="sng">
                <a:solidFill>
                  <a:srgbClr val="000000"/>
                </a:solidFill>
                <a:ea typeface="+mn-lt"/>
                <a:cs typeface="+mn-lt"/>
              </a:rPr>
              <a:t>&gt;</a:t>
            </a:r>
            <a:r>
              <a:rPr lang="en-US" b="1" i="1">
                <a:solidFill>
                  <a:srgbClr val="000000"/>
                </a:solidFill>
                <a:ea typeface="+mn-lt"/>
                <a:cs typeface="+mn-lt"/>
              </a:rPr>
              <a:t>10% of deliveries or </a:t>
            </a:r>
            <a:r>
              <a:rPr lang="en-US" b="1" i="1" u="sng">
                <a:solidFill>
                  <a:srgbClr val="000000"/>
                </a:solidFill>
                <a:ea typeface="+mn-lt"/>
                <a:cs typeface="+mn-lt"/>
              </a:rPr>
              <a:t>&gt;</a:t>
            </a:r>
            <a:r>
              <a:rPr lang="en-US" b="1" i="1">
                <a:solidFill>
                  <a:srgbClr val="000000"/>
                </a:solidFill>
                <a:ea typeface="+mn-lt"/>
                <a:cs typeface="+mn-lt"/>
              </a:rPr>
              <a:t>15 PREM surveys per month</a:t>
            </a:r>
            <a:endParaRPr lang="en-US" b="1">
              <a:cs typeface="Arial"/>
            </a:endParaRPr>
          </a:p>
        </p:txBody>
      </p:sp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AE190744-3169-50DB-404C-2DF1431E42E9}"/>
              </a:ext>
            </a:extLst>
          </p:cNvPr>
          <p:cNvSpPr/>
          <p:nvPr/>
        </p:nvSpPr>
        <p:spPr>
          <a:xfrm>
            <a:off x="5241471" y="2234928"/>
            <a:ext cx="2090058" cy="4008028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Share PREM survey results with OB clinical staff in break rooms, change of shift, OB provider meetings.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9586F59-5F78-0576-A898-EAE8E9DCD409}"/>
              </a:ext>
            </a:extLst>
          </p:cNvPr>
          <p:cNvSpPr/>
          <p:nvPr/>
        </p:nvSpPr>
        <p:spPr>
          <a:xfrm>
            <a:off x="2955471" y="2206353"/>
            <a:ext cx="2090058" cy="4008028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Download and print </a:t>
            </a:r>
            <a:r>
              <a:rPr lang="en-US" err="1">
                <a:solidFill>
                  <a:srgbClr val="000000"/>
                </a:solidFill>
                <a:ea typeface="+mn-lt"/>
                <a:cs typeface="+mn-lt"/>
              </a:rPr>
              <a:t>REDCap</a:t>
            </a: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 reports </a:t>
            </a:r>
            <a:r>
              <a:rPr lang="en-US" b="1">
                <a:solidFill>
                  <a:srgbClr val="000000"/>
                </a:solidFill>
                <a:ea typeface="+mn-lt"/>
                <a:cs typeface="+mn-lt"/>
              </a:rPr>
              <a:t>(including #16 for a summary)</a:t>
            </a:r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.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291644D-60F5-53CC-CB3F-59338D22E0D6}"/>
              </a:ext>
            </a:extLst>
          </p:cNvPr>
          <p:cNvSpPr/>
          <p:nvPr/>
        </p:nvSpPr>
        <p:spPr>
          <a:xfrm>
            <a:off x="7513864" y="2234928"/>
            <a:ext cx="2090058" cy="4008028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1">
                <a:lumMod val="5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Identify Respectful Care Practices to actively work on with your unit using Report #16.</a:t>
            </a:r>
            <a:endParaRPr lang="en-US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C7AFCE1B-A4A4-FAF1-4CB1-73D70E1EF580}"/>
              </a:ext>
            </a:extLst>
          </p:cNvPr>
          <p:cNvSpPr/>
          <p:nvPr/>
        </p:nvSpPr>
        <p:spPr>
          <a:xfrm>
            <a:off x="9745845" y="2245365"/>
            <a:ext cx="2236194" cy="3997590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>
                <a:solidFill>
                  <a:srgbClr val="000000"/>
                </a:solidFill>
                <a:ea typeface="+mn-lt"/>
                <a:cs typeface="+mn-lt"/>
              </a:rPr>
              <a:t>Review Respectful Care Practices with clinical teams and take action, such as: commit to sit, shared decision making, active listening, introductions to patient/family on room entry, and monitor for improvement.</a:t>
            </a:r>
            <a:endParaRPr lang="en-US">
              <a:ea typeface="+mn-lt"/>
              <a:cs typeface="+mn-lt"/>
            </a:endParaRPr>
          </a:p>
        </p:txBody>
      </p:sp>
      <p:pic>
        <p:nvPicPr>
          <p:cNvPr id="17" name="Graphic 16" descr="Statistics with solid fill">
            <a:extLst>
              <a:ext uri="{FF2B5EF4-FFF2-40B4-BE49-F238E27FC236}">
                <a16:creationId xmlns:a16="http://schemas.microsoft.com/office/drawing/2014/main" id="{D8C09A79-F650-FCA2-7579-FF0861F8131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79843" y="1261353"/>
            <a:ext cx="914400" cy="914400"/>
          </a:xfrm>
          <a:prstGeom prst="rect">
            <a:avLst/>
          </a:prstGeom>
        </p:spPr>
      </p:pic>
      <p:pic>
        <p:nvPicPr>
          <p:cNvPr id="18" name="Graphic 17" descr="Research with solid fill">
            <a:extLst>
              <a:ext uri="{FF2B5EF4-FFF2-40B4-BE49-F238E27FC236}">
                <a16:creationId xmlns:a16="http://schemas.microsoft.com/office/drawing/2014/main" id="{0D731AA7-34E5-66E3-9509-10899CD290D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0885" y="1261353"/>
            <a:ext cx="914400" cy="914400"/>
          </a:xfrm>
          <a:prstGeom prst="rect">
            <a:avLst/>
          </a:prstGeom>
        </p:spPr>
      </p:pic>
      <p:pic>
        <p:nvPicPr>
          <p:cNvPr id="19" name="Graphic 18" descr="Document with solid fill">
            <a:extLst>
              <a:ext uri="{FF2B5EF4-FFF2-40B4-BE49-F238E27FC236}">
                <a16:creationId xmlns:a16="http://schemas.microsoft.com/office/drawing/2014/main" id="{492C1608-57C2-1FEE-F10E-31080326622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638800" y="1261353"/>
            <a:ext cx="914400" cy="914400"/>
          </a:xfrm>
          <a:prstGeom prst="rect">
            <a:avLst/>
          </a:prstGeom>
        </p:spPr>
      </p:pic>
      <p:pic>
        <p:nvPicPr>
          <p:cNvPr id="20" name="Graphic 19" descr="Care with solid fill">
            <a:extLst>
              <a:ext uri="{FF2B5EF4-FFF2-40B4-BE49-F238E27FC236}">
                <a16:creationId xmlns:a16="http://schemas.microsoft.com/office/drawing/2014/main" id="{22F74B55-4289-1087-A20B-C7EFE8C222E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46396" y="1326204"/>
            <a:ext cx="914400" cy="914400"/>
          </a:xfrm>
          <a:prstGeom prst="rect">
            <a:avLst/>
          </a:prstGeom>
        </p:spPr>
      </p:pic>
      <p:pic>
        <p:nvPicPr>
          <p:cNvPr id="21" name="Graphic 20" descr="Doctor female with solid fill">
            <a:extLst>
              <a:ext uri="{FF2B5EF4-FFF2-40B4-BE49-F238E27FC236}">
                <a16:creationId xmlns:a16="http://schemas.microsoft.com/office/drawing/2014/main" id="{46F75366-E487-7196-D34A-5353DE5034BD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413460" y="1326204"/>
            <a:ext cx="914400" cy="914400"/>
          </a:xfrm>
          <a:prstGeom prst="rect">
            <a:avLst/>
          </a:prstGeom>
        </p:spPr>
      </p:pic>
      <p:sp>
        <p:nvSpPr>
          <p:cNvPr id="23" name="Google Shape;4201;p437">
            <a:extLst>
              <a:ext uri="{FF2B5EF4-FFF2-40B4-BE49-F238E27FC236}">
                <a16:creationId xmlns:a16="http://schemas.microsoft.com/office/drawing/2014/main" id="{42C3DB69-0B3F-B855-A78E-804C51026E86}"/>
              </a:ext>
            </a:extLst>
          </p:cNvPr>
          <p:cNvSpPr txBox="1"/>
          <p:nvPr/>
        </p:nvSpPr>
        <p:spPr>
          <a:xfrm>
            <a:off x="5890391" y="84553"/>
            <a:ext cx="3072246" cy="707846"/>
          </a:xfrm>
          <a:prstGeom prst="rect">
            <a:avLst/>
          </a:prstGeom>
          <a:solidFill>
            <a:srgbClr val="FDE766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en-US" sz="2000" b="1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EW resource located in your ILPQC F2F Folder!</a:t>
            </a:r>
            <a:endParaRPr lang="en-US" sz="2000" i="1">
              <a:solidFill>
                <a:schemeClr val="dk1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3" name="Picture 2" descr="A screenshot of a medical report&#10;&#10;Description automatically generated">
            <a:extLst>
              <a:ext uri="{FF2B5EF4-FFF2-40B4-BE49-F238E27FC236}">
                <a16:creationId xmlns:a16="http://schemas.microsoft.com/office/drawing/2014/main" id="{79363645-D886-F914-7B64-F333D829DB2C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8314" y="95184"/>
            <a:ext cx="1115210" cy="122925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6" name="Picture 5" descr="A screenshot of a survey&#10;&#10;Description automatically generated">
            <a:extLst>
              <a:ext uri="{FF2B5EF4-FFF2-40B4-BE49-F238E27FC236}">
                <a16:creationId xmlns:a16="http://schemas.microsoft.com/office/drawing/2014/main" id="{B09CF3BC-91D2-7C83-2497-F9C24F77C6A9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4070" y="98528"/>
            <a:ext cx="975054" cy="1228276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434903660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8F2EE5-71F3-AF85-D17F-A5315EF7F5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501" y="61938"/>
            <a:ext cx="5951951" cy="1262933"/>
          </a:xfrm>
        </p:spPr>
        <p:txBody>
          <a:bodyPr/>
          <a:lstStyle/>
          <a:p>
            <a:r>
              <a:rPr lang="en-US"/>
              <a:t>Make the Most of ILPQC PREM </a:t>
            </a:r>
            <a:r>
              <a:rPr lang="en-US" err="1"/>
              <a:t>REDCap</a:t>
            </a:r>
            <a:r>
              <a:rPr lang="en-US"/>
              <a:t> Reports 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33D5C-E772-66C6-7527-787E73AEEEE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39</a:t>
            </a:fld>
            <a:endParaRPr lang="en-US"/>
          </a:p>
        </p:txBody>
      </p:sp>
      <p:pic>
        <p:nvPicPr>
          <p:cNvPr id="7" name="Picture 6" descr="A screenshot of a medical report&#10;&#10;Description automatically generated">
            <a:extLst>
              <a:ext uri="{FF2B5EF4-FFF2-40B4-BE49-F238E27FC236}">
                <a16:creationId xmlns:a16="http://schemas.microsoft.com/office/drawing/2014/main" id="{7C2379CE-6182-1238-0C7A-2BBA046D752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63647" y="48240"/>
            <a:ext cx="1068289" cy="141341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Picture 7" descr="A screenshot of a survey&#10;&#10;Description automatically generated">
            <a:extLst>
              <a:ext uri="{FF2B5EF4-FFF2-40B4-BE49-F238E27FC236}">
                <a16:creationId xmlns:a16="http://schemas.microsoft.com/office/drawing/2014/main" id="{97FE1371-2DDB-4813-85F9-9F752E25574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4017" y="65794"/>
            <a:ext cx="1057853" cy="140909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1" name="Google Shape;4201;p437">
            <a:extLst>
              <a:ext uri="{FF2B5EF4-FFF2-40B4-BE49-F238E27FC236}">
                <a16:creationId xmlns:a16="http://schemas.microsoft.com/office/drawing/2014/main" id="{F155C0C8-E905-D666-3B74-73677630488F}"/>
              </a:ext>
            </a:extLst>
          </p:cNvPr>
          <p:cNvSpPr txBox="1"/>
          <p:nvPr/>
        </p:nvSpPr>
        <p:spPr>
          <a:xfrm>
            <a:off x="6196283" y="185785"/>
            <a:ext cx="2504800" cy="1015622"/>
          </a:xfrm>
          <a:prstGeom prst="rect">
            <a:avLst/>
          </a:prstGeom>
          <a:solidFill>
            <a:srgbClr val="FDE766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en-US" sz="2000" b="1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Resource located in your ILPQC F2F Folder!</a:t>
            </a:r>
            <a:endParaRPr lang="en-US" sz="2000" i="1">
              <a:solidFill>
                <a:schemeClr val="dk1"/>
              </a:solidFill>
              <a:latin typeface="Calibri"/>
              <a:ea typeface="Calibri"/>
              <a:cs typeface="Calibri"/>
            </a:endParaRPr>
          </a:p>
        </p:txBody>
      </p:sp>
      <p:pic>
        <p:nvPicPr>
          <p:cNvPr id="3" name="Picture 2" descr="A graph with a line and numbers&#10;&#10;Description automatically generated">
            <a:extLst>
              <a:ext uri="{FF2B5EF4-FFF2-40B4-BE49-F238E27FC236}">
                <a16:creationId xmlns:a16="http://schemas.microsoft.com/office/drawing/2014/main" id="{E429DE55-8AEC-0985-7201-AC3E731F954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36" y="1457375"/>
            <a:ext cx="6597043" cy="140687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4AB445E-80F7-DCA5-2999-974ADC1CF939}"/>
              </a:ext>
            </a:extLst>
          </p:cNvPr>
          <p:cNvSpPr txBox="1"/>
          <p:nvPr/>
        </p:nvSpPr>
        <p:spPr>
          <a:xfrm>
            <a:off x="6971628" y="1662618"/>
            <a:ext cx="4622643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solidFill>
                  <a:srgbClr val="000000"/>
                </a:solidFill>
                <a:ea typeface="+mn-lt"/>
                <a:cs typeface="+mn-lt"/>
              </a:rPr>
              <a:t>Report 1: Individual PREM question report – showing improvement over time</a:t>
            </a:r>
          </a:p>
        </p:txBody>
      </p:sp>
      <p:pic>
        <p:nvPicPr>
          <p:cNvPr id="9" name="Picture 8" descr="A screenshot of a graph&#10;&#10;Description automatically generated">
            <a:extLst>
              <a:ext uri="{FF2B5EF4-FFF2-40B4-BE49-F238E27FC236}">
                <a16:creationId xmlns:a16="http://schemas.microsoft.com/office/drawing/2014/main" id="{F1075B9F-6B07-045E-45CF-D4F7EED29EA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49" y="3060111"/>
            <a:ext cx="5572846" cy="1954465"/>
          </a:xfrm>
          <a:prstGeom prst="rect">
            <a:avLst/>
          </a:prstGeom>
        </p:spPr>
      </p:pic>
      <p:pic>
        <p:nvPicPr>
          <p:cNvPr id="10" name="Picture 9" descr="A close up of words&#10;&#10;Description automatically generated">
            <a:extLst>
              <a:ext uri="{FF2B5EF4-FFF2-40B4-BE49-F238E27FC236}">
                <a16:creationId xmlns:a16="http://schemas.microsoft.com/office/drawing/2014/main" id="{B6379BC8-7594-4EE0-6662-7EA75A51DF95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088" y="5256600"/>
            <a:ext cx="7820026" cy="966869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C7DED16-D97C-8C33-6F1F-057068045A43}"/>
              </a:ext>
            </a:extLst>
          </p:cNvPr>
          <p:cNvSpPr txBox="1"/>
          <p:nvPr/>
        </p:nvSpPr>
        <p:spPr>
          <a:xfrm>
            <a:off x="6366174" y="3430941"/>
            <a:ext cx="5392428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solidFill>
                  <a:srgbClr val="000000"/>
                </a:solidFill>
                <a:ea typeface="+mn-lt"/>
                <a:cs typeface="+mn-lt"/>
              </a:rPr>
              <a:t>Report 15: PREM survey completion over time and stratified by race, ethnicity, and insurance</a:t>
            </a:r>
            <a:endParaRPr lang="en-US" sz="2400">
              <a:cs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992A679-1FC1-97F5-5F40-BD90464A9857}"/>
              </a:ext>
            </a:extLst>
          </p:cNvPr>
          <p:cNvSpPr txBox="1"/>
          <p:nvPr/>
        </p:nvSpPr>
        <p:spPr>
          <a:xfrm rot="10800000" flipV="1">
            <a:off x="8081190" y="5140285"/>
            <a:ext cx="4089732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solidFill>
                  <a:srgbClr val="000000"/>
                </a:solidFill>
                <a:ea typeface="+mn-lt"/>
                <a:cs typeface="+mn-lt"/>
              </a:rPr>
              <a:t>Report 16: Summary data report – highlights key areas for improvement</a:t>
            </a:r>
            <a:endParaRPr lang="en-US" sz="240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174113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A4373170-2C28-CD1A-77C2-2C438DED3E37}"/>
              </a:ext>
            </a:extLst>
          </p:cNvPr>
          <p:cNvSpPr/>
          <p:nvPr/>
        </p:nvSpPr>
        <p:spPr>
          <a:xfrm>
            <a:off x="76136" y="4782"/>
            <a:ext cx="12048227" cy="78438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5BF5FE2-3593-7F7E-F1B8-4CA1925793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483350"/>
            <a:ext cx="4114800" cy="365125"/>
          </a:xfrm>
        </p:spPr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aphicFrame>
        <p:nvGraphicFramePr>
          <p:cNvPr id="16" name="Content Placeholder 15">
            <a:extLst>
              <a:ext uri="{FF2B5EF4-FFF2-40B4-BE49-F238E27FC236}">
                <a16:creationId xmlns:a16="http://schemas.microsoft.com/office/drawing/2014/main" id="{DE64B945-7212-9FFF-3379-3310FE4BFECC}"/>
              </a:ext>
            </a:extLst>
          </p:cNvPr>
          <p:cNvGraphicFramePr>
            <a:graphicFrameLocks noGrp="1"/>
          </p:cNvGraphicFramePr>
          <p:nvPr>
            <p:ph sz="half" idx="1"/>
          </p:nvPr>
        </p:nvGraphicFramePr>
        <p:xfrm>
          <a:off x="0" y="1296758"/>
          <a:ext cx="6376467" cy="525765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2492">
                  <a:extLst>
                    <a:ext uri="{9D8B030D-6E8A-4147-A177-3AD203B41FA5}">
                      <a16:colId xmlns:a16="http://schemas.microsoft.com/office/drawing/2014/main" val="1829459250"/>
                    </a:ext>
                  </a:extLst>
                </a:gridCol>
                <a:gridCol w="5013975">
                  <a:extLst>
                    <a:ext uri="{9D8B030D-6E8A-4147-A177-3AD203B41FA5}">
                      <a16:colId xmlns:a16="http://schemas.microsoft.com/office/drawing/2014/main" val="1819952698"/>
                    </a:ext>
                  </a:extLst>
                </a:gridCol>
              </a:tblGrid>
              <a:tr h="761296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50" b="1">
                          <a:solidFill>
                            <a:schemeClr val="accent1"/>
                          </a:solidFill>
                          <a:effectLst/>
                        </a:rPr>
                        <a:t>9:15-9:45a </a:t>
                      </a:r>
                      <a:endParaRPr lang="en-US" sz="145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>
                    <a:solidFill>
                      <a:srgbClr val="E7E9E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50" b="1">
                          <a:solidFill>
                            <a:schemeClr val="accent1"/>
                          </a:solidFill>
                          <a:effectLst/>
                        </a:rPr>
                        <a:t>We’ve Launched! Getting our “Booties” to Work with ESSI</a:t>
                      </a:r>
                    </a:p>
                    <a:p>
                      <a:pPr algn="l" rtl="0" fontAlgn="base"/>
                      <a:r>
                        <a:rPr lang="en-US" sz="1450" b="1" i="0" u="none" strike="noStrike" kern="1200" baseline="0">
                          <a:solidFill>
                            <a:srgbClr val="F583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slie Caldarelli, MD and Justin Josephsen, MD 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1468567"/>
                  </a:ext>
                </a:extLst>
              </a:tr>
              <a:tr h="761296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50" b="1">
                          <a:solidFill>
                            <a:schemeClr val="accent1"/>
                          </a:solidFill>
                          <a:effectLst/>
                        </a:rPr>
                        <a:t>9:45-10:40a </a:t>
                      </a:r>
                      <a:endParaRPr lang="en-US" sz="145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450" b="1" i="0" u="none" strike="noStrike" kern="1200" baseline="0" noProof="0">
                          <a:solidFill>
                            <a:srgbClr val="1C498B"/>
                          </a:solidFill>
                          <a:effectLst/>
                          <a:latin typeface="+mn-lt"/>
                        </a:rPr>
                        <a:t>Addressing Social Determinants of Health in the NICU Setting</a:t>
                      </a:r>
                      <a:endParaRPr lang="en-US" sz="1450">
                        <a:latin typeface="+mn-lt"/>
                      </a:endParaRPr>
                    </a:p>
                    <a:p>
                      <a:pPr lvl="0" algn="l">
                        <a:buNone/>
                      </a:pPr>
                      <a:r>
                        <a:rPr lang="en-US" sz="1450" b="1" i="0" u="none" strike="noStrike" kern="1200" baseline="0" noProof="0">
                          <a:solidFill>
                            <a:srgbClr val="F58366"/>
                          </a:solidFill>
                          <a:latin typeface="+mn-lt"/>
                        </a:rPr>
                        <a:t>Meg Parker, MD, MPH</a:t>
                      </a:r>
                    </a:p>
                  </a:txBody>
                  <a:tcPr>
                    <a:solidFill>
                      <a:srgbClr val="CCC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3591664"/>
                  </a:ext>
                </a:extLst>
              </a:tr>
              <a:tr h="777157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50" b="1">
                          <a:solidFill>
                            <a:schemeClr val="accent1"/>
                          </a:solidFill>
                          <a:effectLst/>
                        </a:rPr>
                        <a:t>10:40-10:55a</a:t>
                      </a:r>
                      <a:endParaRPr lang="en-US" sz="145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50" b="1">
                          <a:solidFill>
                            <a:schemeClr val="accent1"/>
                          </a:solidFill>
                          <a:effectLst/>
                        </a:rPr>
                        <a:t>Break 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5785348"/>
                  </a:ext>
                </a:extLst>
              </a:tr>
              <a:tr h="539252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50" b="1">
                          <a:solidFill>
                            <a:schemeClr val="accent1"/>
                          </a:solidFill>
                          <a:effectLst/>
                        </a:rPr>
                        <a:t>10:55-11:55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450" b="1" i="0" u="none" strike="noStrike" kern="1200" baseline="0" noProof="0">
                          <a:solidFill>
                            <a:srgbClr val="1C498B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moting Safe Sleep in Illinois Hospitals</a:t>
                      </a:r>
                    </a:p>
                    <a:p>
                      <a:pPr lvl="0" algn="l">
                        <a:buNone/>
                      </a:pPr>
                      <a:r>
                        <a:rPr lang="en-US" sz="1450" b="1" i="0" u="none" strike="noStrike" kern="1200" baseline="0" noProof="0">
                          <a:solidFill>
                            <a:srgbClr val="F58366"/>
                          </a:solidFill>
                          <a:latin typeface="+mn-lt"/>
                        </a:rPr>
                        <a:t>Bryanne Colvin, MD</a:t>
                      </a:r>
                      <a:endParaRPr lang="en-US" sz="1450" b="1" i="0">
                        <a:latin typeface="+mn-lt"/>
                      </a:endParaRPr>
                    </a:p>
                    <a:p>
                      <a:pPr lvl="0" algn="l">
                        <a:buNone/>
                      </a:pPr>
                      <a:r>
                        <a:rPr lang="en-US" sz="1450" b="1" i="0" u="none" strike="noStrike" kern="1200" baseline="0" noProof="0">
                          <a:solidFill>
                            <a:srgbClr val="F58366"/>
                          </a:solidFill>
                          <a:latin typeface="+mn-lt"/>
                        </a:rPr>
                        <a:t>Christie Lawrence, DNP, RNC-NIC, APN/CNS</a:t>
                      </a:r>
                      <a:endParaRPr lang="en-US" sz="1450" b="1" i="0">
                        <a:latin typeface="+mn-lt"/>
                      </a:endParaRPr>
                    </a:p>
                    <a:p>
                      <a:pPr lvl="0" algn="l">
                        <a:buNone/>
                      </a:pPr>
                      <a:r>
                        <a:rPr lang="en-US" sz="1450" b="1" i="0" u="none" strike="noStrike" kern="1200" baseline="0" noProof="0">
                          <a:solidFill>
                            <a:srgbClr val="F58366"/>
                          </a:solidFill>
                          <a:latin typeface="+mn-lt"/>
                          <a:ea typeface="+mn-ea"/>
                          <a:cs typeface="+mn-cs"/>
                        </a:rPr>
                        <a:t>Gina Lowell, MD, MP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30538443"/>
                  </a:ext>
                </a:extLst>
              </a:tr>
              <a:tr h="1221246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450" b="1">
                          <a:solidFill>
                            <a:schemeClr val="accent1"/>
                          </a:solidFill>
                          <a:effectLst/>
                        </a:rPr>
                        <a:t>11:55-12:55pm</a:t>
                      </a:r>
                      <a:endParaRPr lang="en-US" sz="1450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50" b="1" i="0" u="none" strike="noStrike" kern="1200">
                          <a:solidFill>
                            <a:schemeClr val="accent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Teams Storyboard</a:t>
                      </a:r>
                      <a:r>
                        <a:rPr lang="en-US" sz="1450" b="1" i="0" u="none" strike="noStrike" kern="1200" baseline="0">
                          <a:solidFill>
                            <a:schemeClr val="accent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 Session</a:t>
                      </a:r>
                    </a:p>
                    <a:p>
                      <a:pPr lvl="0">
                        <a:buNone/>
                      </a:pPr>
                      <a:r>
                        <a:rPr lang="en-US" sz="1450" b="1" i="0" u="none" strike="noStrike" kern="1200" baseline="0">
                          <a:solidFill>
                            <a:schemeClr val="accent1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Networking Lun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329581"/>
                  </a:ext>
                </a:extLst>
              </a:tr>
              <a:tr h="761296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50" b="1">
                          <a:solidFill>
                            <a:schemeClr val="accent1"/>
                          </a:solidFill>
                          <a:effectLst/>
                        </a:rPr>
                        <a:t>9:15-9:45a </a:t>
                      </a:r>
                      <a:endParaRPr lang="en-US" sz="1450" b="1" i="0">
                        <a:solidFill>
                          <a:schemeClr val="accent1"/>
                        </a:solidFill>
                        <a:effectLst/>
                      </a:endParaRPr>
                    </a:p>
                  </a:txBody>
                  <a:tcPr>
                    <a:solidFill>
                      <a:srgbClr val="E7E9E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50" b="1">
                          <a:solidFill>
                            <a:schemeClr val="accent1"/>
                          </a:solidFill>
                          <a:effectLst/>
                        </a:rPr>
                        <a:t>We’ve Launched! Getting our “Booties” to Work with ESSI</a:t>
                      </a:r>
                    </a:p>
                    <a:p>
                      <a:pPr algn="l" rtl="0" fontAlgn="base"/>
                      <a:r>
                        <a:rPr lang="en-US" sz="1450" b="1" i="0" u="none" strike="noStrike" kern="1200" baseline="0">
                          <a:solidFill>
                            <a:srgbClr val="F58366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slie Caldarelli, MD and Justin Josephsen, MD 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23712781"/>
                  </a:ext>
                </a:extLst>
              </a:tr>
            </a:tbl>
          </a:graphicData>
        </a:graphic>
      </p:graphicFrame>
      <p:graphicFrame>
        <p:nvGraphicFramePr>
          <p:cNvPr id="22" name="Content Placeholder 21">
            <a:extLst>
              <a:ext uri="{FF2B5EF4-FFF2-40B4-BE49-F238E27FC236}">
                <a16:creationId xmlns:a16="http://schemas.microsoft.com/office/drawing/2014/main" id="{90AC4595-BFB4-D866-6CAA-47679C1BCC1F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6374068" y="1294359"/>
          <a:ext cx="5817932" cy="55941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3889">
                  <a:extLst>
                    <a:ext uri="{9D8B030D-6E8A-4147-A177-3AD203B41FA5}">
                      <a16:colId xmlns:a16="http://schemas.microsoft.com/office/drawing/2014/main" val="2542047838"/>
                    </a:ext>
                  </a:extLst>
                </a:gridCol>
                <a:gridCol w="4744043">
                  <a:extLst>
                    <a:ext uri="{9D8B030D-6E8A-4147-A177-3AD203B41FA5}">
                      <a16:colId xmlns:a16="http://schemas.microsoft.com/office/drawing/2014/main" val="315581152"/>
                    </a:ext>
                  </a:extLst>
                </a:gridCol>
              </a:tblGrid>
              <a:tr h="1561548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5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:55-1:40p</a:t>
                      </a:r>
                    </a:p>
                  </a:txBody>
                  <a:tcPr>
                    <a:solidFill>
                      <a:srgbClr val="CCC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450" b="1" i="0" u="none" strike="noStrike" kern="1200" baseline="0" noProof="0">
                          <a:solidFill>
                            <a:srgbClr val="7030A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Breakout Session #1: Small Group Key Discussions on Implementation Strategies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450" b="0" i="1" u="none" strike="noStrike" kern="1200" baseline="0" noProof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Sharing Strategies for Effective Equity Education 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450" b="0" i="1" u="none" strike="noStrike" kern="1200" baseline="0" noProof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Safe Sleep: Beyond the ABCs 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lang="en-US" sz="1450" b="0" i="1" u="none" strike="noStrike" kern="1200" baseline="0" noProof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/>
                        </a:rPr>
                        <a:t>Parent Partners and Respectful Care Breakfasts: Lessons Learned from Birth Equity Teams</a:t>
                      </a:r>
                      <a:endParaRPr lang="en-US" sz="1450" b="0" i="1" u="none" strike="noStrike" kern="1200" baseline="0" noProof="0">
                        <a:solidFill>
                          <a:schemeClr val="accen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CCC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6081986"/>
                  </a:ext>
                </a:extLst>
              </a:tr>
              <a:tr h="366361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5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:40-1:50p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ase"/>
                      <a:r>
                        <a:rPr lang="en-US" sz="145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nsition to Breakout Sessions/Break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0432076"/>
                  </a:ext>
                </a:extLst>
              </a:tr>
              <a:tr h="1064191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5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:50- 2:35p </a:t>
                      </a:r>
                      <a:endParaRPr lang="en-US" sz="1450" b="1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rgbClr val="CCCFDA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450" b="1" i="0" u="none" strike="noStrike" kern="1200" baseline="0" noProof="0">
                          <a:solidFill>
                            <a:srgbClr val="7030A0"/>
                          </a:solidFill>
                          <a:effectLst/>
                          <a:latin typeface="+mn-lt"/>
                        </a:rPr>
                        <a:t>Breakout Session #2: Small Group Key Discussions on Implementation Strategies </a:t>
                      </a:r>
                    </a:p>
                    <a:p>
                      <a:pPr marL="285750" lvl="0" indent="-285750" algn="l">
                        <a:lnSpc>
                          <a:spcPct val="100000"/>
                        </a:lnSpc>
                        <a:buFont typeface="Arial"/>
                        <a:buChar char="•"/>
                      </a:pPr>
                      <a:r>
                        <a:rPr lang="en-US" sz="1450" b="0" i="1" u="none" strike="noStrike" kern="1200" baseline="0" noProof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See list of sessions above</a:t>
                      </a:r>
                      <a:endParaRPr lang="en-US" sz="1450" b="0" i="1" u="none" strike="noStrike" kern="1200" baseline="0" noProof="0">
                        <a:solidFill>
                          <a:srgbClr val="7030A0"/>
                        </a:solidFill>
                        <a:effectLst/>
                        <a:latin typeface="+mn-lt"/>
                      </a:endParaRPr>
                    </a:p>
                  </a:txBody>
                  <a:tcPr>
                    <a:solidFill>
                      <a:srgbClr val="CCC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1496713"/>
                  </a:ext>
                </a:extLst>
              </a:tr>
              <a:tr h="366361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5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:35-2:45p 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tc>
                  <a:txBody>
                    <a:bodyPr/>
                    <a:lstStyle/>
                    <a:p>
                      <a:pPr rtl="0" fontAlgn="base"/>
                      <a:r>
                        <a:rPr lang="en-US" sz="145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nsition to Breakout</a:t>
                      </a:r>
                      <a:r>
                        <a:rPr lang="en-US" sz="1450" b="1" kern="1200" baseline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essions</a:t>
                      </a:r>
                      <a:r>
                        <a:rPr lang="en-US" sz="145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Break 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1516814"/>
                  </a:ext>
                </a:extLst>
              </a:tr>
              <a:tr h="1064191">
                <a:tc>
                  <a:txBody>
                    <a:bodyPr/>
                    <a:lstStyle/>
                    <a:p>
                      <a:pPr algn="ctr" rtl="0" fontAlgn="base"/>
                      <a:r>
                        <a:rPr lang="en-US" sz="1450" b="1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:45-3:30p</a:t>
                      </a:r>
                      <a:endParaRPr lang="en-US" sz="1450" b="1">
                        <a:solidFill>
                          <a:schemeClr val="accent1"/>
                        </a:solidFill>
                      </a:endParaRPr>
                    </a:p>
                  </a:txBody>
                  <a:tcPr>
                    <a:solidFill>
                      <a:srgbClr val="CCCFDA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>
                        <a:lnSpc>
                          <a:spcPct val="100000"/>
                        </a:lnSpc>
                        <a:buNone/>
                      </a:pPr>
                      <a:r>
                        <a:rPr lang="en-US" sz="1450" b="1" i="0" u="none" strike="noStrike" baseline="0" noProof="0">
                          <a:solidFill>
                            <a:srgbClr val="7030A0"/>
                          </a:solidFill>
                          <a:effectLst/>
                          <a:latin typeface="+mn-lt"/>
                        </a:rPr>
                        <a:t>Breakout Session #3: Small Group Key Discussions on Implementation Strategies</a:t>
                      </a:r>
                    </a:p>
                    <a:p>
                      <a:pPr marL="285750" lvl="0" indent="-285750" algn="l">
                        <a:lnSpc>
                          <a:spcPct val="100000"/>
                        </a:lnSpc>
                        <a:buFont typeface="Arial"/>
                        <a:buChar char="•"/>
                      </a:pPr>
                      <a:r>
                        <a:rPr lang="en-US" sz="1450" b="0" i="1" u="none" strike="noStrike" baseline="0" noProof="0">
                          <a:solidFill>
                            <a:srgbClr val="1C498B"/>
                          </a:solidFill>
                          <a:effectLst/>
                          <a:latin typeface="+mn-lt"/>
                        </a:rPr>
                        <a:t>See list of sessions above</a:t>
                      </a:r>
                    </a:p>
                    <a:p>
                      <a:pPr rtl="0" fontAlgn="base"/>
                      <a:endParaRPr lang="en-US" sz="1450" b="0" i="0" u="none" strike="noStrike" kern="120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CCC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9608245"/>
                  </a:ext>
                </a:extLst>
              </a:tr>
              <a:tr h="837397"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50" b="1">
                          <a:solidFill>
                            <a:schemeClr val="accent1"/>
                          </a:solidFill>
                          <a:effectLst/>
                          <a:latin typeface="Calibri"/>
                        </a:rPr>
                        <a:t>3:30-3:45p</a:t>
                      </a:r>
                    </a:p>
                  </a:txBody>
                  <a:tcPr>
                    <a:solidFill>
                      <a:srgbClr val="E7E9EE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base"/>
                      <a:r>
                        <a:rPr lang="en-US" sz="1450" b="1">
                          <a:solidFill>
                            <a:schemeClr val="accent1"/>
                          </a:solidFill>
                          <a:effectLst/>
                          <a:latin typeface="Calibri"/>
                        </a:rPr>
                        <a:t>Wrap-up, Next steps for 2024</a:t>
                      </a:r>
                    </a:p>
                    <a:p>
                      <a:pPr lvl="0" algn="l">
                        <a:buNone/>
                      </a:pPr>
                      <a:r>
                        <a:rPr lang="en-US" sz="1450" b="1" i="0" u="none" strike="noStrike" noProof="0">
                          <a:solidFill>
                            <a:srgbClr val="F58366"/>
                          </a:solidFill>
                          <a:effectLst/>
                          <a:latin typeface="Calibri"/>
                        </a:rPr>
                        <a:t>Leslie Caldarelli, MD and Justin Josephsen, MD</a:t>
                      </a:r>
                      <a:r>
                        <a:rPr lang="en-US" sz="1450" b="1" i="0" u="none" strike="noStrike" noProof="0">
                          <a:solidFill>
                            <a:srgbClr val="F58366"/>
                          </a:solidFill>
                          <a:effectLst/>
                        </a:rPr>
                        <a:t> </a:t>
                      </a:r>
                      <a:endParaRPr lang="en-US" sz="1450"/>
                    </a:p>
                  </a:txBody>
                  <a:tcPr>
                    <a:solidFill>
                      <a:srgbClr val="E7E9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38543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60EC8A0-D429-73A7-4632-4E9A5872C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5336" y="1"/>
            <a:ext cx="12207336" cy="1294358"/>
          </a:xfrm>
          <a:solidFill>
            <a:schemeClr val="accent1"/>
          </a:solidFill>
        </p:spPr>
        <p:txBody>
          <a:bodyPr/>
          <a:lstStyle/>
          <a:p>
            <a:pPr algn="ctr"/>
            <a:r>
              <a:rPr lang="en-US" sz="3000">
                <a:solidFill>
                  <a:schemeClr val="accent3"/>
                </a:solidFill>
                <a:ea typeface="Calibri"/>
                <a:cs typeface="Calibri"/>
              </a:rPr>
              <a:t>ILPQC Face-to-Face 2024: Day #2 Neonatal Agenda</a:t>
            </a:r>
            <a:endParaRPr lang="en-US">
              <a:solidFill>
                <a:schemeClr val="accent3"/>
              </a:solidFill>
              <a:ea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56587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41" name="Google Shape;4241;p440"/>
          <p:cNvSpPr/>
          <p:nvPr/>
        </p:nvSpPr>
        <p:spPr>
          <a:xfrm>
            <a:off x="-1" y="-47625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42" name="Google Shape;4242;p440"/>
          <p:cNvSpPr txBox="1">
            <a:spLocks noGrp="1"/>
          </p:cNvSpPr>
          <p:nvPr>
            <p:ph type="title"/>
          </p:nvPr>
        </p:nvSpPr>
        <p:spPr>
          <a:xfrm>
            <a:off x="838200" y="-48774"/>
            <a:ext cx="10515600" cy="11336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</a:pPr>
            <a:r>
              <a:rPr lang="en-US" sz="4000"/>
              <a:t>Engage Patients and Community in QI Work</a:t>
            </a:r>
            <a:endParaRPr/>
          </a:p>
        </p:txBody>
      </p:sp>
      <p:sp>
        <p:nvSpPr>
          <p:cNvPr id="4243" name="Google Shape;4243;p440"/>
          <p:cNvSpPr txBox="1">
            <a:spLocks noGrp="1"/>
          </p:cNvSpPr>
          <p:nvPr>
            <p:ph type="sldNum" idx="12"/>
          </p:nvPr>
        </p:nvSpPr>
        <p:spPr>
          <a:xfrm>
            <a:off x="8331674" y="5906553"/>
            <a:ext cx="2031601" cy="2704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88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40</a:t>
            </a:fld>
            <a:endParaRPr/>
          </a:p>
        </p:txBody>
      </p:sp>
      <p:sp>
        <p:nvSpPr>
          <p:cNvPr id="4244" name="Google Shape;4244;p440"/>
          <p:cNvSpPr txBox="1">
            <a:spLocks noGrp="1"/>
          </p:cNvSpPr>
          <p:nvPr>
            <p:ph type="ftr" idx="11"/>
          </p:nvPr>
        </p:nvSpPr>
        <p:spPr>
          <a:xfrm>
            <a:off x="10184047" y="6490753"/>
            <a:ext cx="1913927" cy="3180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88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sp>
        <p:nvSpPr>
          <p:cNvPr id="4245" name="Google Shape;4245;p440"/>
          <p:cNvSpPr txBox="1"/>
          <p:nvPr/>
        </p:nvSpPr>
        <p:spPr>
          <a:xfrm>
            <a:off x="1921893" y="993637"/>
            <a:ext cx="366335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4% --&gt; 62%</a:t>
            </a:r>
            <a:endParaRPr sz="4000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49" name="Google Shape;4249;p440"/>
          <p:cNvSpPr txBox="1"/>
          <p:nvPr/>
        </p:nvSpPr>
        <p:spPr>
          <a:xfrm>
            <a:off x="9649998" y="1152336"/>
            <a:ext cx="2449213" cy="830956"/>
          </a:xfrm>
          <a:prstGeom prst="rect">
            <a:avLst/>
          </a:prstGeom>
          <a:solidFill>
            <a:srgbClr val="FDE766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ocated in your ILPQC F2F Folder!</a:t>
            </a:r>
            <a:endParaRPr sz="1800" i="1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Google Shape;4174;p435">
            <a:extLst>
              <a:ext uri="{FF2B5EF4-FFF2-40B4-BE49-F238E27FC236}">
                <a16:creationId xmlns:a16="http://schemas.microsoft.com/office/drawing/2014/main" id="{48359934-79DF-1A8A-D1E0-E4A2928EF32F}"/>
              </a:ext>
            </a:extLst>
          </p:cNvPr>
          <p:cNvSpPr txBox="1"/>
          <p:nvPr/>
        </p:nvSpPr>
        <p:spPr>
          <a:xfrm>
            <a:off x="298832" y="5215045"/>
            <a:ext cx="7616696" cy="1477287"/>
          </a:xfrm>
          <a:prstGeom prst="rect">
            <a:avLst/>
          </a:prstGeom>
          <a:noFill/>
          <a:ln w="57150" cap="flat" cmpd="sng">
            <a:solidFill>
              <a:srgbClr val="00B05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en-US" b="1" u="sng" dirty="0">
                <a:solidFill>
                  <a:srgbClr val="0C1625"/>
                </a:solidFill>
                <a:latin typeface="Calibri"/>
                <a:ea typeface="Calibri"/>
                <a:cs typeface="Calibri"/>
              </a:rPr>
              <a:t>Key strategies to have in place:</a:t>
            </a:r>
            <a:endParaRPr lang="en-US" dirty="0"/>
          </a:p>
          <a:p>
            <a:pPr marL="342900" indent="-342900">
              <a:buFont typeface="Arial"/>
              <a:buChar char="•"/>
            </a:pPr>
            <a:r>
              <a:rPr lang="en-US" b="1" dirty="0">
                <a:solidFill>
                  <a:srgbClr val="0C1625"/>
                </a:solidFill>
                <a:latin typeface="Calibri"/>
                <a:ea typeface="Calibri"/>
                <a:cs typeface="Calibri"/>
              </a:rPr>
              <a:t>Host a Respectful Care Breakfast Celebration quarterly/biannually with clinical team members, patients, and community partners</a:t>
            </a:r>
            <a:endParaRPr lang="en-US" dirty="0">
              <a:solidFill>
                <a:srgbClr val="444C55"/>
              </a:solidFill>
              <a:latin typeface="Arial"/>
              <a:ea typeface="Calibri"/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 b="1" dirty="0">
                <a:solidFill>
                  <a:srgbClr val="0C1625"/>
                </a:solidFill>
                <a:latin typeface="Calibri"/>
                <a:ea typeface="Calibri"/>
                <a:cs typeface="Calibri"/>
              </a:rPr>
              <a:t>Identify a patient/community partner to join your QI team</a:t>
            </a:r>
          </a:p>
          <a:p>
            <a:pPr marL="342900" indent="-342900">
              <a:buFont typeface="Arial"/>
              <a:buChar char="•"/>
            </a:pPr>
            <a:r>
              <a:rPr lang="en-US" b="1" dirty="0">
                <a:solidFill>
                  <a:srgbClr val="0C1625"/>
                </a:solidFill>
                <a:latin typeface="Calibri"/>
                <a:ea typeface="Calibri"/>
                <a:cs typeface="Calibri"/>
              </a:rPr>
              <a:t>Ongoing engagement with patient/community partners to improve car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25CFB00-B1FD-1733-834E-5A89C22FFBE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263" y="1566863"/>
            <a:ext cx="5895975" cy="3495675"/>
          </a:xfrm>
          <a:prstGeom prst="rect">
            <a:avLst/>
          </a:prstGeom>
        </p:spPr>
      </p:pic>
      <p:pic>
        <p:nvPicPr>
          <p:cNvPr id="6" name="Picture 5" descr="A page of a patient partner&#10;&#10;Description automatically generated">
            <a:extLst>
              <a:ext uri="{FF2B5EF4-FFF2-40B4-BE49-F238E27FC236}">
                <a16:creationId xmlns:a16="http://schemas.microsoft.com/office/drawing/2014/main" id="{015F0EC0-F4EB-55D1-C1EE-82AECB09745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48737" y="2050709"/>
            <a:ext cx="3048000" cy="39243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6413EE8-DB34-FF73-DFB0-CCFE305EE6C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7549" y="900113"/>
            <a:ext cx="3209925" cy="4162425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82C446A-7C0A-4B0D-9C14-46B0BC4F880E}"/>
              </a:ext>
            </a:extLst>
          </p:cNvPr>
          <p:cNvSpPr txBox="1"/>
          <p:nvPr/>
        </p:nvSpPr>
        <p:spPr>
          <a:xfrm>
            <a:off x="8214361" y="6098751"/>
            <a:ext cx="3781696" cy="64633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2">
                    <a:lumMod val="75000"/>
                  </a:schemeClr>
                </a:solidFill>
              </a:rPr>
              <a:t>Ask us about Momma’s Voices Training!</a:t>
            </a:r>
          </a:p>
        </p:txBody>
      </p:sp>
    </p:spTree>
    <p:extLst>
      <p:ext uri="{BB962C8B-B14F-4D97-AF65-F5344CB8AC3E}">
        <p14:creationId xmlns:p14="http://schemas.microsoft.com/office/powerpoint/2010/main" val="324579741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054FBB4A-2FF3-56BA-A995-B8B6668E215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73" r="-166"/>
          <a:stretch/>
        </p:blipFill>
        <p:spPr>
          <a:xfrm>
            <a:off x="4199667" y="2807949"/>
            <a:ext cx="3832204" cy="1569653"/>
          </a:xfrm>
          <a:prstGeom prst="rect">
            <a:avLst/>
          </a:prstGeom>
        </p:spPr>
      </p:pic>
      <p:pic>
        <p:nvPicPr>
          <p:cNvPr id="7" name="Picture 6" descr="A group of people sitting in a room&#10;&#10;Description automatically generated">
            <a:extLst>
              <a:ext uri="{FF2B5EF4-FFF2-40B4-BE49-F238E27FC236}">
                <a16:creationId xmlns:a16="http://schemas.microsoft.com/office/drawing/2014/main" id="{514B6EB5-E538-1921-0634-0C72F3E27B30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4979" y="4527992"/>
            <a:ext cx="3835672" cy="2084740"/>
          </a:xfrm>
          <a:prstGeom prst="rect">
            <a:avLst/>
          </a:prstGeom>
        </p:spPr>
      </p:pic>
      <p:sp>
        <p:nvSpPr>
          <p:cNvPr id="31" name="Rectangle 30">
            <a:extLst>
              <a:ext uri="{FF2B5EF4-FFF2-40B4-BE49-F238E27FC236}">
                <a16:creationId xmlns:a16="http://schemas.microsoft.com/office/drawing/2014/main" id="{928F64C6-FE22-4FC1-A763-DFCC514811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4261224" y="4577975"/>
            <a:ext cx="7539349" cy="1899827"/>
          </a:xfrm>
          <a:prstGeom prst="rect">
            <a:avLst/>
          </a:prstGeom>
          <a:solidFill>
            <a:srgbClr val="404040"/>
          </a:solidFill>
          <a:ln w="127000" cap="sq" cmpd="thinThick">
            <a:solidFill>
              <a:srgbClr val="40404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FE9512-60DD-4A8E-9043-5E88B8876B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38553" y="4741948"/>
            <a:ext cx="3846835" cy="829374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>
                <a:solidFill>
                  <a:srgbClr val="FFFFFF"/>
                </a:solidFill>
                <a:ea typeface="+mj-ea"/>
                <a:cs typeface="Calibri"/>
              </a:rPr>
              <a:t>Respectful Care Breakfasts Across IL</a:t>
            </a:r>
            <a:endParaRPr lang="en-US" sz="3200" kern="1200">
              <a:solidFill>
                <a:srgbClr val="FFFFFF"/>
              </a:solidFill>
              <a:latin typeface="+mj-lt"/>
              <a:ea typeface="+mj-ea"/>
              <a:cs typeface="Calibri"/>
            </a:endParaRPr>
          </a:p>
        </p:txBody>
      </p:sp>
      <p:pic>
        <p:nvPicPr>
          <p:cNvPr id="10" name="Picture 9" descr="A group of people sitting around a table&#10;&#10;Description automatically generated">
            <a:extLst>
              <a:ext uri="{FF2B5EF4-FFF2-40B4-BE49-F238E27FC236}">
                <a16:creationId xmlns:a16="http://schemas.microsoft.com/office/drawing/2014/main" id="{F450D2FF-2A12-C24E-757B-C22927A4F8D6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636" y="321734"/>
            <a:ext cx="3797570" cy="2010551"/>
          </a:xfrm>
          <a:prstGeom prst="rect">
            <a:avLst/>
          </a:prstGeom>
        </p:spPr>
      </p:pic>
      <p:pic>
        <p:nvPicPr>
          <p:cNvPr id="11" name="Picture 10" descr="A group of women posing for a photo&#10;&#10;Description automatically generated">
            <a:extLst>
              <a:ext uri="{FF2B5EF4-FFF2-40B4-BE49-F238E27FC236}">
                <a16:creationId xmlns:a16="http://schemas.microsoft.com/office/drawing/2014/main" id="{F72533A0-8306-CE47-40B7-30F3BD26CAA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3"/>
          <a:stretch/>
        </p:blipFill>
        <p:spPr>
          <a:xfrm>
            <a:off x="317634" y="2422097"/>
            <a:ext cx="3794760" cy="2013804"/>
          </a:xfrm>
          <a:prstGeom prst="rect">
            <a:avLst/>
          </a:prstGeom>
        </p:spPr>
      </p:pic>
      <p:pic>
        <p:nvPicPr>
          <p:cNvPr id="8" name="Picture 7" descr="A person and person sitting at a picnic table with a baby in a stroller&#10;&#10;Description automatically generated">
            <a:extLst>
              <a:ext uri="{FF2B5EF4-FFF2-40B4-BE49-F238E27FC236}">
                <a16:creationId xmlns:a16="http://schemas.microsoft.com/office/drawing/2014/main" id="{A979C5EA-1C80-8E96-1FE8-39F84C02F26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52" r="-663"/>
          <a:stretch/>
        </p:blipFill>
        <p:spPr>
          <a:xfrm>
            <a:off x="4200589" y="171007"/>
            <a:ext cx="3820621" cy="2566788"/>
          </a:xfrm>
          <a:prstGeom prst="rect">
            <a:avLst/>
          </a:prstGeom>
        </p:spPr>
      </p:pic>
      <p:pic>
        <p:nvPicPr>
          <p:cNvPr id="6" name="Content Placeholder 5" descr="A person holding a baby&#10;&#10;Description automatically generated">
            <a:extLst>
              <a:ext uri="{FF2B5EF4-FFF2-40B4-BE49-F238E27FC236}">
                <a16:creationId xmlns:a16="http://schemas.microsoft.com/office/drawing/2014/main" id="{E6557D6C-ECE5-6588-4B8B-FFD83938FF6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02923" y="2155556"/>
            <a:ext cx="3789621" cy="2285087"/>
          </a:xfrm>
          <a:prstGeom prst="rect">
            <a:avLst/>
          </a:prstGeom>
        </p:spPr>
      </p:pic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5C34627B-48E6-4F4D-B843-97717A86B4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719934" y="5694097"/>
            <a:ext cx="5486400" cy="0"/>
          </a:xfrm>
          <a:prstGeom prst="line">
            <a:avLst/>
          </a:prstGeom>
          <a:ln w="15875">
            <a:solidFill>
              <a:srgbClr val="D9D9D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18A6EEE-06F5-70A7-5878-12985303D5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46665" y="6536267"/>
            <a:ext cx="4892842" cy="30692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A4ED70-0183-5724-8F1A-CD092A1FA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57372" y="6536267"/>
            <a:ext cx="2743200" cy="306928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pPr>
                <a:spcAft>
                  <a:spcPts val="600"/>
                </a:spcAft>
              </a:pPr>
              <a:t>41</a:t>
            </a:fld>
            <a:endParaRPr lang="en-U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2" name="Picture 11" descr="A group of people sitting in chairs in front of a projection screen&#10;&#10;Description automatically generated">
            <a:extLst>
              <a:ext uri="{FF2B5EF4-FFF2-40B4-BE49-F238E27FC236}">
                <a16:creationId xmlns:a16="http://schemas.microsoft.com/office/drawing/2014/main" id="{52EF9B08-D94F-4C43-D3DF-88D079DAB53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45"/>
          <a:stretch/>
        </p:blipFill>
        <p:spPr>
          <a:xfrm>
            <a:off x="8109563" y="170186"/>
            <a:ext cx="3783042" cy="1892304"/>
          </a:xfrm>
          <a:prstGeom prst="rect">
            <a:avLst/>
          </a:prstGeom>
        </p:spPr>
      </p:pic>
      <p:pic>
        <p:nvPicPr>
          <p:cNvPr id="3" name="Picture 2" descr="A group of people standing in front of a projector screen&#10;&#10;Description automatically generated">
            <a:extLst>
              <a:ext uri="{FF2B5EF4-FFF2-40B4-BE49-F238E27FC236}">
                <a16:creationId xmlns:a16="http://schemas.microsoft.com/office/drawing/2014/main" id="{6D348CD1-994D-90D5-3DD0-D478F08787F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43"/>
          <a:stretch/>
        </p:blipFill>
        <p:spPr>
          <a:xfrm>
            <a:off x="4194071" y="4470364"/>
            <a:ext cx="3352107" cy="2138135"/>
          </a:xfrm>
          <a:prstGeom prst="rect">
            <a:avLst/>
          </a:prstGeom>
        </p:spPr>
      </p:pic>
      <p:sp>
        <p:nvSpPr>
          <p:cNvPr id="19" name="Speech Bubble: Rectangle with Corners Rounded 18">
            <a:extLst>
              <a:ext uri="{FF2B5EF4-FFF2-40B4-BE49-F238E27FC236}">
                <a16:creationId xmlns:a16="http://schemas.microsoft.com/office/drawing/2014/main" id="{58043D07-9A40-47B0-4736-050983D42751}"/>
              </a:ext>
            </a:extLst>
          </p:cNvPr>
          <p:cNvSpPr/>
          <p:nvPr/>
        </p:nvSpPr>
        <p:spPr>
          <a:xfrm>
            <a:off x="2420125" y="1260318"/>
            <a:ext cx="3560800" cy="1783420"/>
          </a:xfrm>
          <a:prstGeom prst="wedgeRoundRectCallou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2">
                <a:lumMod val="1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800">
                <a:cs typeface="Calibri"/>
              </a:rPr>
              <a:t>"I learned to involve patients in all decisions"</a:t>
            </a:r>
            <a:endParaRPr lang="en-US" sz="2800">
              <a:ea typeface="Calibri"/>
              <a:cs typeface="Calibri"/>
            </a:endParaRPr>
          </a:p>
        </p:txBody>
      </p:sp>
      <p:sp>
        <p:nvSpPr>
          <p:cNvPr id="21" name="Speech Bubble: Rectangle with Corners Rounded 20">
            <a:extLst>
              <a:ext uri="{FF2B5EF4-FFF2-40B4-BE49-F238E27FC236}">
                <a16:creationId xmlns:a16="http://schemas.microsoft.com/office/drawing/2014/main" id="{0C8EB382-AC5F-E297-645C-D3FD11804ABF}"/>
              </a:ext>
            </a:extLst>
          </p:cNvPr>
          <p:cNvSpPr/>
          <p:nvPr/>
        </p:nvSpPr>
        <p:spPr>
          <a:xfrm>
            <a:off x="6116056" y="1257067"/>
            <a:ext cx="3561729" cy="1786286"/>
          </a:xfrm>
          <a:prstGeom prst="wedgeRoundRectCallou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>
                <a:cs typeface="Calibri"/>
              </a:rPr>
              <a:t>"I learned that the hospital staff is eager to provide respectful care for patients"</a:t>
            </a:r>
            <a:endParaRPr lang="en-US" sz="2400">
              <a:ea typeface="Calibri"/>
              <a:cs typeface="Calibri"/>
            </a:endParaRPr>
          </a:p>
        </p:txBody>
      </p:sp>
      <p:sp>
        <p:nvSpPr>
          <p:cNvPr id="23" name="Speech Bubble: Rectangle with Corners Rounded 22">
            <a:extLst>
              <a:ext uri="{FF2B5EF4-FFF2-40B4-BE49-F238E27FC236}">
                <a16:creationId xmlns:a16="http://schemas.microsoft.com/office/drawing/2014/main" id="{19C0CAEA-BEDC-2FBC-2BF5-5708482080AD}"/>
              </a:ext>
            </a:extLst>
          </p:cNvPr>
          <p:cNvSpPr/>
          <p:nvPr/>
        </p:nvSpPr>
        <p:spPr>
          <a:xfrm>
            <a:off x="2420171" y="3334726"/>
            <a:ext cx="3561729" cy="2084889"/>
          </a:xfrm>
          <a:prstGeom prst="wedgeRoundRectCallout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600">
                <a:ea typeface="Calibri"/>
                <a:cs typeface="Calibri"/>
              </a:rPr>
              <a:t>Patient Partner: "I felt truly listened to"</a:t>
            </a:r>
          </a:p>
        </p:txBody>
      </p:sp>
      <p:sp>
        <p:nvSpPr>
          <p:cNvPr id="14" name="Speech Bubble: Rectangle with Corners Rounded 13">
            <a:extLst>
              <a:ext uri="{FF2B5EF4-FFF2-40B4-BE49-F238E27FC236}">
                <a16:creationId xmlns:a16="http://schemas.microsoft.com/office/drawing/2014/main" id="{54188451-0576-C902-93FF-76509A6AC3D0}"/>
              </a:ext>
            </a:extLst>
          </p:cNvPr>
          <p:cNvSpPr/>
          <p:nvPr/>
        </p:nvSpPr>
        <p:spPr>
          <a:xfrm>
            <a:off x="6100762" y="3333749"/>
            <a:ext cx="3562350" cy="2076450"/>
          </a:xfrm>
          <a:prstGeom prst="wedgeRoundRectCallou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200">
                <a:latin typeface="Calibri"/>
                <a:ea typeface="Arial"/>
                <a:cs typeface="Arial"/>
              </a:rPr>
              <a:t>Patient Partner:</a:t>
            </a:r>
          </a:p>
          <a:p>
            <a:pPr algn="ctr"/>
            <a:r>
              <a:rPr lang="en-US" sz="2200">
                <a:latin typeface="Calibri"/>
                <a:ea typeface="Arial"/>
                <a:cs typeface="Arial"/>
              </a:rPr>
              <a:t>"It seems positive changes are on the horizon and I am more than excited to be a part of it"</a:t>
            </a:r>
            <a:endParaRPr lang="en-US" sz="2200">
              <a:latin typeface="Calibri"/>
              <a:ea typeface="Calibri"/>
              <a:cs typeface="Calibr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4875CD4-7697-2A3F-AEA4-7BC817086273}"/>
              </a:ext>
            </a:extLst>
          </p:cNvPr>
          <p:cNvSpPr txBox="1"/>
          <p:nvPr/>
        </p:nvSpPr>
        <p:spPr>
          <a:xfrm>
            <a:off x="7829513" y="5754450"/>
            <a:ext cx="3679031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cs typeface="Calibri"/>
              </a:rPr>
              <a:t>31 and counting!</a:t>
            </a:r>
          </a:p>
        </p:txBody>
      </p:sp>
    </p:spTree>
    <p:extLst>
      <p:ext uri="{BB962C8B-B14F-4D97-AF65-F5344CB8AC3E}">
        <p14:creationId xmlns:p14="http://schemas.microsoft.com/office/powerpoint/2010/main" val="9276977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1" grpId="0" animBg="1"/>
      <p:bldP spid="23" grpId="0" animBg="1"/>
      <p:bldP spid="14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7" name="Google Shape;4257;p441"/>
          <p:cNvSpPr/>
          <p:nvPr/>
        </p:nvSpPr>
        <p:spPr>
          <a:xfrm>
            <a:off x="-1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58" name="Google Shape;4258;p441"/>
          <p:cNvSpPr txBox="1">
            <a:spLocks noGrp="1"/>
          </p:cNvSpPr>
          <p:nvPr>
            <p:ph type="title"/>
          </p:nvPr>
        </p:nvSpPr>
        <p:spPr>
          <a:xfrm>
            <a:off x="838200" y="-105640"/>
            <a:ext cx="10515600" cy="11336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</a:pPr>
            <a:r>
              <a:rPr lang="en-US" sz="4000"/>
              <a:t>Social Determinants of Health Screening</a:t>
            </a:r>
            <a:r>
              <a:rPr lang="en-US" sz="4000">
                <a:latin typeface="Calibri"/>
                <a:ea typeface="Calibri"/>
                <a:cs typeface="Calibri"/>
                <a:sym typeface="Calibri"/>
              </a:rPr>
              <a:t> (L&amp;D)</a:t>
            </a:r>
            <a:endParaRPr sz="4000"/>
          </a:p>
        </p:txBody>
      </p:sp>
      <p:sp>
        <p:nvSpPr>
          <p:cNvPr id="4259" name="Google Shape;4259;p441"/>
          <p:cNvSpPr txBox="1">
            <a:spLocks noGrp="1"/>
          </p:cNvSpPr>
          <p:nvPr>
            <p:ph type="sldNum" idx="12"/>
          </p:nvPr>
        </p:nvSpPr>
        <p:spPr>
          <a:xfrm>
            <a:off x="8331674" y="5906553"/>
            <a:ext cx="2031601" cy="2704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88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42</a:t>
            </a:fld>
            <a:endParaRPr/>
          </a:p>
        </p:txBody>
      </p:sp>
      <p:sp>
        <p:nvSpPr>
          <p:cNvPr id="4261" name="Google Shape;4261;p441"/>
          <p:cNvSpPr txBox="1"/>
          <p:nvPr/>
        </p:nvSpPr>
        <p:spPr>
          <a:xfrm>
            <a:off x="1743825" y="746827"/>
            <a:ext cx="3663350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17% --&gt; 100%</a:t>
            </a:r>
            <a:endParaRPr sz="4000">
              <a:solidFill>
                <a:schemeClr val="accen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263" name="Google Shape;4263;p441" descr="Text&#10;&#10;Description automatically generated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43448" y="990090"/>
            <a:ext cx="2866131" cy="4138956"/>
          </a:xfrm>
          <a:prstGeom prst="rect">
            <a:avLst/>
          </a:prstGeom>
          <a:noFill/>
          <a:ln w="1270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4264" name="Google Shape;4264;p441" descr="Table&#10;&#10;Description automatically generated"/>
          <p:cNvPicPr preferRelativeResize="0"/>
          <p:nvPr/>
        </p:nvPicPr>
        <p:blipFill rotWithShape="1">
          <a:blip r:embed="rId4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753475" y="4100993"/>
            <a:ext cx="3219450" cy="2418389"/>
          </a:xfrm>
          <a:prstGeom prst="rect">
            <a:avLst/>
          </a:prstGeom>
          <a:noFill/>
          <a:ln w="127000" cap="sq" cmpd="sng">
            <a:solidFill>
              <a:srgbClr val="000000"/>
            </a:solidFill>
            <a:prstDash val="solid"/>
            <a:miter lim="800000"/>
            <a:headEnd type="none" w="sm" len="sm"/>
            <a:tailEnd type="none" w="sm" len="sm"/>
          </a:ln>
          <a:effectLst>
            <a:outerShdw blurRad="57150" dist="508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4265" name="Google Shape;4265;p441"/>
          <p:cNvSpPr txBox="1"/>
          <p:nvPr/>
        </p:nvSpPr>
        <p:spPr>
          <a:xfrm>
            <a:off x="9430952" y="2093215"/>
            <a:ext cx="2504800" cy="1200329"/>
          </a:xfrm>
          <a:prstGeom prst="rect">
            <a:avLst/>
          </a:prstGeom>
          <a:solidFill>
            <a:srgbClr val="FDE766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 i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Located in your ILPQC F2F Folder &amp; Online Toolkit!</a:t>
            </a:r>
            <a:endParaRPr sz="1800" i="1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Google Shape;4174;p435">
            <a:extLst>
              <a:ext uri="{FF2B5EF4-FFF2-40B4-BE49-F238E27FC236}">
                <a16:creationId xmlns:a16="http://schemas.microsoft.com/office/drawing/2014/main" id="{C8A72106-E795-2D5A-967B-5CA44D0F0D92}"/>
              </a:ext>
            </a:extLst>
          </p:cNvPr>
          <p:cNvSpPr txBox="1"/>
          <p:nvPr/>
        </p:nvSpPr>
        <p:spPr>
          <a:xfrm>
            <a:off x="214165" y="4871865"/>
            <a:ext cx="7751589" cy="1754286"/>
          </a:xfrm>
          <a:prstGeom prst="rect">
            <a:avLst/>
          </a:prstGeom>
          <a:noFill/>
          <a:ln w="57150" cap="flat" cmpd="sng">
            <a:solidFill>
              <a:srgbClr val="00B05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en-US" b="1" u="sng">
                <a:solidFill>
                  <a:srgbClr val="0C1625"/>
                </a:solidFill>
                <a:latin typeface="Calibri"/>
                <a:ea typeface="Calibri"/>
                <a:cs typeface="Calibri"/>
              </a:rPr>
              <a:t>Key strategies to have in place:</a:t>
            </a:r>
            <a:endParaRPr lang="en-US"/>
          </a:p>
          <a:p>
            <a:pPr marL="342900" indent="-342900">
              <a:buFont typeface="Arial"/>
              <a:buChar char="•"/>
            </a:pPr>
            <a:r>
              <a:rPr lang="en-US" b="1">
                <a:solidFill>
                  <a:srgbClr val="0C1625"/>
                </a:solidFill>
                <a:latin typeface="Calibri"/>
                <a:ea typeface="Calibri"/>
                <a:cs typeface="Calibri"/>
              </a:rPr>
              <a:t>Screen all patients for </a:t>
            </a:r>
            <a:r>
              <a:rPr lang="en-US" b="1" err="1">
                <a:solidFill>
                  <a:srgbClr val="0C1625"/>
                </a:solidFill>
                <a:latin typeface="Calibri"/>
                <a:ea typeface="Calibri"/>
                <a:cs typeface="Calibri"/>
              </a:rPr>
              <a:t>SDoH</a:t>
            </a:r>
            <a:r>
              <a:rPr lang="en-US" b="1">
                <a:solidFill>
                  <a:srgbClr val="0C1625"/>
                </a:solidFill>
                <a:latin typeface="Calibri"/>
                <a:ea typeface="Calibri"/>
                <a:cs typeface="Calibri"/>
              </a:rPr>
              <a:t> using one of the recommended screening tools in the ILPQC BE Toolkit</a:t>
            </a:r>
            <a:endParaRPr lang="en-US"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en-US" b="1">
                <a:solidFill>
                  <a:srgbClr val="0C1625"/>
                </a:solidFill>
                <a:latin typeface="Calibri"/>
                <a:ea typeface="Calibri"/>
                <a:cs typeface="Calibri"/>
              </a:rPr>
              <a:t>Have a process in place to link patients with needs to community resources</a:t>
            </a:r>
          </a:p>
          <a:p>
            <a:pPr marL="342900" indent="-342900">
              <a:buFont typeface="Arial"/>
              <a:buChar char="•"/>
            </a:pPr>
            <a:r>
              <a:rPr lang="en-US" b="1">
                <a:solidFill>
                  <a:srgbClr val="0C1625"/>
                </a:solidFill>
                <a:latin typeface="Calibri"/>
                <a:ea typeface="Calibri"/>
                <a:cs typeface="Calibri"/>
              </a:rPr>
              <a:t>Engage community partners (doulas, home visiting programs, etc.) to improve car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9C457CD-6DF5-BE79-92E7-7C9F04C6FCEC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988" y="1495425"/>
            <a:ext cx="5429250" cy="3105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89542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C9D3C75-68F1-8345-0B07-7E8EA6A09366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43</a:t>
            </a:fld>
            <a:endParaRPr lang="en-US"/>
          </a:p>
        </p:txBody>
      </p:sp>
      <p:pic>
        <p:nvPicPr>
          <p:cNvPr id="5" name="Picture 4" descr="A poster of a doula&#10;&#10;Description automatically generated">
            <a:extLst>
              <a:ext uri="{FF2B5EF4-FFF2-40B4-BE49-F238E27FC236}">
                <a16:creationId xmlns:a16="http://schemas.microsoft.com/office/drawing/2014/main" id="{3BA2D820-1800-5A52-600F-31E5B89845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82038" y="128588"/>
            <a:ext cx="3505200" cy="4629150"/>
          </a:xfrm>
          <a:prstGeom prst="rect">
            <a:avLst/>
          </a:prstGeom>
        </p:spPr>
      </p:pic>
      <p:pic>
        <p:nvPicPr>
          <p:cNvPr id="6" name="Picture 5" descr="A poster of a person and person&#10;&#10;Description automatically generated">
            <a:extLst>
              <a:ext uri="{FF2B5EF4-FFF2-40B4-BE49-F238E27FC236}">
                <a16:creationId xmlns:a16="http://schemas.microsoft.com/office/drawing/2014/main" id="{5FE7A990-10CC-B45F-FA20-3CA12C00D6F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5563" y="2100263"/>
            <a:ext cx="3429000" cy="443865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6B185A7-ADCE-4BC3-4814-0488A5E2F55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113" y="128588"/>
            <a:ext cx="3619500" cy="472440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8" name="Picture 7" descr="A screenshot of a blue and white website&#10;&#10;Description automatically generated">
            <a:extLst>
              <a:ext uri="{FF2B5EF4-FFF2-40B4-BE49-F238E27FC236}">
                <a16:creationId xmlns:a16="http://schemas.microsoft.com/office/drawing/2014/main" id="{BF68248A-BB30-5224-8F8F-854019A3B5B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2263" y="2100263"/>
            <a:ext cx="3438525" cy="4438650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1" name="Google Shape;4265;p441">
            <a:extLst>
              <a:ext uri="{FF2B5EF4-FFF2-40B4-BE49-F238E27FC236}">
                <a16:creationId xmlns:a16="http://schemas.microsoft.com/office/drawing/2014/main" id="{69746262-1FFF-BDFC-047E-E48C2D39B367}"/>
              </a:ext>
            </a:extLst>
          </p:cNvPr>
          <p:cNvSpPr txBox="1"/>
          <p:nvPr/>
        </p:nvSpPr>
        <p:spPr>
          <a:xfrm>
            <a:off x="4068377" y="435865"/>
            <a:ext cx="4047850" cy="1200288"/>
          </a:xfrm>
          <a:prstGeom prst="rect">
            <a:avLst/>
          </a:prstGeom>
          <a:solidFill>
            <a:srgbClr val="FDE766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ctr"/>
            <a:r>
              <a:rPr lang="en-US" sz="2400" b="1" i="1">
                <a:solidFill>
                  <a:schemeClr val="dk1"/>
                </a:solidFill>
                <a:latin typeface="Calibri"/>
                <a:ea typeface="Calibri"/>
                <a:cs typeface="Arial"/>
                <a:sym typeface="Calibri"/>
              </a:rPr>
              <a:t>NEW ILPQC Home Visiting and Doula Resources</a:t>
            </a:r>
            <a:endParaRPr lang="en-US" sz="2400" b="1" i="1">
              <a:solidFill>
                <a:schemeClr val="dk1"/>
              </a:solidFill>
              <a:latin typeface="Calibri"/>
              <a:ea typeface="Calibri"/>
              <a:cs typeface="Arial"/>
            </a:endParaRPr>
          </a:p>
          <a:p>
            <a:pPr algn="ctr"/>
            <a:r>
              <a:rPr lang="en-US" sz="2400" b="1" i="1">
                <a:solidFill>
                  <a:schemeClr val="dk1"/>
                </a:solidFill>
                <a:latin typeface="Calibri"/>
                <a:ea typeface="Calibri"/>
                <a:cs typeface="Arial"/>
                <a:sym typeface="Calibri"/>
              </a:rPr>
              <a:t>Located in your F2F Folder!</a:t>
            </a:r>
            <a:endParaRPr sz="2400" b="1" i="1">
              <a:solidFill>
                <a:schemeClr val="dk1"/>
              </a:solidFill>
              <a:latin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6214702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graph showing a line graph&#10;&#10;Description automatically generated">
            <a:extLst>
              <a:ext uri="{FF2B5EF4-FFF2-40B4-BE49-F238E27FC236}">
                <a16:creationId xmlns:a16="http://schemas.microsoft.com/office/drawing/2014/main" id="{85838388-0032-3272-B11E-D3DB6989DE5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881" y="876726"/>
            <a:ext cx="5578238" cy="3626040"/>
          </a:xfrm>
          <a:prstGeom prst="rect">
            <a:avLst/>
          </a:prstGeom>
        </p:spPr>
      </p:pic>
      <p:pic>
        <p:nvPicPr>
          <p:cNvPr id="3" name="Picture 2" descr="A graph showing a line graph&#10;&#10;Description automatically generated">
            <a:extLst>
              <a:ext uri="{FF2B5EF4-FFF2-40B4-BE49-F238E27FC236}">
                <a16:creationId xmlns:a16="http://schemas.microsoft.com/office/drawing/2014/main" id="{A48A18D8-1CC3-07AD-DC7C-7A2C8801511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1736" y="873528"/>
            <a:ext cx="6317066" cy="363243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2E7E9EF-0988-C34B-0761-C57A0751AC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005" y="-86059"/>
            <a:ext cx="10972800" cy="1325563"/>
          </a:xfrm>
          <a:noFill/>
        </p:spPr>
        <p:txBody>
          <a:bodyPr/>
          <a:lstStyle/>
          <a:p>
            <a:r>
              <a:rPr lang="en-US"/>
              <a:t>SDOH Screening and Linkage to Resour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AA60D2-6FE5-32DC-6276-42222027A26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AEB3B7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2E712B7-E618-E992-C7A6-0FFF28A41C72}"/>
              </a:ext>
            </a:extLst>
          </p:cNvPr>
          <p:cNvSpPr txBox="1"/>
          <p:nvPr/>
        </p:nvSpPr>
        <p:spPr>
          <a:xfrm>
            <a:off x="557900" y="3466878"/>
            <a:ext cx="89296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8%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E4415E6-32B4-00DF-1F30-B39C7D36910B}"/>
              </a:ext>
            </a:extLst>
          </p:cNvPr>
          <p:cNvSpPr txBox="1"/>
          <p:nvPr/>
        </p:nvSpPr>
        <p:spPr>
          <a:xfrm>
            <a:off x="5160070" y="1326635"/>
            <a:ext cx="89296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92%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89C285-32CE-3430-BB6D-8CC17DC67711}"/>
              </a:ext>
            </a:extLst>
          </p:cNvPr>
          <p:cNvSpPr txBox="1"/>
          <p:nvPr/>
        </p:nvSpPr>
        <p:spPr>
          <a:xfrm>
            <a:off x="6308306" y="2580522"/>
            <a:ext cx="89296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54%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A9D01D8-46A5-21B1-D9D1-009293A96EC1}"/>
              </a:ext>
            </a:extLst>
          </p:cNvPr>
          <p:cNvSpPr txBox="1"/>
          <p:nvPr/>
        </p:nvSpPr>
        <p:spPr>
          <a:xfrm>
            <a:off x="11457636" y="1708981"/>
            <a:ext cx="892968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76%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D0B1A15-788A-1D77-DEAB-1539DBA236EB}"/>
              </a:ext>
            </a:extLst>
          </p:cNvPr>
          <p:cNvSpPr/>
          <p:nvPr/>
        </p:nvSpPr>
        <p:spPr>
          <a:xfrm>
            <a:off x="8155361" y="4588883"/>
            <a:ext cx="3943402" cy="1947035"/>
          </a:xfrm>
          <a:prstGeom prst="roundRect">
            <a:avLst/>
          </a:prstGeom>
          <a:solidFill>
            <a:schemeClr val="accent3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7C8E5AA-2CC1-4D5A-2980-899336DE502D}"/>
              </a:ext>
            </a:extLst>
          </p:cNvPr>
          <p:cNvSpPr txBox="1"/>
          <p:nvPr/>
        </p:nvSpPr>
        <p:spPr>
          <a:xfrm>
            <a:off x="8254345" y="4744610"/>
            <a:ext cx="3757061" cy="16312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3F6FB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,367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F3F6FB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 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3F6FB">
                  <a:lumMod val="1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3F6FB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s with SDOH resource needs were LINKED to resource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3F6FB">
                  <a:lumMod val="1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7784E80F-6367-344C-21BA-B80432E45E3C}"/>
              </a:ext>
            </a:extLst>
          </p:cNvPr>
          <p:cNvSpPr/>
          <p:nvPr/>
        </p:nvSpPr>
        <p:spPr>
          <a:xfrm>
            <a:off x="4145238" y="4590889"/>
            <a:ext cx="3903298" cy="1945531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621471C-3ECD-453D-0760-CBF53FC64DDE}"/>
              </a:ext>
            </a:extLst>
          </p:cNvPr>
          <p:cNvSpPr txBox="1"/>
          <p:nvPr/>
        </p:nvSpPr>
        <p:spPr>
          <a:xfrm>
            <a:off x="4431631" y="4744291"/>
            <a:ext cx="3324469" cy="16312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F3F6FB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3,460 (27%)</a:t>
            </a: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3F6FB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3F6FB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s were identified to have SDOH resource needs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3F6FB">
                  <a:lumMod val="1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170DD96-718A-BFD1-527F-D4A6317EB4B1}"/>
              </a:ext>
            </a:extLst>
          </p:cNvPr>
          <p:cNvSpPr/>
          <p:nvPr/>
        </p:nvSpPr>
        <p:spPr>
          <a:xfrm>
            <a:off x="94206" y="4585332"/>
            <a:ext cx="3912821" cy="1946534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F361EC1-ABA1-A074-5376-AE7474220941}"/>
              </a:ext>
            </a:extLst>
          </p:cNvPr>
          <p:cNvSpPr txBox="1"/>
          <p:nvPr/>
        </p:nvSpPr>
        <p:spPr>
          <a:xfrm>
            <a:off x="93237" y="4616158"/>
            <a:ext cx="3786326" cy="16312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3F6FB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2,900 </a:t>
            </a:r>
            <a:r>
              <a:rPr kumimoji="0" lang="en-US" sz="2600" i="0" u="none" strike="noStrike" kern="1200" cap="none" spc="0" normalizeH="0" baseline="0" noProof="0" dirty="0">
                <a:ln>
                  <a:noFill/>
                </a:ln>
                <a:solidFill>
                  <a:srgbClr val="F3F6FB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rts sampl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3F6FB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,995 </a:t>
            </a: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3F6FB">
                    <a:lumMod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atients had SDOH screening during delivery admission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3F6FB">
                  <a:lumMod val="1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097168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0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71" name="Google Shape;4071;p430"/>
          <p:cNvSpPr/>
          <p:nvPr/>
        </p:nvSpPr>
        <p:spPr>
          <a:xfrm>
            <a:off x="0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2" name="Google Shape;4072;p430"/>
          <p:cNvSpPr/>
          <p:nvPr/>
        </p:nvSpPr>
        <p:spPr>
          <a:xfrm rot="5400000" flipH="1">
            <a:off x="-1410084" y="1410082"/>
            <a:ext cx="6858000" cy="4037836"/>
          </a:xfrm>
          <a:prstGeom prst="rect">
            <a:avLst/>
          </a:prstGeom>
          <a:gradFill>
            <a:gsLst>
              <a:gs pos="0">
                <a:srgbClr val="000000"/>
              </a:gs>
              <a:gs pos="8000">
                <a:srgbClr val="000000"/>
              </a:gs>
              <a:gs pos="100000">
                <a:srgbClr val="143668"/>
              </a:gs>
            </a:gsLst>
            <a:lin ang="30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3" name="Google Shape;4073;p430"/>
          <p:cNvSpPr/>
          <p:nvPr/>
        </p:nvSpPr>
        <p:spPr>
          <a:xfrm rot="5400000" flipH="1">
            <a:off x="-1410085" y="1420219"/>
            <a:ext cx="6857999" cy="4037839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99000">
                <a:srgbClr val="1C498B">
                  <a:alpha val="45882"/>
                </a:srgbClr>
              </a:gs>
              <a:gs pos="100000">
                <a:srgbClr val="1C498B">
                  <a:alpha val="45882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4" name="Google Shape;4074;p430"/>
          <p:cNvSpPr/>
          <p:nvPr/>
        </p:nvSpPr>
        <p:spPr>
          <a:xfrm rot="5400000" flipH="1">
            <a:off x="767923" y="3588085"/>
            <a:ext cx="2501979" cy="4037841"/>
          </a:xfrm>
          <a:prstGeom prst="rect">
            <a:avLst/>
          </a:prstGeom>
          <a:gradFill>
            <a:gsLst>
              <a:gs pos="0">
                <a:srgbClr val="1C498B">
                  <a:alpha val="28627"/>
                </a:srgbClr>
              </a:gs>
              <a:gs pos="2000">
                <a:srgbClr val="1C498B">
                  <a:alpha val="28627"/>
                </a:srgbClr>
              </a:gs>
              <a:gs pos="100000">
                <a:srgbClr val="000000">
                  <a:alpha val="29803"/>
                </a:srgbClr>
              </a:gs>
            </a:gsLst>
            <a:lin ang="7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5" name="Google Shape;4075;p430"/>
          <p:cNvSpPr/>
          <p:nvPr/>
        </p:nvSpPr>
        <p:spPr>
          <a:xfrm rot="-964587">
            <a:off x="-501737" y="969718"/>
            <a:ext cx="3900357" cy="4178958"/>
          </a:xfrm>
          <a:custGeom>
            <a:avLst/>
            <a:gdLst/>
            <a:ahLst/>
            <a:cxnLst/>
            <a:rect l="l" t="t" r="r" b="b"/>
            <a:pathLst>
              <a:path w="3900357" h="4178958" extrusionOk="0">
                <a:moveTo>
                  <a:pt x="2432225" y="93939"/>
                </a:moveTo>
                <a:cubicBezTo>
                  <a:pt x="3282786" y="358491"/>
                  <a:pt x="3900357" y="1151865"/>
                  <a:pt x="3900357" y="2089479"/>
                </a:cubicBezTo>
                <a:cubicBezTo>
                  <a:pt x="3900357" y="3243466"/>
                  <a:pt x="2964865" y="4178958"/>
                  <a:pt x="1810878" y="4178958"/>
                </a:cubicBezTo>
                <a:cubicBezTo>
                  <a:pt x="1089636" y="4178958"/>
                  <a:pt x="453744" y="3813531"/>
                  <a:pt x="78249" y="3257727"/>
                </a:cubicBezTo>
                <a:lnTo>
                  <a:pt x="0" y="3128923"/>
                </a:lnTo>
                <a:lnTo>
                  <a:pt x="831324" y="244281"/>
                </a:lnTo>
                <a:lnTo>
                  <a:pt x="997559" y="164202"/>
                </a:lnTo>
                <a:cubicBezTo>
                  <a:pt x="1247540" y="58468"/>
                  <a:pt x="1522381" y="0"/>
                  <a:pt x="1810878" y="0"/>
                </a:cubicBezTo>
                <a:cubicBezTo>
                  <a:pt x="2027251" y="0"/>
                  <a:pt x="2235942" y="32888"/>
                  <a:pt x="2432225" y="93939"/>
                </a:cubicBezTo>
                <a:close/>
              </a:path>
            </a:pathLst>
          </a:custGeom>
          <a:gradFill>
            <a:gsLst>
              <a:gs pos="0">
                <a:srgbClr val="000000">
                  <a:alpha val="0"/>
                </a:srgbClr>
              </a:gs>
              <a:gs pos="29000">
                <a:srgbClr val="000000">
                  <a:alpha val="0"/>
                </a:srgbClr>
              </a:gs>
              <a:gs pos="100000">
                <a:srgbClr val="1C498B">
                  <a:alpha val="42745"/>
                </a:srgbClr>
              </a:gs>
            </a:gsLst>
            <a:lin ang="18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6" name="Google Shape;4076;p430"/>
          <p:cNvSpPr/>
          <p:nvPr/>
        </p:nvSpPr>
        <p:spPr>
          <a:xfrm rot="5400000" flipH="1">
            <a:off x="-1410093" y="1399943"/>
            <a:ext cx="6858003" cy="40378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077" name="Google Shape;4077;p430"/>
          <p:cNvSpPr txBox="1">
            <a:spLocks noGrp="1"/>
          </p:cNvSpPr>
          <p:nvPr>
            <p:ph type="title"/>
          </p:nvPr>
        </p:nvSpPr>
        <p:spPr>
          <a:xfrm>
            <a:off x="218160" y="965636"/>
            <a:ext cx="3394549" cy="33874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algn="r"/>
            <a:r>
              <a:rPr lang="en-US" sz="4000"/>
              <a:t>Birth Equity</a:t>
            </a:r>
            <a:br>
              <a:rPr lang="en-US" sz="4000"/>
            </a:br>
            <a:r>
              <a:rPr lang="en-US" sz="4000" i="1"/>
              <a:t>QI Excellence</a:t>
            </a:r>
            <a:br>
              <a:rPr lang="en-US" sz="4000" i="1"/>
            </a:br>
            <a:r>
              <a:rPr lang="en-US" sz="4000"/>
              <a:t>Award Criteria</a:t>
            </a:r>
          </a:p>
        </p:txBody>
      </p:sp>
      <p:sp>
        <p:nvSpPr>
          <p:cNvPr id="4078" name="Google Shape;4078;p430"/>
          <p:cNvSpPr txBox="1">
            <a:spLocks noGrp="1"/>
          </p:cNvSpPr>
          <p:nvPr>
            <p:ph type="ftr" idx="11"/>
          </p:nvPr>
        </p:nvSpPr>
        <p:spPr>
          <a:xfrm rot="5400000">
            <a:off x="-1828800" y="2002536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100">
                <a:solidFill>
                  <a:srgbClr val="FFFFFF"/>
                </a:solidFill>
              </a:rPr>
              <a:t>Illinois Perinatal Quality Collaborative</a:t>
            </a:r>
            <a:endParaRPr/>
          </a:p>
        </p:txBody>
      </p:sp>
      <p:sp>
        <p:nvSpPr>
          <p:cNvPr id="4079" name="Google Shape;4079;p430"/>
          <p:cNvSpPr txBox="1">
            <a:spLocks noGrp="1"/>
          </p:cNvSpPr>
          <p:nvPr>
            <p:ph type="body" idx="1"/>
          </p:nvPr>
        </p:nvSpPr>
        <p:spPr>
          <a:xfrm>
            <a:off x="4194406" y="1455232"/>
            <a:ext cx="5099942" cy="55748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228600" lvl="0" indent="-228600" algn="l" rtl="0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SzPts val="2800"/>
              <a:buFont typeface="Arial,Sans-Serif"/>
              <a:buChar char="•"/>
            </a:pPr>
            <a:r>
              <a:rPr lang="en-US" sz="2000" b="1">
                <a:solidFill>
                  <a:schemeClr val="accent1"/>
                </a:solidFill>
              </a:rPr>
              <a:t>All data submitted</a:t>
            </a:r>
          </a:p>
          <a:p>
            <a:pPr marL="228600" indent="-228600">
              <a:lnSpc>
                <a:spcPct val="90000"/>
              </a:lnSpc>
              <a:spcBef>
                <a:spcPts val="2000"/>
              </a:spcBef>
              <a:buSzPts val="2800"/>
              <a:buFont typeface="Arial,Sans-Serif"/>
            </a:pPr>
            <a:r>
              <a:rPr lang="en-US" sz="2000" b="1">
                <a:solidFill>
                  <a:schemeClr val="accent1"/>
                </a:solidFill>
              </a:rPr>
              <a:t>7 of 7 key strategies In Place (Green)</a:t>
            </a:r>
          </a:p>
          <a:p>
            <a:pPr marL="228600" indent="-228600">
              <a:lnSpc>
                <a:spcPct val="90000"/>
              </a:lnSpc>
              <a:spcBef>
                <a:spcPts val="2000"/>
              </a:spcBef>
              <a:buSzPts val="2800"/>
              <a:buFont typeface="Arial,Sans-Serif"/>
            </a:pPr>
            <a:r>
              <a:rPr lang="en-US" sz="2000" b="1">
                <a:solidFill>
                  <a:schemeClr val="accent1"/>
                </a:solidFill>
              </a:rPr>
              <a:t>Achieving ALL goals for the following outcome &amp; process measures:</a:t>
            </a:r>
          </a:p>
          <a:p>
            <a:pPr marL="685800" lvl="1" indent="-228600">
              <a:lnSpc>
                <a:spcPct val="90000"/>
              </a:lnSpc>
              <a:spcBef>
                <a:spcPts val="2000"/>
              </a:spcBef>
              <a:buClr>
                <a:srgbClr val="1C498B"/>
              </a:buClr>
              <a:buSzPts val="2800"/>
              <a:buFont typeface="Arial,Sans-Serif"/>
            </a:pPr>
            <a:r>
              <a:rPr lang="en-US" b="1">
                <a:solidFill>
                  <a:schemeClr val="accent1"/>
                </a:solidFill>
              </a:rPr>
              <a:t>Provider, Nurse, &amp; Other Staff Bias Education ≥70%</a:t>
            </a:r>
          </a:p>
          <a:p>
            <a:pPr marL="685800" lvl="1" indent="-228600">
              <a:lnSpc>
                <a:spcPct val="90000"/>
              </a:lnSpc>
              <a:spcBef>
                <a:spcPts val="2000"/>
              </a:spcBef>
              <a:buSzPts val="2800"/>
              <a:buFont typeface="Arial,Sans-Serif"/>
            </a:pPr>
            <a:r>
              <a:rPr lang="en-US" b="1" err="1">
                <a:solidFill>
                  <a:schemeClr val="accent1"/>
                </a:solidFill>
              </a:rPr>
              <a:t>SDoH</a:t>
            </a:r>
            <a:r>
              <a:rPr lang="en-US" b="1">
                <a:solidFill>
                  <a:schemeClr val="accent1"/>
                </a:solidFill>
              </a:rPr>
              <a:t> Delivery Admission Screening Documented ≥70%</a:t>
            </a:r>
          </a:p>
          <a:p>
            <a:pPr marL="685800" lvl="1" indent="-228600">
              <a:lnSpc>
                <a:spcPct val="90000"/>
              </a:lnSpc>
              <a:spcBef>
                <a:spcPts val="2000"/>
              </a:spcBef>
              <a:buSzPts val="2800"/>
              <a:buFont typeface="Arial,Sans-Serif"/>
            </a:pPr>
            <a:r>
              <a:rPr lang="en-US" b="1" err="1">
                <a:solidFill>
                  <a:schemeClr val="accent1"/>
                </a:solidFill>
              </a:rPr>
              <a:t>SDoH</a:t>
            </a:r>
            <a:r>
              <a:rPr lang="en-US" b="1">
                <a:solidFill>
                  <a:schemeClr val="accent1"/>
                </a:solidFill>
              </a:rPr>
              <a:t> Screen Positive Linkage to Resources Documented ≥70%</a:t>
            </a:r>
          </a:p>
          <a:p>
            <a:pPr marL="685800" lvl="1" indent="-228600">
              <a:lnSpc>
                <a:spcPct val="90000"/>
              </a:lnSpc>
              <a:spcBef>
                <a:spcPts val="2000"/>
              </a:spcBef>
              <a:buSzPts val="2800"/>
              <a:buFont typeface="Arial,Sans-Serif"/>
            </a:pPr>
            <a:r>
              <a:rPr lang="en-US" b="1">
                <a:solidFill>
                  <a:schemeClr val="accent1"/>
                </a:solidFill>
              </a:rPr>
              <a:t>PREM Completion Rate </a:t>
            </a:r>
            <a:r>
              <a:rPr lang="en-US" b="1" u="sng">
                <a:solidFill>
                  <a:schemeClr val="accent1"/>
                </a:solidFill>
              </a:rPr>
              <a:t>&gt;</a:t>
            </a:r>
            <a:r>
              <a:rPr lang="en-US" b="1">
                <a:solidFill>
                  <a:schemeClr val="accent1"/>
                </a:solidFill>
              </a:rPr>
              <a:t>10% or 15 surveys/month for larger hospitals</a:t>
            </a:r>
          </a:p>
        </p:txBody>
      </p:sp>
      <p:sp>
        <p:nvSpPr>
          <p:cNvPr id="4080" name="Google Shape;4080;p430"/>
          <p:cNvSpPr txBox="1">
            <a:spLocks noGrp="1"/>
          </p:cNvSpPr>
          <p:nvPr>
            <p:ph type="sldNum" idx="12"/>
          </p:nvPr>
        </p:nvSpPr>
        <p:spPr>
          <a:xfrm>
            <a:off x="11704320" y="6455664"/>
            <a:ext cx="448056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1100">
                <a:solidFill>
                  <a:srgbClr val="9CA5AE"/>
                </a:solidFill>
              </a:rPr>
              <a:t>45</a:t>
            </a:fld>
            <a:endParaRPr sz="1100">
              <a:solidFill>
                <a:srgbClr val="9CA5AE"/>
              </a:solidFill>
            </a:endParaRPr>
          </a:p>
        </p:txBody>
      </p:sp>
      <p:grpSp>
        <p:nvGrpSpPr>
          <p:cNvPr id="6" name="Google Shape;4299;p443">
            <a:extLst>
              <a:ext uri="{FF2B5EF4-FFF2-40B4-BE49-F238E27FC236}">
                <a16:creationId xmlns:a16="http://schemas.microsoft.com/office/drawing/2014/main" id="{1E563E47-4596-D2A9-B5C3-6A2785CC0635}"/>
              </a:ext>
            </a:extLst>
          </p:cNvPr>
          <p:cNvGrpSpPr/>
          <p:nvPr/>
        </p:nvGrpSpPr>
        <p:grpSpPr>
          <a:xfrm>
            <a:off x="9296000" y="2007903"/>
            <a:ext cx="2836870" cy="3845632"/>
            <a:chOff x="9160895" y="1436954"/>
            <a:chExt cx="2999430" cy="3845632"/>
          </a:xfrm>
        </p:grpSpPr>
        <p:pic>
          <p:nvPicPr>
            <p:cNvPr id="3" name="Google Shape;4300;p443" descr="Diagram&#10;&#10;Description automatically generated">
              <a:extLst>
                <a:ext uri="{FF2B5EF4-FFF2-40B4-BE49-F238E27FC236}">
                  <a16:creationId xmlns:a16="http://schemas.microsoft.com/office/drawing/2014/main" id="{9DB08B42-497B-DDB4-19DB-10FA3E4541FB}"/>
                </a:ext>
              </a:extLst>
            </p:cNvPr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160895" y="1436954"/>
              <a:ext cx="2999430" cy="3845632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4" name="Google Shape;4301;p443">
              <a:extLst>
                <a:ext uri="{FF2B5EF4-FFF2-40B4-BE49-F238E27FC236}">
                  <a16:creationId xmlns:a16="http://schemas.microsoft.com/office/drawing/2014/main" id="{F15AEFA4-AA68-A117-C958-DB0EEF47CD10}"/>
                </a:ext>
              </a:extLst>
            </p:cNvPr>
            <p:cNvSpPr/>
            <p:nvPr/>
          </p:nvSpPr>
          <p:spPr>
            <a:xfrm>
              <a:off x="10600479" y="2884025"/>
              <a:ext cx="771645" cy="1080303"/>
            </a:xfrm>
            <a:prstGeom prst="rect">
              <a:avLst/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800">
                  <a:solidFill>
                    <a:schemeClr val="lt1"/>
                  </a:solidFill>
                  <a:latin typeface="Calibri"/>
                  <a:ea typeface="Calibri"/>
                  <a:cs typeface="Calibri"/>
                  <a:sym typeface="Calibri"/>
                </a:rPr>
                <a:t>Your H</a:t>
              </a: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" name="Google Shape;4302;p443">
              <a:extLst>
                <a:ext uri="{FF2B5EF4-FFF2-40B4-BE49-F238E27FC236}">
                  <a16:creationId xmlns:a16="http://schemas.microsoft.com/office/drawing/2014/main" id="{D5466739-E840-FC95-6665-3D91BEEA02D7}"/>
                </a:ext>
              </a:extLst>
            </p:cNvPr>
            <p:cNvSpPr/>
            <p:nvPr/>
          </p:nvSpPr>
          <p:spPr>
            <a:xfrm rot="5400000">
              <a:off x="10272529" y="2662176"/>
              <a:ext cx="771645" cy="1080303"/>
            </a:xfrm>
            <a:prstGeom prst="rect">
              <a:avLst/>
            </a:prstGeom>
            <a:solidFill>
              <a:schemeClr val="lt1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" name="Google Shape;4303;p443">
            <a:extLst>
              <a:ext uri="{FF2B5EF4-FFF2-40B4-BE49-F238E27FC236}">
                <a16:creationId xmlns:a16="http://schemas.microsoft.com/office/drawing/2014/main" id="{9C5AC312-117A-1AEF-D019-567B59D9E006}"/>
              </a:ext>
            </a:extLst>
          </p:cNvPr>
          <p:cNvSpPr txBox="1"/>
          <p:nvPr/>
        </p:nvSpPr>
        <p:spPr>
          <a:xfrm>
            <a:off x="10166705" y="3436921"/>
            <a:ext cx="1417898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Your Hospital's Name Here!</a:t>
            </a:r>
            <a:endParaRPr sz="1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Google Shape;4077;p430">
            <a:extLst>
              <a:ext uri="{FF2B5EF4-FFF2-40B4-BE49-F238E27FC236}">
                <a16:creationId xmlns:a16="http://schemas.microsoft.com/office/drawing/2014/main" id="{59B5809D-8C36-DFD5-340F-56BFB0EB69B2}"/>
              </a:ext>
            </a:extLst>
          </p:cNvPr>
          <p:cNvSpPr txBox="1">
            <a:spLocks/>
          </p:cNvSpPr>
          <p:nvPr/>
        </p:nvSpPr>
        <p:spPr>
          <a:xfrm>
            <a:off x="4430931" y="334264"/>
            <a:ext cx="7378720" cy="13845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srgbClr val="FFFFFF"/>
              </a:buClr>
              <a:buSzPts val="4000"/>
            </a:pPr>
            <a:r>
              <a:rPr lang="en-US" sz="4000" kern="0">
                <a:solidFill>
                  <a:schemeClr val="accent1">
                    <a:lumMod val="40000"/>
                    <a:lumOff val="60000"/>
                  </a:schemeClr>
                </a:solidFill>
              </a:rPr>
              <a:t>24 Birth Equity teams have already achieved QI excellence!</a:t>
            </a:r>
          </a:p>
        </p:txBody>
      </p:sp>
    </p:spTree>
    <p:extLst>
      <p:ext uri="{BB962C8B-B14F-4D97-AF65-F5344CB8AC3E}">
        <p14:creationId xmlns:p14="http://schemas.microsoft.com/office/powerpoint/2010/main" val="196405204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49CB89-4DEA-1AC8-5693-1B763A8ACF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3272" y="149481"/>
            <a:ext cx="2104843" cy="2667592"/>
          </a:xfrm>
          <a:noFill/>
        </p:spPr>
        <p:txBody>
          <a:bodyPr/>
          <a:lstStyle/>
          <a:p>
            <a:r>
              <a:rPr lang="en-US" sz="4400" dirty="0"/>
              <a:t>Birth Equity Next Step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728F33-76D6-1119-0DB1-05980186B321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AEB3B7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975C3B-70E2-FCB8-F337-59004ABAFDF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41201" y="2846111"/>
            <a:ext cx="11965693" cy="4021304"/>
          </a:xfrm>
          <a:solidFill>
            <a:schemeClr val="bg1"/>
          </a:solidFill>
        </p:spPr>
        <p:txBody>
          <a:bodyPr/>
          <a:lstStyle/>
          <a:p>
            <a:r>
              <a:rPr lang="en-US" b="1" dirty="0"/>
              <a:t>Our goal is to help all BE teams achieve QI Excellence and sustain BE progress</a:t>
            </a:r>
          </a:p>
          <a:p>
            <a:r>
              <a:rPr lang="en-US" b="1" dirty="0"/>
              <a:t>We will be moving into BE Sustainability starting this summer and provide:</a:t>
            </a:r>
          </a:p>
          <a:p>
            <a:pPr lvl="1"/>
            <a:r>
              <a:rPr lang="en-US" sz="2400" dirty="0"/>
              <a:t>Quarterly webinars</a:t>
            </a:r>
          </a:p>
          <a:p>
            <a:pPr lvl="1"/>
            <a:r>
              <a:rPr lang="en-US" sz="2400" dirty="0"/>
              <a:t>Draft BE Sustainability Plan (coming in June)</a:t>
            </a:r>
          </a:p>
          <a:p>
            <a:pPr lvl="1"/>
            <a:r>
              <a:rPr lang="en-US" sz="2400" dirty="0"/>
              <a:t>QI support to help you succeed</a:t>
            </a:r>
          </a:p>
          <a:p>
            <a:pPr lvl="1"/>
            <a:r>
              <a:rPr lang="en-US" sz="2400" dirty="0"/>
              <a:t>Support for Patient Partners and Respectful Care Breakfasts</a:t>
            </a:r>
          </a:p>
          <a:p>
            <a:pPr lvl="1"/>
            <a:r>
              <a:rPr lang="en-US" sz="2400" dirty="0"/>
              <a:t>Strategies to engage doulas, home visiting and outpatient community health centers</a:t>
            </a:r>
          </a:p>
          <a:p>
            <a:pPr lvl="1"/>
            <a:r>
              <a:rPr lang="en-US" sz="2400" dirty="0"/>
              <a:t>Ongoing support for PREM and stratified data</a:t>
            </a:r>
          </a:p>
        </p:txBody>
      </p:sp>
      <p:pic>
        <p:nvPicPr>
          <p:cNvPr id="5" name="Picture 4" descr="A group of women in scrubs standing in front of a bulletin board&#10;&#10;Description automatically generated">
            <a:extLst>
              <a:ext uri="{FF2B5EF4-FFF2-40B4-BE49-F238E27FC236}">
                <a16:creationId xmlns:a16="http://schemas.microsoft.com/office/drawing/2014/main" id="{F9C93382-EED8-4755-B3D6-CD86FA3D8D0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9812" y="117854"/>
            <a:ext cx="4320795" cy="2664441"/>
          </a:xfrm>
          <a:prstGeom prst="rect">
            <a:avLst/>
          </a:prstGeom>
        </p:spPr>
      </p:pic>
      <p:pic>
        <p:nvPicPr>
          <p:cNvPr id="6" name="Picture 5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06705700-16F7-C248-4D4F-56D377F7761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3217" y="102500"/>
            <a:ext cx="2001388" cy="2683776"/>
          </a:xfrm>
          <a:prstGeom prst="rect">
            <a:avLst/>
          </a:prstGeom>
        </p:spPr>
      </p:pic>
      <p:pic>
        <p:nvPicPr>
          <p:cNvPr id="7" name="Picture 6" descr="A group of people holding signs&#10;&#10;Description automatically generated">
            <a:extLst>
              <a:ext uri="{FF2B5EF4-FFF2-40B4-BE49-F238E27FC236}">
                <a16:creationId xmlns:a16="http://schemas.microsoft.com/office/drawing/2014/main" id="{E3B7DB62-D967-6BF6-E028-003A9C28B36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2908" y="106765"/>
            <a:ext cx="3542305" cy="2675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598581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8" name="Google Shape;4308;p44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Mothers and Newborns affected by Opioids (MNO) Sustainability</a:t>
            </a:r>
            <a:endParaRPr/>
          </a:p>
        </p:txBody>
      </p:sp>
      <p:sp>
        <p:nvSpPr>
          <p:cNvPr id="4309" name="Google Shape;4309;p44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indent="0">
              <a:lnSpc>
                <a:spcPct val="150000"/>
              </a:lnSpc>
              <a:spcBef>
                <a:spcPts val="0"/>
              </a:spcBef>
            </a:pPr>
            <a:r>
              <a:rPr lang="en-US"/>
              <a:t>Essential resources and strategies to continue our MNO-OB work amidst increasing maternal OUD rates in Illinois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08022551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C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oogle Shape;4319;p445">
            <a:extLst>
              <a:ext uri="{FF2B5EF4-FFF2-40B4-BE49-F238E27FC236}">
                <a16:creationId xmlns:a16="http://schemas.microsoft.com/office/drawing/2014/main" id="{5DA016F4-1824-83E6-8F57-3199DF35EAD2}"/>
              </a:ext>
            </a:extLst>
          </p:cNvPr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7401" y="262328"/>
            <a:ext cx="5889226" cy="442029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Freeform 2"/>
          <p:cNvSpPr/>
          <p:nvPr/>
        </p:nvSpPr>
        <p:spPr>
          <a:xfrm>
            <a:off x="6745622" y="324884"/>
            <a:ext cx="5007635" cy="4552794"/>
          </a:xfrm>
          <a:custGeom>
            <a:avLst/>
            <a:gdLst/>
            <a:ahLst/>
            <a:cxnLst/>
            <a:rect l="l" t="t" r="r" b="b"/>
            <a:pathLst>
              <a:path w="5633652" h="6560294">
                <a:moveTo>
                  <a:pt x="0" y="0"/>
                </a:moveTo>
                <a:lnTo>
                  <a:pt x="5633652" y="0"/>
                </a:lnTo>
                <a:lnTo>
                  <a:pt x="5633652" y="6560294"/>
                </a:lnTo>
                <a:lnTo>
                  <a:pt x="0" y="6560294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grpSp>
        <p:nvGrpSpPr>
          <p:cNvPr id="6" name="Group 6"/>
          <p:cNvGrpSpPr>
            <a:grpSpLocks noChangeAspect="1"/>
          </p:cNvGrpSpPr>
          <p:nvPr/>
        </p:nvGrpSpPr>
        <p:grpSpPr>
          <a:xfrm rot="19835951">
            <a:off x="8776763" y="2545364"/>
            <a:ext cx="134605" cy="116568"/>
            <a:chOff x="0" y="0"/>
            <a:chExt cx="6350000" cy="5499100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0" y="5499100"/>
                  </a:moveTo>
                  <a:lnTo>
                    <a:pt x="3175000" y="0"/>
                  </a:lnTo>
                  <a:lnTo>
                    <a:pt x="6350000" y="5499100"/>
                  </a:lnTo>
                  <a:lnTo>
                    <a:pt x="0" y="5499100"/>
                  </a:lnTo>
                  <a:close/>
                </a:path>
              </a:pathLst>
            </a:custGeom>
            <a:solidFill>
              <a:srgbClr val="FFC800"/>
            </a:solidFill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5" name="Group 15"/>
          <p:cNvGrpSpPr>
            <a:grpSpLocks noChangeAspect="1"/>
          </p:cNvGrpSpPr>
          <p:nvPr/>
        </p:nvGrpSpPr>
        <p:grpSpPr>
          <a:xfrm rot="19835951">
            <a:off x="7238125" y="694992"/>
            <a:ext cx="134605" cy="116568"/>
            <a:chOff x="0" y="0"/>
            <a:chExt cx="6350000" cy="5499100"/>
          </a:xfrm>
        </p:grpSpPr>
        <p:sp>
          <p:nvSpPr>
            <p:cNvPr id="16" name="Freeform 16"/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0" y="5499100"/>
                  </a:moveTo>
                  <a:lnTo>
                    <a:pt x="3175000" y="0"/>
                  </a:lnTo>
                  <a:lnTo>
                    <a:pt x="6350000" y="5499100"/>
                  </a:lnTo>
                  <a:lnTo>
                    <a:pt x="0" y="5499100"/>
                  </a:lnTo>
                  <a:close/>
                </a:path>
              </a:pathLst>
            </a:custGeom>
            <a:solidFill>
              <a:srgbClr val="FFC800"/>
            </a:solidFill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3" name="TextBox 23"/>
          <p:cNvSpPr txBox="1"/>
          <p:nvPr/>
        </p:nvSpPr>
        <p:spPr>
          <a:xfrm>
            <a:off x="7216268" y="899872"/>
            <a:ext cx="3823498" cy="186127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901"/>
              </a:lnSpc>
            </a:pPr>
            <a:r>
              <a:rPr lang="en-US" sz="2800" b="1">
                <a:solidFill>
                  <a:srgbClr val="002060"/>
                </a:solidFill>
                <a:latin typeface="League Spartan"/>
              </a:rPr>
              <a:t>MATERNAL DEATHS DUE TO OPIOIDS </a:t>
            </a:r>
          </a:p>
          <a:p>
            <a:pPr algn="ctr">
              <a:lnSpc>
                <a:spcPts val="2901"/>
              </a:lnSpc>
            </a:pPr>
            <a:r>
              <a:rPr lang="en-US" sz="2800" b="1">
                <a:solidFill>
                  <a:srgbClr val="002060"/>
                </a:solidFill>
                <a:latin typeface="League Spartan"/>
              </a:rPr>
              <a:t>IN IL NEED </a:t>
            </a:r>
          </a:p>
          <a:p>
            <a:pPr algn="ctr">
              <a:lnSpc>
                <a:spcPts val="2901"/>
              </a:lnSpc>
            </a:pPr>
            <a:r>
              <a:rPr lang="en-US" sz="2800" b="1">
                <a:solidFill>
                  <a:srgbClr val="002060"/>
                </a:solidFill>
                <a:latin typeface="League Spartan"/>
              </a:rPr>
              <a:t>OUR URGENT ATTENTION!</a:t>
            </a:r>
          </a:p>
        </p:txBody>
      </p:sp>
      <p:sp>
        <p:nvSpPr>
          <p:cNvPr id="4" name="Google Shape;4322;p445">
            <a:extLst>
              <a:ext uri="{FF2B5EF4-FFF2-40B4-BE49-F238E27FC236}">
                <a16:creationId xmlns:a16="http://schemas.microsoft.com/office/drawing/2014/main" id="{0C85B7B6-5588-37CF-57FC-29CAA62D4E63}"/>
              </a:ext>
            </a:extLst>
          </p:cNvPr>
          <p:cNvSpPr txBox="1"/>
          <p:nvPr/>
        </p:nvSpPr>
        <p:spPr>
          <a:xfrm>
            <a:off x="734843" y="5054105"/>
            <a:ext cx="2703993" cy="15696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9600" b="1" kern="0">
                <a:solidFill>
                  <a:srgbClr val="C00000"/>
                </a:solidFill>
                <a:latin typeface="Calibri"/>
                <a:ea typeface="Calibri"/>
                <a:cs typeface="Calibri"/>
                <a:sym typeface="Calibri"/>
              </a:rPr>
              <a:t>32</a:t>
            </a:r>
            <a:r>
              <a:rPr kumimoji="0" lang="en-US" sz="9600" b="1" i="0" u="none" strike="noStrike" kern="0" cap="none" spc="0" normalizeH="0" baseline="0" noProof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%</a:t>
            </a:r>
            <a:endParaRPr lang="en-US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8" name="Google Shape;4318;p445">
            <a:extLst>
              <a:ext uri="{FF2B5EF4-FFF2-40B4-BE49-F238E27FC236}">
                <a16:creationId xmlns:a16="http://schemas.microsoft.com/office/drawing/2014/main" id="{FFD1EE04-9112-8BE6-7E27-56C1AC26D874}"/>
              </a:ext>
            </a:extLst>
          </p:cNvPr>
          <p:cNvSpPr txBox="1"/>
          <p:nvPr/>
        </p:nvSpPr>
        <p:spPr>
          <a:xfrm>
            <a:off x="3631351" y="4959240"/>
            <a:ext cx="5093282" cy="17542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3600" b="0" i="0" u="none" strike="noStrike" kern="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Quattrocento Sans"/>
                <a:ea typeface="Quattrocento Sans"/>
                <a:cs typeface="Quattrocento Sans"/>
                <a:sym typeface="Quattrocento Sans"/>
              </a:rPr>
              <a:t>Overdose is the leading cause of pregnancy-related deaths in Illinois</a:t>
            </a:r>
            <a:endParaRPr kumimoji="0" sz="3600" b="0" i="0" u="none" strike="noStrike" kern="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Google Shape;4323;p445">
            <a:extLst>
              <a:ext uri="{FF2B5EF4-FFF2-40B4-BE49-F238E27FC236}">
                <a16:creationId xmlns:a16="http://schemas.microsoft.com/office/drawing/2014/main" id="{9FEC07FE-FD17-9565-EA69-6F8893428722}"/>
              </a:ext>
            </a:extLst>
          </p:cNvPr>
          <p:cNvSpPr txBox="1"/>
          <p:nvPr/>
        </p:nvSpPr>
        <p:spPr>
          <a:xfrm>
            <a:off x="7312192" y="6236601"/>
            <a:ext cx="3534776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algn="r">
              <a:buClr>
                <a:srgbClr val="000000"/>
              </a:buClr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Quattrocento Sans"/>
                <a:ea typeface="Quattrocento Sans"/>
                <a:cs typeface="Quattrocento Sans"/>
                <a:sym typeface="Quattrocento Sans"/>
              </a:rPr>
              <a:t>IDPH</a:t>
            </a:r>
            <a:r>
              <a:rPr lang="en-US" sz="1400" kern="0">
                <a:solidFill>
                  <a:srgbClr val="444C55"/>
                </a:solidFill>
                <a:latin typeface="Quattrocento Sans"/>
                <a:ea typeface="Quattrocento Sans"/>
                <a:cs typeface="Quattrocento Sans"/>
                <a:sym typeface="Quattrocento Sans"/>
              </a:rPr>
              <a:t> MMRC Report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Quattrocento Sans"/>
                <a:ea typeface="Quattrocento Sans"/>
                <a:cs typeface="Quattrocento Sans"/>
                <a:sym typeface="Quattrocento Sans"/>
              </a:rPr>
              <a:t>2023</a:t>
            </a:r>
            <a:endParaRPr lang="en-US" sz="1400" kern="0">
              <a:solidFill>
                <a:srgbClr val="444C55"/>
              </a:solidFill>
              <a:latin typeface="Calibri"/>
              <a:ea typeface="Quattrocento Sans"/>
              <a:cs typeface="Calibri"/>
            </a:endParaRPr>
          </a:p>
          <a:p>
            <a:pPr algn="r">
              <a:defRPr/>
            </a:pPr>
            <a:r>
              <a:rPr lang="en-US" sz="1400" kern="0">
                <a:solidFill>
                  <a:srgbClr val="444C55"/>
                </a:solidFill>
                <a:latin typeface="Quattrocento Sans"/>
                <a:ea typeface="Calibri"/>
                <a:cs typeface="Calibri"/>
              </a:rPr>
              <a:t>Maternal deaths 2018-2020</a:t>
            </a:r>
            <a:endParaRPr lang="en-US" sz="1400" b="0" i="0" u="none" strike="noStrike" kern="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Quattrocento Sans"/>
              <a:ea typeface="Calibri"/>
              <a:cs typeface="Calibri"/>
            </a:endParaRPr>
          </a:p>
        </p:txBody>
      </p:sp>
      <p:sp>
        <p:nvSpPr>
          <p:cNvPr id="12" name="Google Shape;4320;p445">
            <a:extLst>
              <a:ext uri="{FF2B5EF4-FFF2-40B4-BE49-F238E27FC236}">
                <a16:creationId xmlns:a16="http://schemas.microsoft.com/office/drawing/2014/main" id="{505D2148-EA4E-26B2-401F-8B38EB4CF877}"/>
              </a:ext>
            </a:extLst>
          </p:cNvPr>
          <p:cNvSpPr txBox="1"/>
          <p:nvPr/>
        </p:nvSpPr>
        <p:spPr>
          <a:xfrm>
            <a:off x="362200" y="294872"/>
            <a:ext cx="5731555" cy="9233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Pregnancy-Associated Mortality Ratio for Unintentional Drug Poisoning Deaths among Illinois Residents</a:t>
            </a:r>
            <a:endParaRPr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00" b="1" i="0" u="none" strike="noStrike" kern="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" name="Google Shape;4321;p445">
            <a:extLst>
              <a:ext uri="{FF2B5EF4-FFF2-40B4-BE49-F238E27FC236}">
                <a16:creationId xmlns:a16="http://schemas.microsoft.com/office/drawing/2014/main" id="{02A6214F-12F0-758A-E298-96263292BA69}"/>
              </a:ext>
            </a:extLst>
          </p:cNvPr>
          <p:cNvSpPr txBox="1"/>
          <p:nvPr/>
        </p:nvSpPr>
        <p:spPr>
          <a:xfrm>
            <a:off x="1473982" y="1394776"/>
            <a:ext cx="1817072" cy="707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Quattrocento Sans"/>
                <a:ea typeface="Quattrocento Sans"/>
                <a:cs typeface="Quattrocento Sans"/>
                <a:sym typeface="Quattrocento Sans"/>
              </a:rPr>
              <a:t>IDPH Maternal Morbidity and Mortality report on 2016-2017 deaths, 2021; IDPH Death Certificates, 2021</a:t>
            </a:r>
            <a:endParaRPr lang="en-US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3" name="Picture 2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F805401E-E28E-CF9D-42A5-E4A4730CE5D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3533" y="5173042"/>
            <a:ext cx="1233577" cy="1587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75673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8" name="Google Shape;4348;p447"/>
          <p:cNvSpPr/>
          <p:nvPr/>
        </p:nvSpPr>
        <p:spPr>
          <a:xfrm>
            <a:off x="3576751" y="-45305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4349" name="Google Shape;4349;p447"/>
          <p:cNvGrpSpPr/>
          <p:nvPr/>
        </p:nvGrpSpPr>
        <p:grpSpPr>
          <a:xfrm flipH="1">
            <a:off x="10741136" y="-454724"/>
            <a:ext cx="2323655" cy="2323656"/>
            <a:chOff x="-872270" y="-454724"/>
            <a:chExt cx="2323655" cy="2323656"/>
          </a:xfrm>
        </p:grpSpPr>
        <p:sp>
          <p:nvSpPr>
            <p:cNvPr id="4350" name="Google Shape;4350;p447"/>
            <p:cNvSpPr/>
            <p:nvPr/>
          </p:nvSpPr>
          <p:spPr>
            <a:xfrm rot="2700000">
              <a:off x="-415188" y="-231223"/>
              <a:ext cx="1409491" cy="1876653"/>
            </a:xfrm>
            <a:custGeom>
              <a:avLst/>
              <a:gdLst/>
              <a:ahLst/>
              <a:cxnLst/>
              <a:rect l="l" t="t" r="r" b="b"/>
              <a:pathLst>
                <a:path w="1409491" h="1876653" extrusionOk="0">
                  <a:moveTo>
                    <a:pt x="0" y="643075"/>
                  </a:moveTo>
                  <a:lnTo>
                    <a:pt x="643075" y="0"/>
                  </a:lnTo>
                  <a:lnTo>
                    <a:pt x="1409491" y="0"/>
                  </a:lnTo>
                  <a:lnTo>
                    <a:pt x="1409491" y="1876653"/>
                  </a:lnTo>
                  <a:lnTo>
                    <a:pt x="1233578" y="1876653"/>
                  </a:lnTo>
                  <a:close/>
                </a:path>
              </a:pathLst>
            </a:custGeom>
            <a:solidFill>
              <a:schemeClr val="accent1">
                <a:alpha val="2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351" name="Google Shape;4351;p447"/>
            <p:cNvSpPr/>
            <p:nvPr/>
          </p:nvSpPr>
          <p:spPr>
            <a:xfrm rot="2700000">
              <a:off x="301285" y="1282788"/>
              <a:ext cx="485578" cy="485578"/>
            </a:xfrm>
            <a:prstGeom prst="rect">
              <a:avLst/>
            </a:prstGeom>
            <a:solidFill>
              <a:schemeClr val="accent1">
                <a:alpha val="29803"/>
              </a:schemeClr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352" name="Google Shape;4352;p447"/>
          <p:cNvSpPr/>
          <p:nvPr/>
        </p:nvSpPr>
        <p:spPr>
          <a:xfrm rot="2700000">
            <a:off x="2737196" y="6033666"/>
            <a:ext cx="645368" cy="645368"/>
          </a:xfrm>
          <a:prstGeom prst="rect">
            <a:avLst/>
          </a:prstGeom>
          <a:solidFill>
            <a:schemeClr val="accent4">
              <a:alpha val="2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53" name="Google Shape;4353;p447"/>
          <p:cNvSpPr/>
          <p:nvPr/>
        </p:nvSpPr>
        <p:spPr>
          <a:xfrm>
            <a:off x="1343436" y="5721108"/>
            <a:ext cx="2261965" cy="1136891"/>
          </a:xfrm>
          <a:prstGeom prst="triangle">
            <a:avLst>
              <a:gd name="adj" fmla="val 50000"/>
            </a:avLst>
          </a:prstGeom>
          <a:solidFill>
            <a:schemeClr val="accent4">
              <a:alpha val="2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354" name="Google Shape;4354;p447"/>
          <p:cNvSpPr txBox="1">
            <a:spLocks noGrp="1"/>
          </p:cNvSpPr>
          <p:nvPr>
            <p:ph type="sldNum" idx="12"/>
          </p:nvPr>
        </p:nvSpPr>
        <p:spPr>
          <a:xfrm>
            <a:off x="8229101" y="5911913"/>
            <a:ext cx="2273588" cy="3026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984" b="0" i="0" u="none" strike="noStrike" kern="1200" cap="none" spc="0" normalizeH="0" baseline="0" noProof="0">
                <a:ln>
                  <a:noFill/>
                </a:ln>
                <a:solidFill>
                  <a:srgbClr val="AEB3B7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sym typeface="Calibri"/>
            </a:endParaRPr>
          </a:p>
        </p:txBody>
      </p:sp>
      <p:pic>
        <p:nvPicPr>
          <p:cNvPr id="4355" name="Google Shape;4355;p447" descr="A picture containing graphical user interface&#10;&#10;Description automatically generated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33277" y="53697"/>
            <a:ext cx="1974517" cy="4057363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 cmpd="sng">
            <a:solidFill>
              <a:srgbClr val="292929"/>
            </a:solidFill>
            <a:prstDash val="solid"/>
            <a:miter lim="800000"/>
            <a:headEnd type="none" w="sm" len="sm"/>
            <a:tailEnd type="none" w="sm" len="sm"/>
          </a:ln>
          <a:effectLst>
            <a:reflection stA="28000" endPos="28000" dist="5000" dir="5400000" sy="-100000" algn="bl" rotWithShape="0"/>
          </a:effectLst>
        </p:spPr>
      </p:pic>
      <p:pic>
        <p:nvPicPr>
          <p:cNvPr id="4356" name="Google Shape;4356;p447" descr="A picture containing qr code&#10;&#10;Description automatically generated"/>
          <p:cNvPicPr preferRelativeResize="0"/>
          <p:nvPr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3528" y="2372928"/>
            <a:ext cx="3083574" cy="415836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 cmpd="sng">
            <a:solidFill>
              <a:srgbClr val="292929"/>
            </a:solidFill>
            <a:prstDash val="solid"/>
            <a:miter lim="800000"/>
            <a:headEnd type="none" w="sm" len="sm"/>
            <a:tailEnd type="none" w="sm" len="sm"/>
          </a:ln>
          <a:effectLst>
            <a:reflection stA="28000" endPos="28000" dist="5000" dir="5400000" sy="-100000" algn="bl" rotWithShape="0"/>
          </a:effectLst>
        </p:spPr>
      </p:pic>
      <p:sp>
        <p:nvSpPr>
          <p:cNvPr id="4359" name="Google Shape;4359;p447"/>
          <p:cNvSpPr txBox="1">
            <a:spLocks noGrp="1"/>
          </p:cNvSpPr>
          <p:nvPr>
            <p:ph type="title"/>
          </p:nvPr>
        </p:nvSpPr>
        <p:spPr>
          <a:xfrm>
            <a:off x="2404307" y="364229"/>
            <a:ext cx="5972524" cy="13904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>
              <a:buClr>
                <a:schemeClr val="accent3"/>
              </a:buClr>
              <a:buSzPts val="4000"/>
            </a:pPr>
            <a:r>
              <a:rPr lang="en-US" sz="4000"/>
              <a:t>Raising Resource Awareness:</a:t>
            </a:r>
            <a:br>
              <a:rPr lang="en-US" sz="4000"/>
            </a:br>
            <a:r>
              <a:rPr lang="en-US" sz="4000"/>
              <a:t>Connecting Clinical Staff </a:t>
            </a:r>
            <a:endParaRPr lang="en-US" sz="3900">
              <a:solidFill>
                <a:schemeClr val="accent3"/>
              </a:solidFill>
            </a:endParaRPr>
          </a:p>
        </p:txBody>
      </p:sp>
      <p:pic>
        <p:nvPicPr>
          <p:cNvPr id="4360" name="Google Shape;4360;p447"/>
          <p:cNvPicPr preferRelativeResize="0"/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69712" y="3604519"/>
            <a:ext cx="5154969" cy="2907354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 cmpd="sng">
            <a:solidFill>
              <a:srgbClr val="292929"/>
            </a:solidFill>
            <a:prstDash val="solid"/>
            <a:miter lim="800000"/>
            <a:headEnd type="none" w="sm" len="sm"/>
            <a:tailEnd type="none" w="sm" len="sm"/>
          </a:ln>
          <a:effectLst>
            <a:reflection stA="28000" endPos="28000" dist="5000" dir="5400000" sy="-100000" algn="bl" rotWithShape="0"/>
          </a:effectLst>
        </p:spPr>
      </p:pic>
      <p:pic>
        <p:nvPicPr>
          <p:cNvPr id="4362" name="Google Shape;4362;p447" descr="Text&#10;&#10;Description automatically generated"/>
          <p:cNvPicPr preferRelativeResize="0"/>
          <p:nvPr/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49138" y="218496"/>
            <a:ext cx="3591064" cy="4919561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 cmpd="sng">
            <a:solidFill>
              <a:srgbClr val="292929"/>
            </a:solidFill>
            <a:prstDash val="solid"/>
            <a:miter lim="800000"/>
            <a:headEnd type="none" w="sm" len="sm"/>
            <a:tailEnd type="none" w="sm" len="sm"/>
          </a:ln>
          <a:effectLst>
            <a:reflection stA="28000" endPos="28000" dist="5000" dir="5400000" sy="-100000" algn="bl" rotWithShape="0"/>
          </a:effectLst>
        </p:spPr>
      </p:pic>
      <p:pic>
        <p:nvPicPr>
          <p:cNvPr id="2" name="Picture 2" descr="Qr code&#10;&#10;Description automatically generated">
            <a:extLst>
              <a:ext uri="{FF2B5EF4-FFF2-40B4-BE49-F238E27FC236}">
                <a16:creationId xmlns:a16="http://schemas.microsoft.com/office/drawing/2014/main" id="{A2609D56-0D4E-971D-FDF5-780747651E1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55172" y="4970543"/>
            <a:ext cx="1070555" cy="1327133"/>
          </a:xfrm>
          <a:prstGeom prst="rect">
            <a:avLst/>
          </a:prstGeom>
        </p:spPr>
      </p:pic>
      <p:pic>
        <p:nvPicPr>
          <p:cNvPr id="4" name="Picture 3" descr="Qr code&#10;&#10;Description automatically generated">
            <a:extLst>
              <a:ext uri="{FF2B5EF4-FFF2-40B4-BE49-F238E27FC236}">
                <a16:creationId xmlns:a16="http://schemas.microsoft.com/office/drawing/2014/main" id="{5377BF8A-E97C-602B-42F7-5143962783C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77" y="4111773"/>
            <a:ext cx="1039628" cy="1263059"/>
          </a:xfrm>
          <a:prstGeom prst="rect">
            <a:avLst/>
          </a:prstGeom>
        </p:spPr>
      </p:pic>
      <p:pic>
        <p:nvPicPr>
          <p:cNvPr id="5" name="Picture 4" descr="A qr code on a white background&#10;&#10;Description automatically generated">
            <a:extLst>
              <a:ext uri="{FF2B5EF4-FFF2-40B4-BE49-F238E27FC236}">
                <a16:creationId xmlns:a16="http://schemas.microsoft.com/office/drawing/2014/main" id="{6ADC00B3-1F71-4EA8-3FEB-FC9588E80CC1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18228" y="4118378"/>
            <a:ext cx="1221974" cy="1515731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335523" y="2163312"/>
            <a:ext cx="3761571" cy="1015663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2000" kern="0">
                <a:solidFill>
                  <a:srgbClr val="F58366"/>
                </a:solidFill>
              </a:rPr>
              <a:t>Sign up for DOPP to access </a:t>
            </a:r>
            <a:endParaRPr lang="en-US" sz="2000" kern="0">
              <a:solidFill>
                <a:srgbClr val="F58366"/>
              </a:solidFill>
              <a:cs typeface="Arial"/>
            </a:endParaRPr>
          </a:p>
          <a:p>
            <a:r>
              <a:rPr lang="en-US" sz="2000" kern="0">
                <a:solidFill>
                  <a:srgbClr val="F58366"/>
                </a:solidFill>
              </a:rPr>
              <a:t>free Narcan kits for L&amp;D, ER, </a:t>
            </a:r>
            <a:endParaRPr lang="en-US" sz="2000" kern="0">
              <a:solidFill>
                <a:srgbClr val="F58366"/>
              </a:solidFill>
              <a:cs typeface="Arial"/>
            </a:endParaRPr>
          </a:p>
          <a:p>
            <a:r>
              <a:rPr lang="en-US" sz="2000" kern="0">
                <a:solidFill>
                  <a:srgbClr val="F58366"/>
                </a:solidFill>
              </a:rPr>
              <a:t>&amp; outpatient clinics</a:t>
            </a:r>
            <a:endParaRPr lang="en-US" sz="2000" kern="0">
              <a:solidFill>
                <a:srgbClr val="F58366"/>
              </a:solidFill>
              <a:cs typeface="Arial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0353287" y="5637122"/>
            <a:ext cx="1764209" cy="1200329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US" kern="0">
                <a:solidFill>
                  <a:srgbClr val="F58366"/>
                </a:solidFill>
              </a:rPr>
              <a:t>Train OB &amp; ER clinical staff </a:t>
            </a:r>
            <a:endParaRPr lang="en-US" kern="0">
              <a:solidFill>
                <a:srgbClr val="F58366"/>
              </a:solidFill>
              <a:cs typeface="Arial"/>
            </a:endParaRPr>
          </a:p>
          <a:p>
            <a:pPr algn="ctr"/>
            <a:r>
              <a:rPr lang="en-US" kern="0">
                <a:solidFill>
                  <a:srgbClr val="F58366"/>
                </a:solidFill>
              </a:rPr>
              <a:t>to connect to MAR NOW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795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8" name="Title 1"/>
          <p:cNvSpPr>
            <a:spLocks noGrp="1"/>
          </p:cNvSpPr>
          <p:nvPr/>
        </p:nvSpPr>
        <p:spPr>
          <a:xfrm>
            <a:off x="929735" y="2822548"/>
            <a:ext cx="3536051" cy="723024"/>
          </a:xfrm>
          <a:prstGeom prst="rect">
            <a:avLst/>
          </a:prstGeom>
        </p:spPr>
        <p:txBody>
          <a:bodyPr vert="horz" lIns="0" tIns="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kern="1200" spc="-5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3200" b="0" i="0" u="sng" strike="noStrike" kern="1200" cap="none" spc="-50" normalizeH="0" baseline="0" noProof="0">
                <a:ln>
                  <a:noFill/>
                </a:ln>
                <a:solidFill>
                  <a:srgbClr val="79818A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</a:br>
            <a:r>
              <a:rPr kumimoji="0" lang="en-US" sz="2800" b="0" i="0" u="none" strike="noStrike" kern="1200" cap="none" spc="-50" normalizeH="0" baseline="0" noProof="0">
                <a:ln>
                  <a:noFill/>
                </a:ln>
                <a:solidFill>
                  <a:srgbClr val="79818A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*NOTE* Credits must be claimed by 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sng" strike="noStrike" kern="1200" cap="none" spc="-50" normalizeH="0" baseline="0" noProof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June 23, 2024, by 9am</a:t>
            </a:r>
            <a:endParaRPr kumimoji="0" lang="en-US" sz="2800" b="0" i="0" u="none" strike="noStrike" kern="1200" cap="none" spc="-50" normalizeH="0" baseline="0" noProof="0">
              <a:ln>
                <a:noFill/>
              </a:ln>
              <a:solidFill>
                <a:srgbClr val="79818A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1116" y="5558474"/>
            <a:ext cx="3548671" cy="697832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/>
        </p:nvSpPr>
        <p:spPr>
          <a:xfrm>
            <a:off x="446709" y="4759226"/>
            <a:ext cx="5928005" cy="940275"/>
          </a:xfrm>
          <a:prstGeom prst="rect">
            <a:avLst/>
          </a:prstGeom>
          <a:noFill/>
        </p:spPr>
        <p:txBody>
          <a:bodyPr vert="horz" lIns="0" tIns="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kern="1200" spc="-5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-50" normalizeH="0" baseline="0" noProof="0">
                <a:ln>
                  <a:noFill/>
                </a:ln>
                <a:solidFill>
                  <a:srgbClr val="79818A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Education credits sponsored by:</a:t>
            </a:r>
            <a:endParaRPr kumimoji="0" lang="en-US" sz="2000" b="0" i="0" u="sng" strike="noStrike" kern="1200" cap="none" spc="-50" normalizeH="0" baseline="0" noProof="0">
              <a:ln>
                <a:noFill/>
              </a:ln>
              <a:solidFill>
                <a:srgbClr val="79818A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</p:txBody>
      </p:sp>
      <p:sp>
        <p:nvSpPr>
          <p:cNvPr id="10" name="Title 1"/>
          <p:cNvSpPr>
            <a:spLocks noGrp="1"/>
          </p:cNvSpPr>
          <p:nvPr/>
        </p:nvSpPr>
        <p:spPr>
          <a:xfrm>
            <a:off x="169211" y="4274308"/>
            <a:ext cx="6599190" cy="940275"/>
          </a:xfrm>
          <a:prstGeom prst="rect">
            <a:avLst/>
          </a:prstGeom>
          <a:noFill/>
        </p:spPr>
        <p:txBody>
          <a:bodyPr vert="horz" lIns="0" tIns="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kern="1200" spc="-5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00" b="0" i="0" u="none" strike="noStrike" kern="1200" cap="none" spc="-50" normalizeH="0" baseline="0" noProof="0">
                <a:ln>
                  <a:noFill/>
                </a:ln>
                <a:solidFill>
                  <a:srgbClr val="F5668F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5.00 education credits available for nurses, physicians, providers, </a:t>
            </a:r>
            <a:endParaRPr kumimoji="0" lang="en-US" sz="3200" b="0" i="0" u="sng" strike="noStrike" kern="1200" cap="none" spc="-50" normalizeH="0" baseline="0" noProof="0">
              <a:ln>
                <a:noFill/>
              </a:ln>
              <a:solidFill>
                <a:srgbClr val="F5668F"/>
              </a:solidFill>
              <a:effectLst/>
              <a:uLnTx/>
              <a:uFillTx/>
              <a:latin typeface="Arial" panose="020B060402020202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100" b="0" i="0" u="none" strike="noStrike" kern="1200" cap="none" spc="-50" normalizeH="0" baseline="0" noProof="0">
                <a:ln>
                  <a:noFill/>
                </a:ln>
                <a:solidFill>
                  <a:srgbClr val="F5668F"/>
                </a:solidFill>
                <a:effectLst/>
                <a:uLnTx/>
                <a:uFillTx/>
                <a:latin typeface="Arial" panose="020B0604020202020204"/>
                <a:ea typeface="+mj-ea"/>
                <a:cs typeface="+mj-cs"/>
              </a:rPr>
              <a:t>and social workers.</a:t>
            </a:r>
            <a:endParaRPr kumimoji="0" lang="en-US" sz="3200" b="0" i="0" u="sng" strike="noStrike" kern="1200" cap="none" spc="-50" normalizeH="0" baseline="0" noProof="0">
              <a:ln>
                <a:noFill/>
              </a:ln>
              <a:solidFill>
                <a:srgbClr val="F5668F"/>
              </a:solidFill>
              <a:effectLst/>
              <a:uLnTx/>
              <a:uFillTx/>
              <a:latin typeface="Arial" panose="020B0604020202020204"/>
              <a:ea typeface="+mj-ea"/>
              <a:cs typeface="Arial"/>
            </a:endParaRPr>
          </a:p>
        </p:txBody>
      </p:sp>
      <p:sp>
        <p:nvSpPr>
          <p:cNvPr id="11" name="Title 1"/>
          <p:cNvSpPr>
            <a:spLocks noGrp="1"/>
          </p:cNvSpPr>
          <p:nvPr/>
        </p:nvSpPr>
        <p:spPr>
          <a:xfrm>
            <a:off x="-78488" y="278813"/>
            <a:ext cx="6958818" cy="1536325"/>
          </a:xfrm>
          <a:prstGeom prst="rect">
            <a:avLst/>
          </a:prstGeom>
          <a:noFill/>
        </p:spPr>
        <p:txBody>
          <a:bodyPr vert="horz" lIns="0" tIns="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kern="1200" spc="-5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-50" normalizeH="0" baseline="0" noProof="0">
                <a:ln>
                  <a:noFill/>
                </a:ln>
                <a:solidFill>
                  <a:srgbClr val="1C498B"/>
                </a:solidFill>
                <a:effectLst/>
                <a:uLnTx/>
                <a:uFillTx/>
                <a:latin typeface="Calibri"/>
                <a:ea typeface="+mj-ea"/>
                <a:cs typeface="Calibri"/>
              </a:rPr>
              <a:t>Obtain your Continuing Education Hours:</a:t>
            </a:r>
          </a:p>
        </p:txBody>
      </p:sp>
      <p:sp>
        <p:nvSpPr>
          <p:cNvPr id="5" name="Right Arrow 4"/>
          <p:cNvSpPr/>
          <p:nvPr/>
        </p:nvSpPr>
        <p:spPr>
          <a:xfrm rot="2040000">
            <a:off x="4069786" y="1950248"/>
            <a:ext cx="2398573" cy="1146003"/>
          </a:xfrm>
          <a:prstGeom prst="rightArrow">
            <a:avLst>
              <a:gd name="adj1" fmla="val 24790"/>
              <a:gd name="adj2" fmla="val 56723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C736DC3-AC0A-045A-3C2F-AED5F8C522B9}"/>
              </a:ext>
            </a:extLst>
          </p:cNvPr>
          <p:cNvSpPr txBox="1"/>
          <p:nvPr/>
        </p:nvSpPr>
        <p:spPr>
          <a:xfrm>
            <a:off x="6577089" y="2124900"/>
            <a:ext cx="5491779" cy="247760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5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Must stay to the end of the event.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5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QR codes to be distributed during wrap-up session at 3:45-4:00pm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5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Calibri"/>
                <a:ea typeface="+mn-ea"/>
                <a:cs typeface="Arial"/>
              </a:rPr>
              <a:t>Must complete evaluation online to receive your credits. </a:t>
            </a:r>
            <a:endParaRPr kumimoji="0" lang="en-US" sz="2800" b="0" i="0" u="none" strike="noStrike" kern="1200" cap="none" spc="0" normalizeH="0" baseline="0" noProof="0">
              <a:ln>
                <a:noFill/>
              </a:ln>
              <a:solidFill>
                <a:srgbClr val="444C55"/>
              </a:solidFill>
              <a:effectLst/>
              <a:uLnTx/>
              <a:uFillTx/>
              <a:latin typeface="Calibri"/>
              <a:ea typeface="Calibri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892911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44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2" name="Google Shape;4402;p451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03" name="Google Shape;4403;p451"/>
          <p:cNvSpPr/>
          <p:nvPr/>
        </p:nvSpPr>
        <p:spPr>
          <a:xfrm rot="-2700000" flipH="1">
            <a:off x="-376156" y="-253670"/>
            <a:ext cx="1827638" cy="1376989"/>
          </a:xfrm>
          <a:custGeom>
            <a:avLst/>
            <a:gdLst/>
            <a:ahLst/>
            <a:cxnLst/>
            <a:rect l="l" t="t" r="r" b="b"/>
            <a:pathLst>
              <a:path w="1827638" h="1376989" extrusionOk="0">
                <a:moveTo>
                  <a:pt x="0" y="987379"/>
                </a:moveTo>
                <a:lnTo>
                  <a:pt x="987379" y="0"/>
                </a:lnTo>
                <a:lnTo>
                  <a:pt x="1827638" y="840260"/>
                </a:lnTo>
                <a:lnTo>
                  <a:pt x="1827638" y="1376989"/>
                </a:lnTo>
                <a:lnTo>
                  <a:pt x="0" y="1376989"/>
                </a:lnTo>
                <a:close/>
              </a:path>
            </a:pathLst>
          </a:custGeom>
          <a:solidFill>
            <a:schemeClr val="accent1">
              <a:alpha val="2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04" name="Google Shape;4404;p451"/>
          <p:cNvSpPr/>
          <p:nvPr/>
        </p:nvSpPr>
        <p:spPr>
          <a:xfrm rot="-2700000" flipH="1">
            <a:off x="891641" y="422146"/>
            <a:ext cx="645368" cy="645368"/>
          </a:xfrm>
          <a:prstGeom prst="rect">
            <a:avLst/>
          </a:prstGeom>
          <a:solidFill>
            <a:schemeClr val="accent1">
              <a:alpha val="2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05" name="Google Shape;4405;p451"/>
          <p:cNvSpPr/>
          <p:nvPr/>
        </p:nvSpPr>
        <p:spPr>
          <a:xfrm rot="-2700000" flipH="1">
            <a:off x="10043482" y="655140"/>
            <a:ext cx="687472" cy="687472"/>
          </a:xfrm>
          <a:prstGeom prst="rect">
            <a:avLst/>
          </a:prstGeom>
          <a:solidFill>
            <a:schemeClr val="accent4">
              <a:alpha val="2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06" name="Google Shape;4406;p451"/>
          <p:cNvSpPr/>
          <p:nvPr/>
        </p:nvSpPr>
        <p:spPr>
          <a:xfrm rot="10800000" flipH="1">
            <a:off x="9356643" y="0"/>
            <a:ext cx="2835357" cy="1480837"/>
          </a:xfrm>
          <a:custGeom>
            <a:avLst/>
            <a:gdLst/>
            <a:ahLst/>
            <a:cxnLst/>
            <a:rect l="l" t="t" r="r" b="b"/>
            <a:pathLst>
              <a:path w="2835357" h="1480837" extrusionOk="0">
                <a:moveTo>
                  <a:pt x="2835357" y="1480837"/>
                </a:moveTo>
                <a:lnTo>
                  <a:pt x="0" y="1480837"/>
                </a:lnTo>
                <a:lnTo>
                  <a:pt x="1552727" y="0"/>
                </a:lnTo>
                <a:lnTo>
                  <a:pt x="2835357" y="1223245"/>
                </a:lnTo>
                <a:close/>
              </a:path>
            </a:pathLst>
          </a:custGeom>
          <a:solidFill>
            <a:schemeClr val="accent4">
              <a:alpha val="2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07" name="Google Shape;4407;p451"/>
          <p:cNvSpPr/>
          <p:nvPr/>
        </p:nvSpPr>
        <p:spPr>
          <a:xfrm flipH="1">
            <a:off x="7976344" y="6115501"/>
            <a:ext cx="1494513" cy="742499"/>
          </a:xfrm>
          <a:prstGeom prst="triangle">
            <a:avLst>
              <a:gd name="adj" fmla="val 50000"/>
            </a:avLst>
          </a:prstGeom>
          <a:solidFill>
            <a:schemeClr val="accent1">
              <a:alpha val="2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08" name="Google Shape;4408;p451"/>
          <p:cNvSpPr/>
          <p:nvPr/>
        </p:nvSpPr>
        <p:spPr>
          <a:xfrm flipH="1">
            <a:off x="7604080" y="6453143"/>
            <a:ext cx="814903" cy="404857"/>
          </a:xfrm>
          <a:prstGeom prst="triangle">
            <a:avLst>
              <a:gd name="adj" fmla="val 50000"/>
            </a:avLst>
          </a:prstGeom>
          <a:solidFill>
            <a:schemeClr val="accent1">
              <a:alpha val="2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09" name="Google Shape;4409;p451"/>
          <p:cNvSpPr txBox="1">
            <a:spLocks noGrp="1"/>
          </p:cNvSpPr>
          <p:nvPr>
            <p:ph type="title"/>
          </p:nvPr>
        </p:nvSpPr>
        <p:spPr>
          <a:xfrm>
            <a:off x="397499" y="15593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OUD Helpline Communication Campaign</a:t>
            </a:r>
            <a:br>
              <a:rPr lang="en-US"/>
            </a:br>
            <a:r>
              <a:rPr lang="en-US"/>
              <a:t>for OB &amp; ED Units</a:t>
            </a:r>
            <a:endParaRPr/>
          </a:p>
        </p:txBody>
      </p:sp>
      <p:pic>
        <p:nvPicPr>
          <p:cNvPr id="4410" name="Google Shape;4410;p451" descr="A picture containing graphical user interface&#10;&#10;Description automatically generated"/>
          <p:cNvPicPr preferRelativeResize="0"/>
          <p:nvPr/>
        </p:nvPicPr>
        <p:blipFill rotWithShape="1">
          <a:blip r:embed="rId3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04603" y="2040906"/>
            <a:ext cx="5009181" cy="2996463"/>
          </a:xfrm>
          <a:prstGeom prst="rect">
            <a:avLst/>
          </a:prstGeom>
          <a:noFill/>
          <a:ln>
            <a:noFill/>
          </a:ln>
        </p:spPr>
      </p:pic>
      <p:pic>
        <p:nvPicPr>
          <p:cNvPr id="4411" name="Google Shape;4411;p451" descr="Graphical user interface, text, application&#10;&#10;Description automatically generated"/>
          <p:cNvPicPr preferRelativeResize="0"/>
          <p:nvPr/>
        </p:nvPicPr>
        <p:blipFill rotWithShape="1">
          <a:blip r:embed="rId4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67741" y="2047454"/>
            <a:ext cx="2939289" cy="4690167"/>
          </a:xfrm>
          <a:prstGeom prst="rect">
            <a:avLst/>
          </a:prstGeom>
          <a:noFill/>
          <a:ln>
            <a:noFill/>
          </a:ln>
        </p:spPr>
      </p:pic>
      <p:pic>
        <p:nvPicPr>
          <p:cNvPr id="4412" name="Google Shape;4412;p451"/>
          <p:cNvPicPr preferRelativeResize="0"/>
          <p:nvPr/>
        </p:nvPicPr>
        <p:blipFill rotWithShape="1">
          <a:blip r:embed="rId5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5709" y="2055352"/>
            <a:ext cx="3401756" cy="3569354"/>
          </a:xfrm>
          <a:prstGeom prst="rect">
            <a:avLst/>
          </a:prstGeom>
          <a:noFill/>
          <a:ln>
            <a:noFill/>
          </a:ln>
        </p:spPr>
      </p:pic>
      <p:sp>
        <p:nvSpPr>
          <p:cNvPr id="4413" name="Google Shape;4413;p451"/>
          <p:cNvSpPr txBox="1"/>
          <p:nvPr/>
        </p:nvSpPr>
        <p:spPr>
          <a:xfrm>
            <a:off x="7813026" y="1669965"/>
            <a:ext cx="3851498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Provider poster for OB &amp; ED Units</a:t>
            </a:r>
            <a:endParaRPr lang="en-US" b="1">
              <a:solidFill>
                <a:schemeClr val="dk1"/>
              </a:solidFill>
            </a:endParaRPr>
          </a:p>
        </p:txBody>
      </p:sp>
      <p:sp>
        <p:nvSpPr>
          <p:cNvPr id="4414" name="Google Shape;4414;p451"/>
          <p:cNvSpPr txBox="1"/>
          <p:nvPr/>
        </p:nvSpPr>
        <p:spPr>
          <a:xfrm>
            <a:off x="3650459" y="1679064"/>
            <a:ext cx="334021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allet Card for OB &amp; ED Patients</a:t>
            </a:r>
            <a:endParaRPr lang="en-US" b="1">
              <a:solidFill>
                <a:schemeClr val="dk1"/>
              </a:solidFill>
            </a:endParaRPr>
          </a:p>
        </p:txBody>
      </p:sp>
      <p:sp>
        <p:nvSpPr>
          <p:cNvPr id="4415" name="Google Shape;4415;p451"/>
          <p:cNvSpPr txBox="1"/>
          <p:nvPr/>
        </p:nvSpPr>
        <p:spPr>
          <a:xfrm>
            <a:off x="533869" y="1675391"/>
            <a:ext cx="3005757" cy="3692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Magnet for OB &amp; ED Units</a:t>
            </a:r>
            <a:endParaRPr b="1">
              <a:solidFill>
                <a:schemeClr val="dk1"/>
              </a:solidFill>
            </a:endParaRPr>
          </a:p>
        </p:txBody>
      </p:sp>
      <p:sp>
        <p:nvSpPr>
          <p:cNvPr id="4416" name="Google Shape;4416;p451"/>
          <p:cNvSpPr txBox="1"/>
          <p:nvPr/>
        </p:nvSpPr>
        <p:spPr>
          <a:xfrm>
            <a:off x="9045222" y="5534741"/>
            <a:ext cx="1733390" cy="12003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Order FREE materials here --&gt;  </a:t>
            </a:r>
            <a:endParaRPr sz="2400" b="1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417" name="Google Shape;4417;p451" descr="Qr code&#10;&#10;Description automatically generated"/>
          <p:cNvPicPr preferRelativeResize="0"/>
          <p:nvPr/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78067" y="5210916"/>
            <a:ext cx="1205089" cy="151616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6470769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EC96F0-5418-05A4-EA90-6C3CEDB0980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solidFill>
                  <a:schemeClr val="accent1"/>
                </a:solidFill>
              </a:rPr>
              <a:t>Coming in 2025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510454D-A677-90CD-B730-BF9F204F71B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A29A62C5-8C42-D9D4-CCF1-6D249CFEC5E8}"/>
              </a:ext>
            </a:extLst>
          </p:cNvPr>
          <p:cNvSpPr>
            <a:spLocks noGrp="1"/>
          </p:cNvSpPr>
          <p:nvPr>
            <p:ph type="pic" idx="2"/>
          </p:nvPr>
        </p:nvSpPr>
        <p:spPr/>
      </p:sp>
    </p:spTree>
    <p:extLst>
      <p:ext uri="{BB962C8B-B14F-4D97-AF65-F5344CB8AC3E}">
        <p14:creationId xmlns:p14="http://schemas.microsoft.com/office/powerpoint/2010/main" val="503611219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17">
            <a:extLst>
              <a:ext uri="{FF2B5EF4-FFF2-40B4-BE49-F238E27FC236}">
                <a16:creationId xmlns:a16="http://schemas.microsoft.com/office/drawing/2014/main" id="{657F69E0-C4B0-4BEC-A689-4F8D877F05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6" descr="Colleagues huddle">
            <a:extLst>
              <a:ext uri="{FF2B5EF4-FFF2-40B4-BE49-F238E27FC236}">
                <a16:creationId xmlns:a16="http://schemas.microsoft.com/office/drawing/2014/main" id="{918A0054-D0F6-439D-8824-CADD3C1651E3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3" cstate="email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"/>
          <a:stretch/>
        </p:blipFill>
        <p:spPr>
          <a:xfrm>
            <a:off x="-71867" y="10"/>
            <a:ext cx="12188930" cy="6857990"/>
          </a:xfrm>
          <a:prstGeom prst="rect">
            <a:avLst/>
          </a:prstGeom>
        </p:spPr>
      </p:pic>
      <p:sp>
        <p:nvSpPr>
          <p:cNvPr id="26" name="sketchy line">
            <a:extLst>
              <a:ext uri="{FF2B5EF4-FFF2-40B4-BE49-F238E27FC236}">
                <a16:creationId xmlns:a16="http://schemas.microsoft.com/office/drawing/2014/main" id="{9F6380B4-6A1C-481E-8408-B4E6C75B9B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974206" y="4368623"/>
            <a:ext cx="4243589" cy="18288"/>
          </a:xfrm>
          <a:custGeom>
            <a:avLst/>
            <a:gdLst>
              <a:gd name="connsiteX0" fmla="*/ 0 w 4243589"/>
              <a:gd name="connsiteY0" fmla="*/ 0 h 18288"/>
              <a:gd name="connsiteX1" fmla="*/ 478919 w 4243589"/>
              <a:gd name="connsiteY1" fmla="*/ 0 h 18288"/>
              <a:gd name="connsiteX2" fmla="*/ 957839 w 4243589"/>
              <a:gd name="connsiteY2" fmla="*/ 0 h 18288"/>
              <a:gd name="connsiteX3" fmla="*/ 1521630 w 4243589"/>
              <a:gd name="connsiteY3" fmla="*/ 0 h 18288"/>
              <a:gd name="connsiteX4" fmla="*/ 2212729 w 4243589"/>
              <a:gd name="connsiteY4" fmla="*/ 0 h 18288"/>
              <a:gd name="connsiteX5" fmla="*/ 2734084 w 4243589"/>
              <a:gd name="connsiteY5" fmla="*/ 0 h 18288"/>
              <a:gd name="connsiteX6" fmla="*/ 3255439 w 4243589"/>
              <a:gd name="connsiteY6" fmla="*/ 0 h 18288"/>
              <a:gd name="connsiteX7" fmla="*/ 4243589 w 4243589"/>
              <a:gd name="connsiteY7" fmla="*/ 0 h 18288"/>
              <a:gd name="connsiteX8" fmla="*/ 4243589 w 4243589"/>
              <a:gd name="connsiteY8" fmla="*/ 18288 h 18288"/>
              <a:gd name="connsiteX9" fmla="*/ 3594926 w 4243589"/>
              <a:gd name="connsiteY9" fmla="*/ 18288 h 18288"/>
              <a:gd name="connsiteX10" fmla="*/ 3073571 w 4243589"/>
              <a:gd name="connsiteY10" fmla="*/ 18288 h 18288"/>
              <a:gd name="connsiteX11" fmla="*/ 2552216 w 4243589"/>
              <a:gd name="connsiteY11" fmla="*/ 18288 h 18288"/>
              <a:gd name="connsiteX12" fmla="*/ 1903553 w 4243589"/>
              <a:gd name="connsiteY12" fmla="*/ 18288 h 18288"/>
              <a:gd name="connsiteX13" fmla="*/ 1212454 w 4243589"/>
              <a:gd name="connsiteY13" fmla="*/ 18288 h 18288"/>
              <a:gd name="connsiteX14" fmla="*/ 733535 w 4243589"/>
              <a:gd name="connsiteY14" fmla="*/ 18288 h 18288"/>
              <a:gd name="connsiteX15" fmla="*/ 0 w 4243589"/>
              <a:gd name="connsiteY15" fmla="*/ 18288 h 18288"/>
              <a:gd name="connsiteX16" fmla="*/ 0 w 4243589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243589" h="18288" fill="none" extrusionOk="0">
                <a:moveTo>
                  <a:pt x="0" y="0"/>
                </a:moveTo>
                <a:cubicBezTo>
                  <a:pt x="213395" y="-21006"/>
                  <a:pt x="307421" y="-18116"/>
                  <a:pt x="478919" y="0"/>
                </a:cubicBezTo>
                <a:cubicBezTo>
                  <a:pt x="650417" y="18116"/>
                  <a:pt x="831092" y="-21237"/>
                  <a:pt x="957839" y="0"/>
                </a:cubicBezTo>
                <a:cubicBezTo>
                  <a:pt x="1084586" y="21237"/>
                  <a:pt x="1301682" y="25124"/>
                  <a:pt x="1521630" y="0"/>
                </a:cubicBezTo>
                <a:cubicBezTo>
                  <a:pt x="1741578" y="-25124"/>
                  <a:pt x="1970269" y="-29139"/>
                  <a:pt x="2212729" y="0"/>
                </a:cubicBezTo>
                <a:cubicBezTo>
                  <a:pt x="2455189" y="29139"/>
                  <a:pt x="2558847" y="-4796"/>
                  <a:pt x="2734084" y="0"/>
                </a:cubicBezTo>
                <a:cubicBezTo>
                  <a:pt x="2909321" y="4796"/>
                  <a:pt x="3097217" y="-13409"/>
                  <a:pt x="3255439" y="0"/>
                </a:cubicBezTo>
                <a:cubicBezTo>
                  <a:pt x="3413662" y="13409"/>
                  <a:pt x="3979999" y="-10121"/>
                  <a:pt x="4243589" y="0"/>
                </a:cubicBezTo>
                <a:cubicBezTo>
                  <a:pt x="4244484" y="8974"/>
                  <a:pt x="4243043" y="9359"/>
                  <a:pt x="4243589" y="18288"/>
                </a:cubicBezTo>
                <a:cubicBezTo>
                  <a:pt x="4058777" y="31246"/>
                  <a:pt x="3910348" y="3158"/>
                  <a:pt x="3594926" y="18288"/>
                </a:cubicBezTo>
                <a:cubicBezTo>
                  <a:pt x="3279504" y="33418"/>
                  <a:pt x="3319955" y="-3977"/>
                  <a:pt x="3073571" y="18288"/>
                </a:cubicBezTo>
                <a:cubicBezTo>
                  <a:pt x="2827187" y="40553"/>
                  <a:pt x="2767387" y="1863"/>
                  <a:pt x="2552216" y="18288"/>
                </a:cubicBezTo>
                <a:cubicBezTo>
                  <a:pt x="2337046" y="34713"/>
                  <a:pt x="2181871" y="19527"/>
                  <a:pt x="1903553" y="18288"/>
                </a:cubicBezTo>
                <a:cubicBezTo>
                  <a:pt x="1625235" y="17049"/>
                  <a:pt x="1557672" y="24174"/>
                  <a:pt x="1212454" y="18288"/>
                </a:cubicBezTo>
                <a:cubicBezTo>
                  <a:pt x="867236" y="12402"/>
                  <a:pt x="874382" y="15627"/>
                  <a:pt x="733535" y="18288"/>
                </a:cubicBezTo>
                <a:cubicBezTo>
                  <a:pt x="592688" y="20949"/>
                  <a:pt x="183477" y="14753"/>
                  <a:pt x="0" y="18288"/>
                </a:cubicBezTo>
                <a:cubicBezTo>
                  <a:pt x="-229" y="14222"/>
                  <a:pt x="509" y="5816"/>
                  <a:pt x="0" y="0"/>
                </a:cubicBezTo>
                <a:close/>
              </a:path>
              <a:path w="4243589" h="18288" stroke="0" extrusionOk="0">
                <a:moveTo>
                  <a:pt x="0" y="0"/>
                </a:moveTo>
                <a:cubicBezTo>
                  <a:pt x="143690" y="16630"/>
                  <a:pt x="266667" y="14847"/>
                  <a:pt x="521355" y="0"/>
                </a:cubicBezTo>
                <a:cubicBezTo>
                  <a:pt x="776043" y="-14847"/>
                  <a:pt x="814491" y="-17363"/>
                  <a:pt x="1000275" y="0"/>
                </a:cubicBezTo>
                <a:cubicBezTo>
                  <a:pt x="1186059" y="17363"/>
                  <a:pt x="1352504" y="-23507"/>
                  <a:pt x="1521630" y="0"/>
                </a:cubicBezTo>
                <a:cubicBezTo>
                  <a:pt x="1690756" y="23507"/>
                  <a:pt x="1889525" y="5871"/>
                  <a:pt x="2127857" y="0"/>
                </a:cubicBezTo>
                <a:cubicBezTo>
                  <a:pt x="2366189" y="-5871"/>
                  <a:pt x="2620628" y="-27997"/>
                  <a:pt x="2776520" y="0"/>
                </a:cubicBezTo>
                <a:cubicBezTo>
                  <a:pt x="2932412" y="27997"/>
                  <a:pt x="3131683" y="-25073"/>
                  <a:pt x="3467618" y="0"/>
                </a:cubicBezTo>
                <a:cubicBezTo>
                  <a:pt x="3803553" y="25073"/>
                  <a:pt x="4017371" y="3071"/>
                  <a:pt x="4243589" y="0"/>
                </a:cubicBezTo>
                <a:cubicBezTo>
                  <a:pt x="4243134" y="6162"/>
                  <a:pt x="4243492" y="11775"/>
                  <a:pt x="4243589" y="18288"/>
                </a:cubicBezTo>
                <a:cubicBezTo>
                  <a:pt x="4017834" y="-5779"/>
                  <a:pt x="3834586" y="13376"/>
                  <a:pt x="3594926" y="18288"/>
                </a:cubicBezTo>
                <a:cubicBezTo>
                  <a:pt x="3355266" y="23200"/>
                  <a:pt x="3204179" y="2869"/>
                  <a:pt x="2903827" y="18288"/>
                </a:cubicBezTo>
                <a:cubicBezTo>
                  <a:pt x="2603475" y="33707"/>
                  <a:pt x="2526187" y="46187"/>
                  <a:pt x="2212729" y="18288"/>
                </a:cubicBezTo>
                <a:cubicBezTo>
                  <a:pt x="1899271" y="-9611"/>
                  <a:pt x="1966289" y="29692"/>
                  <a:pt x="1733809" y="18288"/>
                </a:cubicBezTo>
                <a:cubicBezTo>
                  <a:pt x="1501329" y="6884"/>
                  <a:pt x="1343612" y="12492"/>
                  <a:pt x="1085146" y="18288"/>
                </a:cubicBezTo>
                <a:cubicBezTo>
                  <a:pt x="826680" y="24084"/>
                  <a:pt x="778184" y="35607"/>
                  <a:pt x="521355" y="18288"/>
                </a:cubicBezTo>
                <a:cubicBezTo>
                  <a:pt x="264526" y="969"/>
                  <a:pt x="120277" y="4268"/>
                  <a:pt x="0" y="18288"/>
                </a:cubicBezTo>
                <a:cubicBezTo>
                  <a:pt x="766" y="10800"/>
                  <a:pt x="-457" y="8180"/>
                  <a:pt x="0" y="0"/>
                </a:cubicBezTo>
                <a:close/>
              </a:path>
            </a:pathLst>
          </a:custGeom>
          <a:solidFill>
            <a:srgbClr val="FFFFFF">
              <a:alpha val="75000"/>
            </a:srgbClr>
          </a:solidFill>
          <a:ln w="44450" cap="rnd">
            <a:solidFill>
              <a:srgbClr val="FFFFFF">
                <a:alpha val="75000"/>
              </a:srgbClr>
            </a:solidFill>
            <a:round/>
            <a:extLst>
              <a:ext uri="{C807C97D-BFC1-408E-A445-0C87EB9F89A2}">
                <ask:lineSketchStyleProps xmlns:ask="http://schemas.microsoft.com/office/drawing/2018/sketchyshapes" sd="2727557108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2FF6D12-A2C7-4E55-9AC4-0E8DC6641E20}"/>
              </a:ext>
            </a:extLst>
          </p:cNvPr>
          <p:cNvSpPr txBox="1"/>
          <p:nvPr/>
        </p:nvSpPr>
        <p:spPr>
          <a:xfrm>
            <a:off x="969485" y="1356384"/>
            <a:ext cx="11222516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b="1" dirty="0"/>
              <a:t>In response to IL MMRC findings and recommendation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b="1" dirty="0"/>
              <a:t>Developing in partnership with:</a:t>
            </a:r>
          </a:p>
          <a:p>
            <a:r>
              <a:rPr lang="en-US" sz="2000" dirty="0"/>
              <a:t>	</a:t>
            </a:r>
            <a:r>
              <a:rPr lang="en-US" sz="3200" dirty="0"/>
              <a:t>Community stakeholder groups</a:t>
            </a:r>
          </a:p>
          <a:p>
            <a:r>
              <a:rPr lang="en-US" sz="3200" dirty="0"/>
              <a:t>	Patients with lived experience</a:t>
            </a:r>
          </a:p>
          <a:p>
            <a:r>
              <a:rPr lang="en-US" sz="3200" dirty="0"/>
              <a:t>	Clinical exper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200" b="1" dirty="0"/>
              <a:t>Informed by national guidelines and other state PQCs:</a:t>
            </a:r>
            <a:r>
              <a:rPr lang="en-US" sz="3200" dirty="0"/>
              <a:t> </a:t>
            </a:r>
          </a:p>
          <a:p>
            <a:r>
              <a:rPr lang="en-US" sz="3200" dirty="0"/>
              <a:t>	AIM Perinatal Mental Health Bundle</a:t>
            </a:r>
          </a:p>
          <a:p>
            <a:r>
              <a:rPr lang="en-US" sz="3200" dirty="0"/>
              <a:t>	ACOG Clinical Guidelines</a:t>
            </a:r>
          </a:p>
          <a:p>
            <a:r>
              <a:rPr lang="en-US" sz="3200" dirty="0"/>
              <a:t>	Maternal Mental Health Leadership Alliance</a:t>
            </a:r>
          </a:p>
          <a:p>
            <a:r>
              <a:rPr lang="en-US" sz="3200" dirty="0"/>
              <a:t>	Policy Center for Maternal Mental Health</a:t>
            </a:r>
          </a:p>
          <a:p>
            <a:endParaRPr lang="en-US" sz="3200" dirty="0"/>
          </a:p>
          <a:p>
            <a:endParaRPr lang="en-US" sz="3200" dirty="0"/>
          </a:p>
          <a:p>
            <a:r>
              <a:rPr lang="en-US" sz="3200" dirty="0"/>
              <a:t>	</a:t>
            </a:r>
          </a:p>
        </p:txBody>
      </p:sp>
      <p:sp>
        <p:nvSpPr>
          <p:cNvPr id="12" name="TextBox 44">
            <a:extLst>
              <a:ext uri="{FF2B5EF4-FFF2-40B4-BE49-F238E27FC236}">
                <a16:creationId xmlns:a16="http://schemas.microsoft.com/office/drawing/2014/main" id="{4F6AB26F-B8B9-4E74-B7A5-2E733F0942B8}"/>
              </a:ext>
            </a:extLst>
          </p:cNvPr>
          <p:cNvSpPr txBox="1"/>
          <p:nvPr/>
        </p:nvSpPr>
        <p:spPr>
          <a:xfrm>
            <a:off x="369569" y="744208"/>
            <a:ext cx="8897261" cy="35843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566"/>
              </a:lnSpc>
            </a:pPr>
            <a:r>
              <a:rPr lang="en-US" sz="3200" b="1" dirty="0">
                <a:latin typeface="Calibri"/>
                <a:ea typeface="Calibri"/>
                <a:cs typeface="Calibri"/>
              </a:rPr>
              <a:t>The ILPQC</a:t>
            </a:r>
            <a:r>
              <a:rPr lang="en-US" sz="3200" dirty="0">
                <a:latin typeface="Calibri"/>
                <a:ea typeface="Calibri"/>
                <a:cs typeface="Calibri"/>
              </a:rPr>
              <a:t> </a:t>
            </a:r>
            <a:r>
              <a:rPr lang="en-US" sz="3200" b="1" dirty="0">
                <a:latin typeface="Calibri"/>
                <a:ea typeface="Calibri"/>
                <a:cs typeface="Calibri"/>
              </a:rPr>
              <a:t>Perinatal Mental Health (PMH) Initiative</a:t>
            </a:r>
            <a:r>
              <a:rPr lang="en-US" sz="2800" dirty="0">
                <a:latin typeface="Calibri"/>
                <a:ea typeface="Calibri"/>
                <a:cs typeface="Calibri"/>
              </a:rPr>
              <a:t> </a:t>
            </a:r>
            <a:r>
              <a:rPr lang="en-US" sz="280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 </a:t>
            </a:r>
          </a:p>
        </p:txBody>
      </p:sp>
      <p:sp>
        <p:nvSpPr>
          <p:cNvPr id="13" name="TextBox 44">
            <a:extLst>
              <a:ext uri="{FF2B5EF4-FFF2-40B4-BE49-F238E27FC236}">
                <a16:creationId xmlns:a16="http://schemas.microsoft.com/office/drawing/2014/main" id="{74EFC901-C46E-4BB3-ACF8-F3F4D85855CA}"/>
              </a:ext>
            </a:extLst>
          </p:cNvPr>
          <p:cNvSpPr txBox="1"/>
          <p:nvPr/>
        </p:nvSpPr>
        <p:spPr>
          <a:xfrm>
            <a:off x="377966" y="262860"/>
            <a:ext cx="7642429" cy="35843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566"/>
              </a:lnSpc>
            </a:pPr>
            <a:r>
              <a:rPr lang="en-US" sz="3200" b="1" dirty="0">
                <a:latin typeface="Calibri"/>
                <a:ea typeface="Calibri"/>
                <a:cs typeface="Calibri"/>
              </a:rPr>
              <a:t>Coming in 2025...</a:t>
            </a:r>
          </a:p>
        </p:txBody>
      </p:sp>
    </p:spTree>
    <p:extLst>
      <p:ext uri="{BB962C8B-B14F-4D97-AF65-F5344CB8AC3E}">
        <p14:creationId xmlns:p14="http://schemas.microsoft.com/office/powerpoint/2010/main" val="31781018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extBox 44">
            <a:extLst>
              <a:ext uri="{FF2B5EF4-FFF2-40B4-BE49-F238E27FC236}">
                <a16:creationId xmlns:a16="http://schemas.microsoft.com/office/drawing/2014/main" id="{B185EF46-5307-BF50-3D5D-4A5EC801FCF0}"/>
              </a:ext>
            </a:extLst>
          </p:cNvPr>
          <p:cNvSpPr txBox="1"/>
          <p:nvPr/>
        </p:nvSpPr>
        <p:spPr>
          <a:xfrm>
            <a:off x="369570" y="744208"/>
            <a:ext cx="7968414" cy="34483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566"/>
              </a:lnSpc>
            </a:pPr>
            <a:r>
              <a:rPr lang="en-US" sz="2800" b="1">
                <a:solidFill>
                  <a:srgbClr val="1B3864"/>
                </a:solidFill>
                <a:latin typeface="Calibri"/>
                <a:ea typeface="Calibri"/>
                <a:cs typeface="Calibri"/>
              </a:rPr>
              <a:t>The ILPQC</a:t>
            </a:r>
            <a:r>
              <a:rPr lang="en-US" sz="28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 </a:t>
            </a:r>
            <a:r>
              <a:rPr lang="en-US" sz="2800" b="1">
                <a:solidFill>
                  <a:srgbClr val="1B3864"/>
                </a:solidFill>
                <a:latin typeface="Calibri"/>
                <a:ea typeface="Calibri"/>
                <a:cs typeface="Calibri"/>
              </a:rPr>
              <a:t>Perinatal Mental Health (PMH) Initiative</a:t>
            </a:r>
            <a:r>
              <a:rPr lang="en-US" sz="280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  </a:t>
            </a:r>
          </a:p>
        </p:txBody>
      </p:sp>
      <p:sp>
        <p:nvSpPr>
          <p:cNvPr id="58" name="TextBox 44">
            <a:extLst>
              <a:ext uri="{FF2B5EF4-FFF2-40B4-BE49-F238E27FC236}">
                <a16:creationId xmlns:a16="http://schemas.microsoft.com/office/drawing/2014/main" id="{7231DE4E-59EC-BC24-4107-33EBBDBFD487}"/>
              </a:ext>
            </a:extLst>
          </p:cNvPr>
          <p:cNvSpPr txBox="1"/>
          <p:nvPr/>
        </p:nvSpPr>
        <p:spPr>
          <a:xfrm>
            <a:off x="377966" y="262860"/>
            <a:ext cx="7642429" cy="3493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566"/>
              </a:lnSpc>
            </a:pPr>
            <a:r>
              <a:rPr lang="en-US" sz="2933" b="1">
                <a:solidFill>
                  <a:srgbClr val="1F497D"/>
                </a:solidFill>
                <a:latin typeface="Calibri"/>
                <a:ea typeface="Calibri"/>
                <a:cs typeface="Calibri"/>
              </a:rPr>
              <a:t>Coming in 2025...</a:t>
            </a:r>
          </a:p>
        </p:txBody>
      </p:sp>
      <p:grpSp>
        <p:nvGrpSpPr>
          <p:cNvPr id="35" name="Group 2">
            <a:extLst>
              <a:ext uri="{FF2B5EF4-FFF2-40B4-BE49-F238E27FC236}">
                <a16:creationId xmlns:a16="http://schemas.microsoft.com/office/drawing/2014/main" id="{02C8EF6C-768D-798A-B638-5CA1F2818991}"/>
              </a:ext>
            </a:extLst>
          </p:cNvPr>
          <p:cNvGrpSpPr>
            <a:grpSpLocks noChangeAspect="1"/>
          </p:cNvGrpSpPr>
          <p:nvPr/>
        </p:nvGrpSpPr>
        <p:grpSpPr>
          <a:xfrm>
            <a:off x="4394481" y="1479685"/>
            <a:ext cx="1261313" cy="1467710"/>
            <a:chOff x="0" y="0"/>
            <a:chExt cx="698500" cy="812800"/>
          </a:xfrm>
        </p:grpSpPr>
        <p:sp>
          <p:nvSpPr>
            <p:cNvPr id="31" name="Freeform 3">
              <a:extLst>
                <a:ext uri="{FF2B5EF4-FFF2-40B4-BE49-F238E27FC236}">
                  <a16:creationId xmlns:a16="http://schemas.microsoft.com/office/drawing/2014/main" id="{156DFA7D-4716-98B1-727D-DC448F3F928E}"/>
                </a:ext>
              </a:extLst>
            </p:cNvPr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F2886E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33" name="TextBox 4">
              <a:extLst>
                <a:ext uri="{FF2B5EF4-FFF2-40B4-BE49-F238E27FC236}">
                  <a16:creationId xmlns:a16="http://schemas.microsoft.com/office/drawing/2014/main" id="{07047AFE-6B38-CA88-159A-21C4B6D603BD}"/>
                </a:ext>
              </a:extLst>
            </p:cNvPr>
            <p:cNvSpPr txBox="1"/>
            <p:nvPr/>
          </p:nvSpPr>
          <p:spPr>
            <a:xfrm>
              <a:off x="0" y="92075"/>
              <a:ext cx="698500" cy="581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endParaRPr sz="1200"/>
            </a:p>
          </p:txBody>
        </p:sp>
      </p:grpSp>
      <p:grpSp>
        <p:nvGrpSpPr>
          <p:cNvPr id="43" name="Group 5">
            <a:extLst>
              <a:ext uri="{FF2B5EF4-FFF2-40B4-BE49-F238E27FC236}">
                <a16:creationId xmlns:a16="http://schemas.microsoft.com/office/drawing/2014/main" id="{63B0B83D-BED9-88D5-41B4-1E3304A8B71B}"/>
              </a:ext>
            </a:extLst>
          </p:cNvPr>
          <p:cNvGrpSpPr>
            <a:grpSpLocks noChangeAspect="1"/>
          </p:cNvGrpSpPr>
          <p:nvPr/>
        </p:nvGrpSpPr>
        <p:grpSpPr>
          <a:xfrm>
            <a:off x="3607112" y="2925587"/>
            <a:ext cx="1265158" cy="1472184"/>
            <a:chOff x="0" y="0"/>
            <a:chExt cx="698500" cy="812800"/>
          </a:xfrm>
        </p:grpSpPr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A6832850-B489-D5C5-2593-00D79AA2580B}"/>
                </a:ext>
              </a:extLst>
            </p:cNvPr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BBC3DA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41" name="TextBox 7">
              <a:extLst>
                <a:ext uri="{FF2B5EF4-FFF2-40B4-BE49-F238E27FC236}">
                  <a16:creationId xmlns:a16="http://schemas.microsoft.com/office/drawing/2014/main" id="{4DFAAAE5-8375-7227-929C-5361D0AF7EBD}"/>
                </a:ext>
              </a:extLst>
            </p:cNvPr>
            <p:cNvSpPr txBox="1"/>
            <p:nvPr/>
          </p:nvSpPr>
          <p:spPr>
            <a:xfrm>
              <a:off x="0" y="92075"/>
              <a:ext cx="698500" cy="581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endParaRPr sz="1200"/>
            </a:p>
          </p:txBody>
        </p:sp>
      </p:grpSp>
      <p:grpSp>
        <p:nvGrpSpPr>
          <p:cNvPr id="51" name="Group 8">
            <a:extLst>
              <a:ext uri="{FF2B5EF4-FFF2-40B4-BE49-F238E27FC236}">
                <a16:creationId xmlns:a16="http://schemas.microsoft.com/office/drawing/2014/main" id="{F87B02FA-B774-BD2A-0F1A-FAFAADAB2861}"/>
              </a:ext>
            </a:extLst>
          </p:cNvPr>
          <p:cNvGrpSpPr>
            <a:grpSpLocks noChangeAspect="1"/>
          </p:cNvGrpSpPr>
          <p:nvPr/>
        </p:nvGrpSpPr>
        <p:grpSpPr>
          <a:xfrm>
            <a:off x="4358094" y="4349546"/>
            <a:ext cx="1261872" cy="1472184"/>
            <a:chOff x="0" y="0"/>
            <a:chExt cx="698500" cy="812800"/>
          </a:xfrm>
        </p:grpSpPr>
        <p:sp>
          <p:nvSpPr>
            <p:cNvPr id="47" name="Freeform 9">
              <a:extLst>
                <a:ext uri="{FF2B5EF4-FFF2-40B4-BE49-F238E27FC236}">
                  <a16:creationId xmlns:a16="http://schemas.microsoft.com/office/drawing/2014/main" id="{E926A17B-4BFB-CC81-26EF-5DA1B9A8473F}"/>
                </a:ext>
              </a:extLst>
            </p:cNvPr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1B3864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49" name="TextBox 10">
              <a:extLst>
                <a:ext uri="{FF2B5EF4-FFF2-40B4-BE49-F238E27FC236}">
                  <a16:creationId xmlns:a16="http://schemas.microsoft.com/office/drawing/2014/main" id="{9D7B8F4D-AEF2-6A5B-FCC9-8144F447F3A4}"/>
                </a:ext>
              </a:extLst>
            </p:cNvPr>
            <p:cNvSpPr txBox="1"/>
            <p:nvPr/>
          </p:nvSpPr>
          <p:spPr>
            <a:xfrm>
              <a:off x="0" y="92075"/>
              <a:ext cx="698500" cy="581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endParaRPr sz="1200"/>
            </a:p>
          </p:txBody>
        </p:sp>
      </p:grpSp>
      <p:grpSp>
        <p:nvGrpSpPr>
          <p:cNvPr id="59" name="Group 11">
            <a:extLst>
              <a:ext uri="{FF2B5EF4-FFF2-40B4-BE49-F238E27FC236}">
                <a16:creationId xmlns:a16="http://schemas.microsoft.com/office/drawing/2014/main" id="{2640B30A-025A-D18E-8D9A-764663F76304}"/>
              </a:ext>
            </a:extLst>
          </p:cNvPr>
          <p:cNvGrpSpPr>
            <a:grpSpLocks noChangeAspect="1"/>
          </p:cNvGrpSpPr>
          <p:nvPr/>
        </p:nvGrpSpPr>
        <p:grpSpPr>
          <a:xfrm>
            <a:off x="6187821" y="1475211"/>
            <a:ext cx="1261872" cy="1472184"/>
            <a:chOff x="0" y="0"/>
            <a:chExt cx="698500" cy="812800"/>
          </a:xfrm>
        </p:grpSpPr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id="{A1DA0A7A-0B14-85B8-3708-4B2166B32836}"/>
                </a:ext>
              </a:extLst>
            </p:cNvPr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FCD70E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57" name="TextBox 13">
              <a:extLst>
                <a:ext uri="{FF2B5EF4-FFF2-40B4-BE49-F238E27FC236}">
                  <a16:creationId xmlns:a16="http://schemas.microsoft.com/office/drawing/2014/main" id="{D2C2EF5D-5FF3-AC4A-D74D-FC4AB5C02483}"/>
                </a:ext>
              </a:extLst>
            </p:cNvPr>
            <p:cNvSpPr txBox="1"/>
            <p:nvPr/>
          </p:nvSpPr>
          <p:spPr>
            <a:xfrm>
              <a:off x="0" y="92075"/>
              <a:ext cx="698500" cy="581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endParaRPr sz="1200"/>
            </a:p>
          </p:txBody>
        </p:sp>
      </p:grpSp>
      <p:grpSp>
        <p:nvGrpSpPr>
          <p:cNvPr id="63" name="Group 14">
            <a:extLst>
              <a:ext uri="{FF2B5EF4-FFF2-40B4-BE49-F238E27FC236}">
                <a16:creationId xmlns:a16="http://schemas.microsoft.com/office/drawing/2014/main" id="{8968AA60-459B-3C22-140C-C9775A5B04DA}"/>
              </a:ext>
            </a:extLst>
          </p:cNvPr>
          <p:cNvGrpSpPr>
            <a:grpSpLocks noChangeAspect="1"/>
          </p:cNvGrpSpPr>
          <p:nvPr/>
        </p:nvGrpSpPr>
        <p:grpSpPr>
          <a:xfrm>
            <a:off x="6956887" y="2963102"/>
            <a:ext cx="1261872" cy="1472184"/>
            <a:chOff x="0" y="0"/>
            <a:chExt cx="698500" cy="812800"/>
          </a:xfrm>
        </p:grpSpPr>
        <p:sp>
          <p:nvSpPr>
            <p:cNvPr id="61" name="Freeform 15">
              <a:extLst>
                <a:ext uri="{FF2B5EF4-FFF2-40B4-BE49-F238E27FC236}">
                  <a16:creationId xmlns:a16="http://schemas.microsoft.com/office/drawing/2014/main" id="{B5420AD9-606D-81B2-A507-5A2056A3FA84}"/>
                </a:ext>
              </a:extLst>
            </p:cNvPr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F7888A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62" name="TextBox 16">
              <a:extLst>
                <a:ext uri="{FF2B5EF4-FFF2-40B4-BE49-F238E27FC236}">
                  <a16:creationId xmlns:a16="http://schemas.microsoft.com/office/drawing/2014/main" id="{AA687A14-ED6D-106B-D452-7DAD44050863}"/>
                </a:ext>
              </a:extLst>
            </p:cNvPr>
            <p:cNvSpPr txBox="1"/>
            <p:nvPr/>
          </p:nvSpPr>
          <p:spPr>
            <a:xfrm>
              <a:off x="0" y="92075"/>
              <a:ext cx="698500" cy="581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endParaRPr sz="1200"/>
            </a:p>
          </p:txBody>
        </p:sp>
      </p:grpSp>
      <p:grpSp>
        <p:nvGrpSpPr>
          <p:cNvPr id="67" name="Group 17">
            <a:extLst>
              <a:ext uri="{FF2B5EF4-FFF2-40B4-BE49-F238E27FC236}">
                <a16:creationId xmlns:a16="http://schemas.microsoft.com/office/drawing/2014/main" id="{07643A52-7F2B-B84A-C4D8-1522D6991997}"/>
              </a:ext>
            </a:extLst>
          </p:cNvPr>
          <p:cNvGrpSpPr>
            <a:grpSpLocks noChangeAspect="1"/>
          </p:cNvGrpSpPr>
          <p:nvPr/>
        </p:nvGrpSpPr>
        <p:grpSpPr>
          <a:xfrm>
            <a:off x="5758096" y="4374023"/>
            <a:ext cx="1669942" cy="1472184"/>
            <a:chOff x="0" y="-63162"/>
            <a:chExt cx="924384" cy="812800"/>
          </a:xfrm>
        </p:grpSpPr>
        <p:sp>
          <p:nvSpPr>
            <p:cNvPr id="65" name="Freeform 18">
              <a:extLst>
                <a:ext uri="{FF2B5EF4-FFF2-40B4-BE49-F238E27FC236}">
                  <a16:creationId xmlns:a16="http://schemas.microsoft.com/office/drawing/2014/main" id="{B2B3E17A-37B4-55D2-CE4B-A4972A2CC195}"/>
                </a:ext>
              </a:extLst>
            </p:cNvPr>
            <p:cNvSpPr/>
            <p:nvPr/>
          </p:nvSpPr>
          <p:spPr>
            <a:xfrm>
              <a:off x="225884" y="-63162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AFBE4E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66" name="TextBox 19">
              <a:extLst>
                <a:ext uri="{FF2B5EF4-FFF2-40B4-BE49-F238E27FC236}">
                  <a16:creationId xmlns:a16="http://schemas.microsoft.com/office/drawing/2014/main" id="{DD6FCC49-FF07-51FC-9540-67207ACC0520}"/>
                </a:ext>
              </a:extLst>
            </p:cNvPr>
            <p:cNvSpPr txBox="1"/>
            <p:nvPr/>
          </p:nvSpPr>
          <p:spPr>
            <a:xfrm>
              <a:off x="0" y="92075"/>
              <a:ext cx="698500" cy="581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053"/>
                </a:lnSpc>
              </a:pPr>
              <a:endParaRPr sz="1200"/>
            </a:p>
          </p:txBody>
        </p:sp>
      </p:grpSp>
      <p:sp>
        <p:nvSpPr>
          <p:cNvPr id="69" name="Freeform 20">
            <a:extLst>
              <a:ext uri="{FF2B5EF4-FFF2-40B4-BE49-F238E27FC236}">
                <a16:creationId xmlns:a16="http://schemas.microsoft.com/office/drawing/2014/main" id="{57472328-CFFA-9DFA-A1DD-84EB3F25E1BC}"/>
              </a:ext>
            </a:extLst>
          </p:cNvPr>
          <p:cNvSpPr>
            <a:spLocks noChangeAspect="1"/>
          </p:cNvSpPr>
          <p:nvPr/>
        </p:nvSpPr>
        <p:spPr>
          <a:xfrm>
            <a:off x="4650126" y="1802049"/>
            <a:ext cx="752879" cy="739704"/>
          </a:xfrm>
          <a:custGeom>
            <a:avLst/>
            <a:gdLst/>
            <a:ahLst/>
            <a:cxnLst/>
            <a:rect l="l" t="t" r="r" b="b"/>
            <a:pathLst>
              <a:path w="861951" h="846867">
                <a:moveTo>
                  <a:pt x="0" y="0"/>
                </a:moveTo>
                <a:lnTo>
                  <a:pt x="861951" y="0"/>
                </a:lnTo>
                <a:lnTo>
                  <a:pt x="861951" y="846867"/>
                </a:lnTo>
                <a:lnTo>
                  <a:pt x="0" y="846867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71" name="Freeform 21">
            <a:extLst>
              <a:ext uri="{FF2B5EF4-FFF2-40B4-BE49-F238E27FC236}">
                <a16:creationId xmlns:a16="http://schemas.microsoft.com/office/drawing/2014/main" id="{876C3FDB-DF31-887A-52E8-1686F654B605}"/>
              </a:ext>
            </a:extLst>
          </p:cNvPr>
          <p:cNvSpPr>
            <a:spLocks noChangeAspect="1"/>
          </p:cNvSpPr>
          <p:nvPr/>
        </p:nvSpPr>
        <p:spPr>
          <a:xfrm>
            <a:off x="4635569" y="4622673"/>
            <a:ext cx="832781" cy="826536"/>
          </a:xfrm>
          <a:custGeom>
            <a:avLst/>
            <a:gdLst/>
            <a:ahLst/>
            <a:cxnLst/>
            <a:rect l="l" t="t" r="r" b="b"/>
            <a:pathLst>
              <a:path w="859172" h="859172">
                <a:moveTo>
                  <a:pt x="0" y="0"/>
                </a:moveTo>
                <a:lnTo>
                  <a:pt x="859172" y="0"/>
                </a:lnTo>
                <a:lnTo>
                  <a:pt x="859172" y="859172"/>
                </a:lnTo>
                <a:lnTo>
                  <a:pt x="0" y="859172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73" name="Freeform 22">
            <a:extLst>
              <a:ext uri="{FF2B5EF4-FFF2-40B4-BE49-F238E27FC236}">
                <a16:creationId xmlns:a16="http://schemas.microsoft.com/office/drawing/2014/main" id="{6B692345-572A-CD44-4AB4-3AB6B34AF9BF}"/>
              </a:ext>
            </a:extLst>
          </p:cNvPr>
          <p:cNvSpPr>
            <a:spLocks noChangeAspect="1"/>
          </p:cNvSpPr>
          <p:nvPr/>
        </p:nvSpPr>
        <p:spPr>
          <a:xfrm>
            <a:off x="3895224" y="3251770"/>
            <a:ext cx="863639" cy="809662"/>
          </a:xfrm>
          <a:custGeom>
            <a:avLst/>
            <a:gdLst/>
            <a:ahLst/>
            <a:cxnLst/>
            <a:rect l="l" t="t" r="r" b="b"/>
            <a:pathLst>
              <a:path w="897649" h="841546">
                <a:moveTo>
                  <a:pt x="0" y="0"/>
                </a:moveTo>
                <a:lnTo>
                  <a:pt x="897648" y="0"/>
                </a:lnTo>
                <a:lnTo>
                  <a:pt x="897648" y="841546"/>
                </a:lnTo>
                <a:lnTo>
                  <a:pt x="0" y="841546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75" name="Freeform 23">
            <a:extLst>
              <a:ext uri="{FF2B5EF4-FFF2-40B4-BE49-F238E27FC236}">
                <a16:creationId xmlns:a16="http://schemas.microsoft.com/office/drawing/2014/main" id="{D5529CC1-CBCD-5E1A-8A00-85D6CEA26547}"/>
              </a:ext>
            </a:extLst>
          </p:cNvPr>
          <p:cNvSpPr>
            <a:spLocks noChangeAspect="1"/>
          </p:cNvSpPr>
          <p:nvPr/>
        </p:nvSpPr>
        <p:spPr>
          <a:xfrm>
            <a:off x="6435121" y="1831816"/>
            <a:ext cx="767272" cy="767272"/>
          </a:xfrm>
          <a:custGeom>
            <a:avLst/>
            <a:gdLst/>
            <a:ahLst/>
            <a:cxnLst/>
            <a:rect l="l" t="t" r="r" b="b"/>
            <a:pathLst>
              <a:path w="827327" h="827327">
                <a:moveTo>
                  <a:pt x="0" y="0"/>
                </a:moveTo>
                <a:lnTo>
                  <a:pt x="827327" y="0"/>
                </a:lnTo>
                <a:lnTo>
                  <a:pt x="827327" y="827327"/>
                </a:lnTo>
                <a:lnTo>
                  <a:pt x="0" y="827327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77" name="Freeform 24">
            <a:extLst>
              <a:ext uri="{FF2B5EF4-FFF2-40B4-BE49-F238E27FC236}">
                <a16:creationId xmlns:a16="http://schemas.microsoft.com/office/drawing/2014/main" id="{0ABC0C34-8AEE-D1F9-AD2C-0E6821E4F3A0}"/>
              </a:ext>
            </a:extLst>
          </p:cNvPr>
          <p:cNvSpPr>
            <a:spLocks noChangeAspect="1"/>
          </p:cNvSpPr>
          <p:nvPr/>
        </p:nvSpPr>
        <p:spPr>
          <a:xfrm>
            <a:off x="7225246" y="3343703"/>
            <a:ext cx="725154" cy="712463"/>
          </a:xfrm>
          <a:custGeom>
            <a:avLst/>
            <a:gdLst/>
            <a:ahLst/>
            <a:cxnLst/>
            <a:rect l="l" t="t" r="r" b="b"/>
            <a:pathLst>
              <a:path w="886759" h="871240">
                <a:moveTo>
                  <a:pt x="0" y="0"/>
                </a:moveTo>
                <a:lnTo>
                  <a:pt x="886759" y="0"/>
                </a:lnTo>
                <a:lnTo>
                  <a:pt x="886759" y="871240"/>
                </a:lnTo>
                <a:lnTo>
                  <a:pt x="0" y="871240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sp>
        <p:nvSpPr>
          <p:cNvPr id="79" name="Freeform 25">
            <a:extLst>
              <a:ext uri="{FF2B5EF4-FFF2-40B4-BE49-F238E27FC236}">
                <a16:creationId xmlns:a16="http://schemas.microsoft.com/office/drawing/2014/main" id="{AACBF89B-8CC6-1012-36F3-3EE0A8A549B9}"/>
              </a:ext>
            </a:extLst>
          </p:cNvPr>
          <p:cNvSpPr>
            <a:spLocks noChangeAspect="1"/>
          </p:cNvSpPr>
          <p:nvPr/>
        </p:nvSpPr>
        <p:spPr>
          <a:xfrm>
            <a:off x="6453176" y="4748872"/>
            <a:ext cx="771013" cy="783749"/>
          </a:xfrm>
          <a:custGeom>
            <a:avLst/>
            <a:gdLst/>
            <a:ahLst/>
            <a:cxnLst/>
            <a:rect l="l" t="t" r="r" b="b"/>
            <a:pathLst>
              <a:path w="863213" h="877472">
                <a:moveTo>
                  <a:pt x="0" y="0"/>
                </a:moveTo>
                <a:lnTo>
                  <a:pt x="863213" y="0"/>
                </a:lnTo>
                <a:lnTo>
                  <a:pt x="863213" y="877472"/>
                </a:lnTo>
                <a:lnTo>
                  <a:pt x="0" y="877472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 sz="1200"/>
          </a:p>
        </p:txBody>
      </p:sp>
      <p:grpSp>
        <p:nvGrpSpPr>
          <p:cNvPr id="83" name="Group 26">
            <a:extLst>
              <a:ext uri="{FF2B5EF4-FFF2-40B4-BE49-F238E27FC236}">
                <a16:creationId xmlns:a16="http://schemas.microsoft.com/office/drawing/2014/main" id="{F2C39000-A439-CCA1-8118-D73009CA723E}"/>
              </a:ext>
            </a:extLst>
          </p:cNvPr>
          <p:cNvGrpSpPr>
            <a:grpSpLocks noChangeAspect="1"/>
          </p:cNvGrpSpPr>
          <p:nvPr/>
        </p:nvGrpSpPr>
        <p:grpSpPr>
          <a:xfrm>
            <a:off x="4994962" y="2576541"/>
            <a:ext cx="1823795" cy="2122234"/>
            <a:chOff x="0" y="0"/>
            <a:chExt cx="698500" cy="812800"/>
          </a:xfrm>
        </p:grpSpPr>
        <p:sp>
          <p:nvSpPr>
            <p:cNvPr id="81" name="Freeform 27">
              <a:extLst>
                <a:ext uri="{FF2B5EF4-FFF2-40B4-BE49-F238E27FC236}">
                  <a16:creationId xmlns:a16="http://schemas.microsoft.com/office/drawing/2014/main" id="{DAC3DB68-AAAD-4A93-84BA-BA6E2900C8DD}"/>
                </a:ext>
              </a:extLst>
            </p:cNvPr>
            <p:cNvSpPr/>
            <p:nvPr/>
          </p:nvSpPr>
          <p:spPr>
            <a:xfrm>
              <a:off x="0" y="0"/>
              <a:ext cx="698500" cy="812800"/>
            </a:xfrm>
            <a:custGeom>
              <a:avLst/>
              <a:gdLst/>
              <a:ahLst/>
              <a:cxnLst/>
              <a:rect l="l" t="t" r="r" b="b"/>
              <a:pathLst>
                <a:path w="698500" h="812800">
                  <a:moveTo>
                    <a:pt x="349250" y="0"/>
                  </a:moveTo>
                  <a:lnTo>
                    <a:pt x="698500" y="203200"/>
                  </a:lnTo>
                  <a:lnTo>
                    <a:pt x="698500" y="609600"/>
                  </a:lnTo>
                  <a:lnTo>
                    <a:pt x="349250" y="812800"/>
                  </a:lnTo>
                  <a:lnTo>
                    <a:pt x="0" y="609600"/>
                  </a:lnTo>
                  <a:lnTo>
                    <a:pt x="0" y="203200"/>
                  </a:lnTo>
                  <a:lnTo>
                    <a:pt x="349250" y="0"/>
                  </a:lnTo>
                  <a:close/>
                </a:path>
              </a:pathLst>
            </a:custGeom>
            <a:solidFill>
              <a:srgbClr val="3460A4"/>
            </a:solidFill>
          </p:spPr>
          <p:txBody>
            <a:bodyPr/>
            <a:lstStyle/>
            <a:p>
              <a:endParaRPr lang="en-US" sz="1200"/>
            </a:p>
          </p:txBody>
        </p:sp>
        <p:sp>
          <p:nvSpPr>
            <p:cNvPr id="82" name="TextBox 28">
              <a:extLst>
                <a:ext uri="{FF2B5EF4-FFF2-40B4-BE49-F238E27FC236}">
                  <a16:creationId xmlns:a16="http://schemas.microsoft.com/office/drawing/2014/main" id="{8BB1ED3E-65DF-3DE4-4485-19A6CE7BE4F4}"/>
                </a:ext>
              </a:extLst>
            </p:cNvPr>
            <p:cNvSpPr txBox="1"/>
            <p:nvPr/>
          </p:nvSpPr>
          <p:spPr>
            <a:xfrm>
              <a:off x="0" y="92075"/>
              <a:ext cx="698500" cy="581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2519"/>
                </a:lnSpc>
              </a:pPr>
              <a:r>
                <a:rPr lang="en-US" sz="2200" b="1">
                  <a:solidFill>
                    <a:srgbClr val="FFFFFF"/>
                  </a:solidFill>
                  <a:latin typeface="Aptos"/>
                </a:rPr>
                <a:t>Key</a:t>
              </a:r>
            </a:p>
            <a:p>
              <a:pPr algn="ctr">
                <a:lnSpc>
                  <a:spcPts val="2519"/>
                </a:lnSpc>
              </a:pPr>
              <a:r>
                <a:rPr lang="en-US" sz="2200" b="1">
                  <a:solidFill>
                    <a:srgbClr val="FFFFFF"/>
                  </a:solidFill>
                  <a:latin typeface="Aptos"/>
                </a:rPr>
                <a:t>Systems</a:t>
              </a:r>
            </a:p>
            <a:p>
              <a:pPr algn="ctr">
                <a:lnSpc>
                  <a:spcPts val="2519"/>
                </a:lnSpc>
              </a:pPr>
              <a:r>
                <a:rPr lang="en-US" sz="2200" b="1">
                  <a:solidFill>
                    <a:srgbClr val="FFFFFF"/>
                  </a:solidFill>
                  <a:latin typeface="Aptos"/>
                </a:rPr>
                <a:t>Change</a:t>
              </a:r>
            </a:p>
          </p:txBody>
        </p:sp>
      </p:grpSp>
      <p:sp>
        <p:nvSpPr>
          <p:cNvPr id="85" name="TextBox 32">
            <a:extLst>
              <a:ext uri="{FF2B5EF4-FFF2-40B4-BE49-F238E27FC236}">
                <a16:creationId xmlns:a16="http://schemas.microsoft.com/office/drawing/2014/main" id="{B871EAAD-3831-FDE5-19DA-BBAD43127B3B}"/>
              </a:ext>
            </a:extLst>
          </p:cNvPr>
          <p:cNvSpPr txBox="1"/>
          <p:nvPr/>
        </p:nvSpPr>
        <p:spPr>
          <a:xfrm>
            <a:off x="929352" y="2047007"/>
            <a:ext cx="3299079" cy="7309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1879"/>
              </a:lnSpc>
            </a:pPr>
            <a:r>
              <a:rPr lang="en-US" spc="83" dirty="0">
                <a:solidFill>
                  <a:srgbClr val="000000"/>
                </a:solidFill>
                <a:latin typeface="Aptos"/>
              </a:rPr>
              <a:t>Education on screening &amp; treating patients with PMH conditions.</a:t>
            </a:r>
            <a:endParaRPr lang="en-US" sz="2400" dirty="0"/>
          </a:p>
        </p:txBody>
      </p:sp>
      <p:sp>
        <p:nvSpPr>
          <p:cNvPr id="87" name="TextBox 33">
            <a:extLst>
              <a:ext uri="{FF2B5EF4-FFF2-40B4-BE49-F238E27FC236}">
                <a16:creationId xmlns:a16="http://schemas.microsoft.com/office/drawing/2014/main" id="{26940AD0-3C6D-2450-8D4B-56EEE4AB408F}"/>
              </a:ext>
            </a:extLst>
          </p:cNvPr>
          <p:cNvSpPr txBox="1"/>
          <p:nvPr/>
        </p:nvSpPr>
        <p:spPr>
          <a:xfrm>
            <a:off x="1091120" y="1670523"/>
            <a:ext cx="3165977" cy="41581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3509"/>
              </a:lnSpc>
              <a:spcBef>
                <a:spcPct val="0"/>
              </a:spcBef>
            </a:pPr>
            <a:r>
              <a:rPr lang="en-US" sz="2000" b="1" spc="121">
                <a:solidFill>
                  <a:srgbClr val="000000"/>
                </a:solidFill>
                <a:latin typeface="Aptos"/>
              </a:rPr>
              <a:t>Clinician Education</a:t>
            </a:r>
          </a:p>
        </p:txBody>
      </p:sp>
      <p:sp>
        <p:nvSpPr>
          <p:cNvPr id="89" name="TextBox 34">
            <a:extLst>
              <a:ext uri="{FF2B5EF4-FFF2-40B4-BE49-F238E27FC236}">
                <a16:creationId xmlns:a16="http://schemas.microsoft.com/office/drawing/2014/main" id="{F53FC9AB-411E-FF67-127D-5DB55EF16668}"/>
              </a:ext>
            </a:extLst>
          </p:cNvPr>
          <p:cNvSpPr txBox="1"/>
          <p:nvPr/>
        </p:nvSpPr>
        <p:spPr>
          <a:xfrm>
            <a:off x="327614" y="3124226"/>
            <a:ext cx="3165977" cy="41581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3509"/>
              </a:lnSpc>
              <a:spcBef>
                <a:spcPct val="0"/>
              </a:spcBef>
            </a:pPr>
            <a:r>
              <a:rPr lang="en-US" sz="2000" b="1" spc="121">
                <a:solidFill>
                  <a:srgbClr val="000000"/>
                </a:solidFill>
                <a:latin typeface="Aptos"/>
              </a:rPr>
              <a:t> Screening</a:t>
            </a:r>
          </a:p>
        </p:txBody>
      </p:sp>
      <p:sp>
        <p:nvSpPr>
          <p:cNvPr id="91" name="TextBox 35">
            <a:extLst>
              <a:ext uri="{FF2B5EF4-FFF2-40B4-BE49-F238E27FC236}">
                <a16:creationId xmlns:a16="http://schemas.microsoft.com/office/drawing/2014/main" id="{8F3860BD-EACC-732E-6FC0-34D30CCB41BC}"/>
              </a:ext>
            </a:extLst>
          </p:cNvPr>
          <p:cNvSpPr txBox="1"/>
          <p:nvPr/>
        </p:nvSpPr>
        <p:spPr>
          <a:xfrm>
            <a:off x="539024" y="4566697"/>
            <a:ext cx="3700667" cy="41581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3509"/>
              </a:lnSpc>
              <a:spcBef>
                <a:spcPct val="0"/>
              </a:spcBef>
            </a:pPr>
            <a:r>
              <a:rPr lang="en-US" sz="2000" b="1" spc="121">
                <a:solidFill>
                  <a:srgbClr val="000000"/>
                </a:solidFill>
                <a:latin typeface="Aptos"/>
              </a:rPr>
              <a:t>Optimizing Treatment </a:t>
            </a:r>
          </a:p>
        </p:txBody>
      </p:sp>
      <p:sp>
        <p:nvSpPr>
          <p:cNvPr id="93" name="TextBox 36">
            <a:extLst>
              <a:ext uri="{FF2B5EF4-FFF2-40B4-BE49-F238E27FC236}">
                <a16:creationId xmlns:a16="http://schemas.microsoft.com/office/drawing/2014/main" id="{3FAAF76B-1805-D553-DB22-A83A83FFB9EE}"/>
              </a:ext>
            </a:extLst>
          </p:cNvPr>
          <p:cNvSpPr txBox="1"/>
          <p:nvPr/>
        </p:nvSpPr>
        <p:spPr>
          <a:xfrm>
            <a:off x="8327250" y="3251770"/>
            <a:ext cx="3807000" cy="2949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339"/>
              </a:lnSpc>
            </a:pPr>
            <a:r>
              <a:rPr lang="en-US" sz="2000" b="1" spc="121">
                <a:solidFill>
                  <a:srgbClr val="000000"/>
                </a:solidFill>
                <a:latin typeface="Aptos"/>
              </a:rPr>
              <a:t>Engage Stakeholders</a:t>
            </a:r>
          </a:p>
        </p:txBody>
      </p:sp>
      <p:sp>
        <p:nvSpPr>
          <p:cNvPr id="95" name="TextBox 37">
            <a:extLst>
              <a:ext uri="{FF2B5EF4-FFF2-40B4-BE49-F238E27FC236}">
                <a16:creationId xmlns:a16="http://schemas.microsoft.com/office/drawing/2014/main" id="{F2A8FD61-4BF4-3242-BEDB-1841B80BEB26}"/>
              </a:ext>
            </a:extLst>
          </p:cNvPr>
          <p:cNvSpPr txBox="1"/>
          <p:nvPr/>
        </p:nvSpPr>
        <p:spPr>
          <a:xfrm>
            <a:off x="7575331" y="1749167"/>
            <a:ext cx="4217829" cy="30040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39"/>
              </a:lnSpc>
            </a:pPr>
            <a:r>
              <a:rPr lang="en-US" sz="2000" b="1" spc="121">
                <a:solidFill>
                  <a:srgbClr val="000000"/>
                </a:solidFill>
                <a:latin typeface="Aptos"/>
              </a:rPr>
              <a:t>Link to Mental Health Services </a:t>
            </a:r>
          </a:p>
        </p:txBody>
      </p:sp>
      <p:sp>
        <p:nvSpPr>
          <p:cNvPr id="97" name="TextBox 38">
            <a:extLst>
              <a:ext uri="{FF2B5EF4-FFF2-40B4-BE49-F238E27FC236}">
                <a16:creationId xmlns:a16="http://schemas.microsoft.com/office/drawing/2014/main" id="{E8D63C79-E498-C167-2AB5-CDEC74F3976C}"/>
              </a:ext>
            </a:extLst>
          </p:cNvPr>
          <p:cNvSpPr txBox="1"/>
          <p:nvPr/>
        </p:nvSpPr>
        <p:spPr>
          <a:xfrm>
            <a:off x="7575821" y="4682120"/>
            <a:ext cx="3753270" cy="30040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339"/>
              </a:lnSpc>
            </a:pPr>
            <a:r>
              <a:rPr lang="en-US" sz="2000" b="1" spc="121">
                <a:solidFill>
                  <a:srgbClr val="000000"/>
                </a:solidFill>
                <a:latin typeface="Aptos"/>
              </a:rPr>
              <a:t>Ongoing SUD Work </a:t>
            </a:r>
          </a:p>
        </p:txBody>
      </p:sp>
      <p:sp>
        <p:nvSpPr>
          <p:cNvPr id="99" name="TextBox 39">
            <a:extLst>
              <a:ext uri="{FF2B5EF4-FFF2-40B4-BE49-F238E27FC236}">
                <a16:creationId xmlns:a16="http://schemas.microsoft.com/office/drawing/2014/main" id="{52DCACC0-D725-F43F-F597-7111913372E6}"/>
              </a:ext>
            </a:extLst>
          </p:cNvPr>
          <p:cNvSpPr txBox="1"/>
          <p:nvPr/>
        </p:nvSpPr>
        <p:spPr>
          <a:xfrm>
            <a:off x="965721" y="3523933"/>
            <a:ext cx="2530077" cy="7309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1879"/>
              </a:lnSpc>
            </a:pPr>
            <a:r>
              <a:rPr lang="en-US" spc="83" dirty="0">
                <a:solidFill>
                  <a:srgbClr val="000000"/>
                </a:solidFill>
                <a:latin typeface="Aptos"/>
              </a:rPr>
              <a:t>Enhance screening of PMH &amp; </a:t>
            </a:r>
            <a:r>
              <a:rPr lang="en-US" spc="83" dirty="0" err="1">
                <a:solidFill>
                  <a:srgbClr val="000000"/>
                </a:solidFill>
                <a:latin typeface="Aptos"/>
              </a:rPr>
              <a:t>SDoH</a:t>
            </a:r>
            <a:r>
              <a:rPr lang="en-US" spc="83" dirty="0">
                <a:solidFill>
                  <a:srgbClr val="000000"/>
                </a:solidFill>
                <a:latin typeface="Aptos"/>
              </a:rPr>
              <a:t> in perinatal period</a:t>
            </a:r>
            <a:r>
              <a:rPr lang="en-US" sz="1400" spc="83" dirty="0">
                <a:solidFill>
                  <a:srgbClr val="000000"/>
                </a:solidFill>
                <a:latin typeface="Aptos"/>
              </a:rPr>
              <a:t>. </a:t>
            </a:r>
          </a:p>
        </p:txBody>
      </p:sp>
      <p:sp>
        <p:nvSpPr>
          <p:cNvPr id="101" name="TextBox 40">
            <a:extLst>
              <a:ext uri="{FF2B5EF4-FFF2-40B4-BE49-F238E27FC236}">
                <a16:creationId xmlns:a16="http://schemas.microsoft.com/office/drawing/2014/main" id="{D26A850F-F468-CCB7-DD45-A043C14C588C}"/>
              </a:ext>
            </a:extLst>
          </p:cNvPr>
          <p:cNvSpPr txBox="1"/>
          <p:nvPr/>
        </p:nvSpPr>
        <p:spPr>
          <a:xfrm>
            <a:off x="777922" y="4986708"/>
            <a:ext cx="3444262" cy="48731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1879"/>
              </a:lnSpc>
            </a:pPr>
            <a:r>
              <a:rPr lang="en-US" spc="83" dirty="0">
                <a:solidFill>
                  <a:srgbClr val="000000"/>
                </a:solidFill>
                <a:latin typeface="Aptos"/>
              </a:rPr>
              <a:t>Establish processes for assessing</a:t>
            </a:r>
            <a:endParaRPr lang="en-US" sz="2400" dirty="0"/>
          </a:p>
          <a:p>
            <a:pPr algn="r">
              <a:lnSpc>
                <a:spcPts val="1879"/>
              </a:lnSpc>
            </a:pPr>
            <a:r>
              <a:rPr lang="en-US" spc="83" dirty="0">
                <a:solidFill>
                  <a:srgbClr val="000000"/>
                </a:solidFill>
                <a:latin typeface="Aptos"/>
              </a:rPr>
              <a:t>&amp; treating PMH conditions</a:t>
            </a:r>
            <a:r>
              <a:rPr lang="en-US" sz="1400" spc="83" dirty="0">
                <a:solidFill>
                  <a:srgbClr val="000000"/>
                </a:solidFill>
                <a:latin typeface="Aptos"/>
              </a:rPr>
              <a:t>. </a:t>
            </a:r>
            <a:endParaRPr lang="en-US" dirty="0"/>
          </a:p>
        </p:txBody>
      </p:sp>
      <p:sp>
        <p:nvSpPr>
          <p:cNvPr id="103" name="TextBox 41">
            <a:extLst>
              <a:ext uri="{FF2B5EF4-FFF2-40B4-BE49-F238E27FC236}">
                <a16:creationId xmlns:a16="http://schemas.microsoft.com/office/drawing/2014/main" id="{4B7B1752-0276-B1E2-8F54-C3D687894CFB}"/>
              </a:ext>
            </a:extLst>
          </p:cNvPr>
          <p:cNvSpPr txBox="1"/>
          <p:nvPr/>
        </p:nvSpPr>
        <p:spPr>
          <a:xfrm>
            <a:off x="8334438" y="3529238"/>
            <a:ext cx="3762432" cy="97462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79"/>
              </a:lnSpc>
            </a:pPr>
            <a:r>
              <a:rPr lang="en-US" spc="83" dirty="0">
                <a:solidFill>
                  <a:srgbClr val="000000"/>
                </a:solidFill>
                <a:latin typeface="Aptos"/>
              </a:rPr>
              <a:t>Collaborate with patients &amp; communities </a:t>
            </a:r>
            <a:endParaRPr lang="en-US" sz="2400" dirty="0"/>
          </a:p>
          <a:p>
            <a:pPr>
              <a:lnSpc>
                <a:spcPts val="1879"/>
              </a:lnSpc>
            </a:pPr>
            <a:r>
              <a:rPr lang="en-US" spc="83" dirty="0">
                <a:solidFill>
                  <a:srgbClr val="000000"/>
                </a:solidFill>
                <a:latin typeface="Aptos"/>
              </a:rPr>
              <a:t>and identify community-based resources</a:t>
            </a:r>
            <a:r>
              <a:rPr lang="en-US" sz="1400" spc="83" dirty="0">
                <a:solidFill>
                  <a:srgbClr val="000000"/>
                </a:solidFill>
                <a:latin typeface="Aptos"/>
              </a:rPr>
              <a:t>.</a:t>
            </a:r>
            <a:endParaRPr lang="en-US" dirty="0"/>
          </a:p>
        </p:txBody>
      </p:sp>
      <p:sp>
        <p:nvSpPr>
          <p:cNvPr id="105" name="TextBox 42">
            <a:extLst>
              <a:ext uri="{FF2B5EF4-FFF2-40B4-BE49-F238E27FC236}">
                <a16:creationId xmlns:a16="http://schemas.microsoft.com/office/drawing/2014/main" id="{319A775E-78C0-BFD3-66EF-414626279F6B}"/>
              </a:ext>
            </a:extLst>
          </p:cNvPr>
          <p:cNvSpPr txBox="1"/>
          <p:nvPr/>
        </p:nvSpPr>
        <p:spPr>
          <a:xfrm>
            <a:off x="7582519" y="2052063"/>
            <a:ext cx="3858903" cy="7309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79"/>
              </a:lnSpc>
            </a:pPr>
            <a:r>
              <a:rPr lang="en-US" spc="83" dirty="0">
                <a:solidFill>
                  <a:srgbClr val="000000"/>
                </a:solidFill>
                <a:latin typeface="Aptos"/>
              </a:rPr>
              <a:t>Enhance linkage to mental health services for improved care coordination</a:t>
            </a:r>
            <a:r>
              <a:rPr lang="en-US" sz="1400" spc="83" dirty="0">
                <a:solidFill>
                  <a:srgbClr val="000000"/>
                </a:solidFill>
                <a:latin typeface="Aptos"/>
              </a:rPr>
              <a:t>.  </a:t>
            </a:r>
          </a:p>
        </p:txBody>
      </p:sp>
      <p:sp>
        <p:nvSpPr>
          <p:cNvPr id="107" name="TextBox 43">
            <a:extLst>
              <a:ext uri="{FF2B5EF4-FFF2-40B4-BE49-F238E27FC236}">
                <a16:creationId xmlns:a16="http://schemas.microsoft.com/office/drawing/2014/main" id="{EFBDB2BE-8434-4518-FD09-EAFF7BD6934F}"/>
              </a:ext>
            </a:extLst>
          </p:cNvPr>
          <p:cNvSpPr txBox="1"/>
          <p:nvPr/>
        </p:nvSpPr>
        <p:spPr>
          <a:xfrm>
            <a:off x="7583009" y="4977859"/>
            <a:ext cx="4372479" cy="73096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1879"/>
              </a:lnSpc>
            </a:pPr>
            <a:r>
              <a:rPr lang="en-US" spc="83" dirty="0">
                <a:solidFill>
                  <a:srgbClr val="000000"/>
                </a:solidFill>
                <a:latin typeface="Aptos"/>
              </a:rPr>
              <a:t>Continue optimizing care of people with SUD through assessment &amp; linkage to treatment and resources</a:t>
            </a:r>
            <a:r>
              <a:rPr lang="en-US" sz="1400" spc="83" dirty="0">
                <a:solidFill>
                  <a:srgbClr val="000000"/>
                </a:solidFill>
                <a:latin typeface="Aptos"/>
              </a:rPr>
              <a:t>.</a:t>
            </a:r>
          </a:p>
        </p:txBody>
      </p:sp>
      <p:sp>
        <p:nvSpPr>
          <p:cNvPr id="109" name="TextBox 31">
            <a:extLst>
              <a:ext uri="{FF2B5EF4-FFF2-40B4-BE49-F238E27FC236}">
                <a16:creationId xmlns:a16="http://schemas.microsoft.com/office/drawing/2014/main" id="{3B952738-E95C-0F53-4922-7D05140B7193}"/>
              </a:ext>
            </a:extLst>
          </p:cNvPr>
          <p:cNvSpPr txBox="1"/>
          <p:nvPr/>
        </p:nvSpPr>
        <p:spPr>
          <a:xfrm>
            <a:off x="91249" y="5933127"/>
            <a:ext cx="12178530" cy="937821"/>
          </a:xfrm>
          <a:prstGeom prst="rect">
            <a:avLst/>
          </a:prstGeom>
          <a:solidFill>
            <a:schemeClr val="bg1"/>
          </a:solidFill>
        </p:spPr>
        <p:txBody>
          <a:bodyPr lIns="33867" tIns="33867" rIns="33867" bIns="33867"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66"/>
              </a:lnSpc>
            </a:pPr>
            <a:r>
              <a:rPr lang="en-US" sz="2100" b="1" dirty="0">
                <a:solidFill>
                  <a:srgbClr val="1B3864"/>
                </a:solidFill>
                <a:latin typeface="Calibri"/>
                <a:ea typeface="Calibri"/>
                <a:cs typeface="Calibri"/>
              </a:rPr>
              <a:t>  Wave 1:</a:t>
            </a:r>
            <a:r>
              <a:rPr lang="en-US" sz="2100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January - March 2025</a:t>
            </a:r>
          </a:p>
          <a:p>
            <a:pPr>
              <a:lnSpc>
                <a:spcPts val="3266"/>
              </a:lnSpc>
            </a:pPr>
            <a:r>
              <a:rPr lang="en-US" sz="2133" dirty="0">
                <a:solidFill>
                  <a:srgbClr val="1B3864"/>
                </a:solidFill>
                <a:latin typeface="Calibri"/>
                <a:ea typeface="Calibri"/>
                <a:cs typeface="Calibri"/>
              </a:rPr>
              <a:t>  </a:t>
            </a:r>
            <a:r>
              <a:rPr lang="en-US" sz="2133" b="1" dirty="0">
                <a:solidFill>
                  <a:srgbClr val="1B3864"/>
                </a:solidFill>
                <a:latin typeface="Calibri"/>
                <a:ea typeface="Calibri"/>
                <a:cs typeface="Calibri"/>
              </a:rPr>
              <a:t>PMH Initiative Launch:</a:t>
            </a:r>
            <a:r>
              <a:rPr lang="en-US" sz="2133" b="1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 </a:t>
            </a:r>
            <a:r>
              <a:rPr lang="en-US" sz="2133" dirty="0">
                <a:solidFill>
                  <a:srgbClr val="000000"/>
                </a:solidFill>
                <a:latin typeface="Calibri"/>
                <a:ea typeface="Calibri"/>
                <a:cs typeface="Calibri"/>
              </a:rPr>
              <a:t>Face to Face 2025 </a:t>
            </a:r>
          </a:p>
        </p:txBody>
      </p:sp>
    </p:spTree>
    <p:extLst>
      <p:ext uri="{BB962C8B-B14F-4D97-AF65-F5344CB8AC3E}">
        <p14:creationId xmlns:p14="http://schemas.microsoft.com/office/powerpoint/2010/main" val="2794778290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34B5E1-F2D7-6F3A-FB2C-FD0859FB7F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9213" y="389706"/>
            <a:ext cx="10972800" cy="1325563"/>
          </a:xfrm>
        </p:spPr>
        <p:txBody>
          <a:bodyPr/>
          <a:lstStyle/>
          <a:p>
            <a:r>
              <a:rPr lang="en-US"/>
              <a:t>Exciting Announcement about </a:t>
            </a:r>
            <a:r>
              <a:rPr lang="en-US" err="1"/>
              <a:t>TeamBirth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62014D-2FDE-E6BD-CCC0-E6BF2BB0A7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18439" y="1754474"/>
            <a:ext cx="5763961" cy="4422489"/>
          </a:xfrm>
        </p:spPr>
        <p:txBody>
          <a:bodyPr/>
          <a:lstStyle/>
          <a:p>
            <a:r>
              <a:rPr lang="en-US"/>
              <a:t>Patient Centered Outcomes Research Initiative (PCORI) funding for 22 hospitals to work on implementation of shared decision making and </a:t>
            </a:r>
            <a:r>
              <a:rPr lang="en-US" err="1"/>
              <a:t>TeamBirth</a:t>
            </a:r>
            <a:endParaRPr lang="en-US"/>
          </a:p>
          <a:p>
            <a:r>
              <a:rPr lang="en-US"/>
              <a:t>2025 – 2029 </a:t>
            </a:r>
          </a:p>
          <a:p>
            <a:r>
              <a:rPr lang="en-US"/>
              <a:t>22 hospitals provided letters of interest</a:t>
            </a:r>
          </a:p>
          <a:p>
            <a:r>
              <a:rPr lang="en-US"/>
              <a:t>Finalizing participating hospitals and there may be an opportunity for other interested hospitals to participate</a:t>
            </a:r>
          </a:p>
          <a:p>
            <a:r>
              <a:rPr lang="en-US"/>
              <a:t>Reach out to us at </a:t>
            </a:r>
            <a:r>
              <a:rPr lang="en-US">
                <a:hlinkClick r:id="rId3"/>
              </a:rPr>
              <a:t>info@ilpqc.org</a:t>
            </a:r>
            <a:r>
              <a:rPr lang="en-US"/>
              <a:t>  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208597C-15F1-6093-586C-2C467B3AEEB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54</a:t>
            </a:fld>
            <a:endParaRPr lang="en-US"/>
          </a:p>
        </p:txBody>
      </p:sp>
      <p:pic>
        <p:nvPicPr>
          <p:cNvPr id="7" name="Picture 6" descr="A pregnant person on a ball with a doctor pointing at a sign&#10;&#10;Description automatically generated">
            <a:extLst>
              <a:ext uri="{FF2B5EF4-FFF2-40B4-BE49-F238E27FC236}">
                <a16:creationId xmlns:a16="http://schemas.microsoft.com/office/drawing/2014/main" id="{6B193091-E1C4-1EE0-0130-B0DAA0731EB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185" y="1855570"/>
            <a:ext cx="4974123" cy="341690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19CEE64-D491-53AE-E98E-05CD159B7148}"/>
              </a:ext>
            </a:extLst>
          </p:cNvPr>
          <p:cNvSpPr txBox="1"/>
          <p:nvPr/>
        </p:nvSpPr>
        <p:spPr>
          <a:xfrm>
            <a:off x="282179" y="5273059"/>
            <a:ext cx="5649238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Arial"/>
              </a:rPr>
              <a:t>Image from </a:t>
            </a:r>
            <a:r>
              <a:rPr lang="en-US" err="1">
                <a:cs typeface="Arial"/>
              </a:rPr>
              <a:t>TeamBirth</a:t>
            </a:r>
            <a:r>
              <a:rPr lang="en-US">
                <a:cs typeface="Arial"/>
              </a:rPr>
              <a:t>/Ariadne Labs</a:t>
            </a:r>
          </a:p>
          <a:p>
            <a:r>
              <a:rPr lang="en-US">
                <a:cs typeface="Arial"/>
              </a:rPr>
              <a:t>Learn more at </a:t>
            </a:r>
            <a:r>
              <a:rPr lang="en-US">
                <a:ea typeface="+mn-lt"/>
                <a:cs typeface="+mn-lt"/>
                <a:hlinkClick r:id="rId5"/>
              </a:rPr>
              <a:t>https://www.ariadnelabs.org/delivery-decisions-initiative/teambirth/</a:t>
            </a:r>
            <a:r>
              <a:rPr lang="en-US">
                <a:ea typeface="+mn-lt"/>
                <a:cs typeface="+mn-lt"/>
              </a:rPr>
              <a:t> 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1675289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1A070F0-FEF3-634E-8344-5344E72B4FBF}"/>
              </a:ext>
            </a:extLst>
          </p:cNvPr>
          <p:cNvSpPr/>
          <p:nvPr/>
        </p:nvSpPr>
        <p:spPr>
          <a:xfrm>
            <a:off x="-188137" y="-293914"/>
            <a:ext cx="12378905" cy="736120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C11B5CD-6203-68A5-D117-6184BF37518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00473F-D77B-449B-AC14-C1C88737DA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6392" y="6327595"/>
            <a:ext cx="4114800" cy="365125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8" name="Right Triangle 7">
            <a:extLst>
              <a:ext uri="{FF2B5EF4-FFF2-40B4-BE49-F238E27FC236}">
                <a16:creationId xmlns:a16="http://schemas.microsoft.com/office/drawing/2014/main" id="{AD16A81F-8FC9-C764-84E1-C47048E7103A}"/>
              </a:ext>
            </a:extLst>
          </p:cNvPr>
          <p:cNvSpPr/>
          <p:nvPr/>
        </p:nvSpPr>
        <p:spPr>
          <a:xfrm>
            <a:off x="2629413" y="4815181"/>
            <a:ext cx="2257245" cy="2257245"/>
          </a:xfrm>
          <a:prstGeom prst="rtTriangl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ight Triangle 8">
            <a:extLst>
              <a:ext uri="{FF2B5EF4-FFF2-40B4-BE49-F238E27FC236}">
                <a16:creationId xmlns:a16="http://schemas.microsoft.com/office/drawing/2014/main" id="{766E7991-42F5-0D3E-81D8-53DB4E415602}"/>
              </a:ext>
            </a:extLst>
          </p:cNvPr>
          <p:cNvSpPr/>
          <p:nvPr/>
        </p:nvSpPr>
        <p:spPr>
          <a:xfrm rot="10800000">
            <a:off x="7704620" y="-288782"/>
            <a:ext cx="2257245" cy="2257245"/>
          </a:xfrm>
          <a:prstGeom prst="rtTriangl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6" descr="Chart, bubble chart&#10;&#10;Description automatically generated">
            <a:extLst>
              <a:ext uri="{FF2B5EF4-FFF2-40B4-BE49-F238E27FC236}">
                <a16:creationId xmlns:a16="http://schemas.microsoft.com/office/drawing/2014/main" id="{5B6E483A-A594-667A-0876-34341CBFBA3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0321" y="-172826"/>
            <a:ext cx="7005169" cy="7111789"/>
          </a:xfrm>
        </p:spPr>
      </p:pic>
    </p:spTree>
    <p:extLst>
      <p:ext uri="{BB962C8B-B14F-4D97-AF65-F5344CB8AC3E}">
        <p14:creationId xmlns:p14="http://schemas.microsoft.com/office/powerpoint/2010/main" val="2327639134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7B87E502-B226-8CC8-9CD8-4D6D0EEB5A46}"/>
              </a:ext>
            </a:extLst>
          </p:cNvPr>
          <p:cNvSpPr/>
          <p:nvPr/>
        </p:nvSpPr>
        <p:spPr>
          <a:xfrm>
            <a:off x="7117466" y="0"/>
            <a:ext cx="5105400" cy="2247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0F04537-23BF-21CC-C67C-621776B6EE8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F354D6-E765-6068-4572-8AAC509F52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A59911C8-FB04-AB1E-9DF3-1719F4A8E412}"/>
              </a:ext>
            </a:extLst>
          </p:cNvPr>
          <p:cNvSpPr txBox="1">
            <a:spLocks/>
          </p:cNvSpPr>
          <p:nvPr/>
        </p:nvSpPr>
        <p:spPr>
          <a:xfrm>
            <a:off x="3414623" y="6796"/>
            <a:ext cx="5306742" cy="593308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79818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Thanks to our Funders</a:t>
            </a:r>
          </a:p>
        </p:txBody>
      </p:sp>
      <p:pic>
        <p:nvPicPr>
          <p:cNvPr id="11" name="Picture 8" descr="IDPH | Protecting health, improving lives.">
            <a:extLst>
              <a:ext uri="{FF2B5EF4-FFF2-40B4-BE49-F238E27FC236}">
                <a16:creationId xmlns:a16="http://schemas.microsoft.com/office/drawing/2014/main" id="{79E5BE18-815B-2128-14F6-55F28E4E99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2196" y="1370687"/>
            <a:ext cx="2558009" cy="6945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File:US CDC logo.svg - Wikimedia Commons">
            <a:extLst>
              <a:ext uri="{FF2B5EF4-FFF2-40B4-BE49-F238E27FC236}">
                <a16:creationId xmlns:a16="http://schemas.microsoft.com/office/drawing/2014/main" id="{2089DC53-0BA7-A340-049B-28714F3ABB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9332" y="1022630"/>
            <a:ext cx="1398959" cy="10576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Logo&#10;&#10;Description automatically generated">
            <a:extLst>
              <a:ext uri="{FF2B5EF4-FFF2-40B4-BE49-F238E27FC236}">
                <a16:creationId xmlns:a16="http://schemas.microsoft.com/office/drawing/2014/main" id="{DADE1F50-90C5-48DA-A421-40E43ECF4B01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3340" y="952418"/>
            <a:ext cx="1161691" cy="1151682"/>
          </a:xfrm>
          <a:prstGeom prst="rect">
            <a:avLst/>
          </a:prstGeom>
        </p:spPr>
      </p:pic>
      <p:pic>
        <p:nvPicPr>
          <p:cNvPr id="19" name="Picture 6" descr="https://cpcqc.org/wp-content/uploads/2021/03/aim.png">
            <a:extLst>
              <a:ext uri="{FF2B5EF4-FFF2-40B4-BE49-F238E27FC236}">
                <a16:creationId xmlns:a16="http://schemas.microsoft.com/office/drawing/2014/main" id="{E0BEE24B-C711-AF67-8719-D780030A01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3059" y="3866296"/>
            <a:ext cx="1589596" cy="787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itle 1">
            <a:extLst>
              <a:ext uri="{FF2B5EF4-FFF2-40B4-BE49-F238E27FC236}">
                <a16:creationId xmlns:a16="http://schemas.microsoft.com/office/drawing/2014/main" id="{9D083F7A-AFCE-F54E-02B9-D4B8C1C92D81}"/>
              </a:ext>
            </a:extLst>
          </p:cNvPr>
          <p:cNvSpPr txBox="1">
            <a:spLocks/>
          </p:cNvSpPr>
          <p:nvPr/>
        </p:nvSpPr>
        <p:spPr>
          <a:xfrm>
            <a:off x="3008923" y="2079341"/>
            <a:ext cx="5306742" cy="5933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79818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CME Provider: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50000"/>
                </a:srgbClr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23" name="Picture 2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A20C2A0-D821-113D-2E8F-F2901D13645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9517" y="4838846"/>
            <a:ext cx="1997974" cy="461295"/>
          </a:xfrm>
          <a:prstGeom prst="rect">
            <a:avLst/>
          </a:prstGeom>
        </p:spPr>
      </p:pic>
      <p:pic>
        <p:nvPicPr>
          <p:cNvPr id="26" name="Picture 26" descr="Shape&#10;&#10;Description automatically generated">
            <a:extLst>
              <a:ext uri="{FF2B5EF4-FFF2-40B4-BE49-F238E27FC236}">
                <a16:creationId xmlns:a16="http://schemas.microsoft.com/office/drawing/2014/main" id="{96D5ACFE-CE81-CDDB-1B02-7080CC2813D3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0117" y="5475300"/>
            <a:ext cx="2098063" cy="629257"/>
          </a:xfrm>
          <a:prstGeom prst="rect">
            <a:avLst/>
          </a:prstGeom>
        </p:spPr>
      </p:pic>
      <p:pic>
        <p:nvPicPr>
          <p:cNvPr id="28" name="Picture 28" descr="Logo, company name&#10;&#10;Description automatically generated">
            <a:extLst>
              <a:ext uri="{FF2B5EF4-FFF2-40B4-BE49-F238E27FC236}">
                <a16:creationId xmlns:a16="http://schemas.microsoft.com/office/drawing/2014/main" id="{8E8BA1E6-1D6A-7763-4368-7FD49A2FB6FA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42063" y="2533110"/>
            <a:ext cx="2146800" cy="985575"/>
          </a:xfrm>
          <a:prstGeom prst="rect">
            <a:avLst/>
          </a:prstGeom>
        </p:spPr>
      </p:pic>
      <p:sp>
        <p:nvSpPr>
          <p:cNvPr id="29" name="Title 1">
            <a:extLst>
              <a:ext uri="{FF2B5EF4-FFF2-40B4-BE49-F238E27FC236}">
                <a16:creationId xmlns:a16="http://schemas.microsoft.com/office/drawing/2014/main" id="{8C324D09-08DE-21B5-8F28-FE8F4773F51B}"/>
              </a:ext>
            </a:extLst>
          </p:cNvPr>
          <p:cNvSpPr txBox="1">
            <a:spLocks/>
          </p:cNvSpPr>
          <p:nvPr/>
        </p:nvSpPr>
        <p:spPr>
          <a:xfrm>
            <a:off x="3048000" y="3531454"/>
            <a:ext cx="5306742" cy="593308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 lnSpcReduction="10000"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79818A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Lato Medium"/>
                <a:cs typeface="Lato Medium"/>
              </a:rPr>
              <a:t>Supporters:</a:t>
            </a:r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50000"/>
                </a:srgbClr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33" name="Picture 2" descr="Laboratory of Neurogenomics and Novel Therapies Web Site – Research and  Patient Care at Northwestern">
            <a:extLst>
              <a:ext uri="{FF2B5EF4-FFF2-40B4-BE49-F238E27FC236}">
                <a16:creationId xmlns:a16="http://schemas.microsoft.com/office/drawing/2014/main" id="{8822425D-6509-8E77-A66A-276D5D34118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2926" y="4784402"/>
            <a:ext cx="1608068" cy="6249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 descr="Text&#10;&#10;Description automatically generated">
            <a:extLst>
              <a:ext uri="{FF2B5EF4-FFF2-40B4-BE49-F238E27FC236}">
                <a16:creationId xmlns:a16="http://schemas.microsoft.com/office/drawing/2014/main" id="{0CD0FDDE-DB87-D374-3714-F8397751BF14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3413" y="4839998"/>
            <a:ext cx="1364749" cy="593817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D1A47E77-6815-0449-DB09-7302D615E620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18844" y="4923984"/>
            <a:ext cx="2140342" cy="428068"/>
          </a:xfrm>
          <a:prstGeom prst="rect">
            <a:avLst/>
          </a:prstGeom>
        </p:spPr>
      </p:pic>
      <p:pic>
        <p:nvPicPr>
          <p:cNvPr id="38" name="Picture 38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C50CA5DC-22F1-D5B7-FDC4-9802303D2C06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884" y="4044970"/>
            <a:ext cx="1664899" cy="598041"/>
          </a:xfrm>
          <a:prstGeom prst="rect">
            <a:avLst/>
          </a:prstGeom>
        </p:spPr>
      </p:pic>
      <p:pic>
        <p:nvPicPr>
          <p:cNvPr id="39" name="Picture 39" descr="Text&#10;&#10;Description automatically generated">
            <a:extLst>
              <a:ext uri="{FF2B5EF4-FFF2-40B4-BE49-F238E27FC236}">
                <a16:creationId xmlns:a16="http://schemas.microsoft.com/office/drawing/2014/main" id="{7C577206-38B5-60CD-FDA3-3A06519F7501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6743" y="3922201"/>
            <a:ext cx="2743200" cy="733720"/>
          </a:xfrm>
          <a:prstGeom prst="rect">
            <a:avLst/>
          </a:prstGeom>
        </p:spPr>
      </p:pic>
      <p:pic>
        <p:nvPicPr>
          <p:cNvPr id="40" name="Picture 40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7506A5BC-3C62-323D-5694-C030537B5693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7513" y="4004943"/>
            <a:ext cx="2743200" cy="773944"/>
          </a:xfrm>
          <a:prstGeom prst="rect">
            <a:avLst/>
          </a:prstGeom>
        </p:spPr>
      </p:pic>
      <p:pic>
        <p:nvPicPr>
          <p:cNvPr id="41" name="Picture 41" descr="A picture containing icon&#10;&#10;Description automatically generated">
            <a:extLst>
              <a:ext uri="{FF2B5EF4-FFF2-40B4-BE49-F238E27FC236}">
                <a16:creationId xmlns:a16="http://schemas.microsoft.com/office/drawing/2014/main" id="{A1107B0C-0CBB-BEB9-1B05-6527881AAF10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60069" y="4042826"/>
            <a:ext cx="1905000" cy="476250"/>
          </a:xfrm>
          <a:prstGeom prst="rect">
            <a:avLst/>
          </a:prstGeom>
        </p:spPr>
      </p:pic>
      <p:pic>
        <p:nvPicPr>
          <p:cNvPr id="42" name="Picture 42">
            <a:extLst>
              <a:ext uri="{FF2B5EF4-FFF2-40B4-BE49-F238E27FC236}">
                <a16:creationId xmlns:a16="http://schemas.microsoft.com/office/drawing/2014/main" id="{424A60D3-9C09-2BC2-C30C-B160790D2B2D}"/>
              </a:ext>
            </a:extLst>
          </p:cNvPr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029" y="5567481"/>
            <a:ext cx="2401277" cy="661260"/>
          </a:xfrm>
          <a:prstGeom prst="rect">
            <a:avLst/>
          </a:prstGeom>
        </p:spPr>
      </p:pic>
      <p:pic>
        <p:nvPicPr>
          <p:cNvPr id="44" name="Picture 44">
            <a:extLst>
              <a:ext uri="{FF2B5EF4-FFF2-40B4-BE49-F238E27FC236}">
                <a16:creationId xmlns:a16="http://schemas.microsoft.com/office/drawing/2014/main" id="{9D3A7F2A-2208-12DB-86D9-EC2D5EA56612}"/>
              </a:ext>
            </a:extLst>
          </p:cNvPr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8605" y="5480746"/>
            <a:ext cx="2137508" cy="785525"/>
          </a:xfrm>
          <a:prstGeom prst="rect">
            <a:avLst/>
          </a:prstGeom>
        </p:spPr>
      </p:pic>
      <p:pic>
        <p:nvPicPr>
          <p:cNvPr id="45" name="Picture 45" descr="Logo, company name&#10;&#10;Description automatically generated">
            <a:extLst>
              <a:ext uri="{FF2B5EF4-FFF2-40B4-BE49-F238E27FC236}">
                <a16:creationId xmlns:a16="http://schemas.microsoft.com/office/drawing/2014/main" id="{782F805C-EB35-7022-84B0-AD214D82CF4D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7457" y="5519059"/>
            <a:ext cx="2098431" cy="786263"/>
          </a:xfrm>
          <a:prstGeom prst="rect">
            <a:avLst/>
          </a:prstGeom>
        </p:spPr>
      </p:pic>
      <p:pic>
        <p:nvPicPr>
          <p:cNvPr id="46" name="Picture 46" descr="Logo&#10;&#10;Description automatically generated">
            <a:extLst>
              <a:ext uri="{FF2B5EF4-FFF2-40B4-BE49-F238E27FC236}">
                <a16:creationId xmlns:a16="http://schemas.microsoft.com/office/drawing/2014/main" id="{5C76C4E5-EF6E-7DCF-7A3D-7C6B7D099609}"/>
              </a:ext>
            </a:extLst>
          </p:cNvPr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1356" y="5541092"/>
            <a:ext cx="1432414" cy="625964"/>
          </a:xfrm>
          <a:prstGeom prst="rect">
            <a:avLst/>
          </a:prstGeom>
        </p:spPr>
      </p:pic>
      <p:pic>
        <p:nvPicPr>
          <p:cNvPr id="2" name="Picture 1" descr="A blue and red logo&#10;&#10;Description automatically generated">
            <a:extLst>
              <a:ext uri="{FF2B5EF4-FFF2-40B4-BE49-F238E27FC236}">
                <a16:creationId xmlns:a16="http://schemas.microsoft.com/office/drawing/2014/main" id="{ECE903D3-6DF3-0A95-6FCE-C7B913CE91EE}"/>
              </a:ext>
            </a:extLst>
          </p:cNvPr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9334" y="1495206"/>
            <a:ext cx="1895475" cy="581025"/>
          </a:xfrm>
          <a:prstGeom prst="rect">
            <a:avLst/>
          </a:prstGeom>
        </p:spPr>
      </p:pic>
      <p:pic>
        <p:nvPicPr>
          <p:cNvPr id="3" name="Picture 2" descr="A logo with a person in the middle&#10;&#10;Description automatically generated">
            <a:extLst>
              <a:ext uri="{FF2B5EF4-FFF2-40B4-BE49-F238E27FC236}">
                <a16:creationId xmlns:a16="http://schemas.microsoft.com/office/drawing/2014/main" id="{5E3DA647-E681-42AD-4697-9847DA8B541C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4588" y="1052513"/>
            <a:ext cx="1476375" cy="1190625"/>
          </a:xfrm>
          <a:prstGeom prst="rect">
            <a:avLst/>
          </a:prstGeom>
        </p:spPr>
      </p:pic>
      <p:pic>
        <p:nvPicPr>
          <p:cNvPr id="10" name="Picture 9" descr="Endeavor Health Home Hero">
            <a:extLst>
              <a:ext uri="{FF2B5EF4-FFF2-40B4-BE49-F238E27FC236}">
                <a16:creationId xmlns:a16="http://schemas.microsoft.com/office/drawing/2014/main" id="{ABD007DF-74E2-3F24-66E5-63CC0F1D113A}"/>
              </a:ext>
            </a:extLst>
          </p:cNvPr>
          <p:cNvPicPr>
            <a:picLocks noChangeAspect="1"/>
          </p:cNvPicPr>
          <p:nvPr/>
        </p:nvPicPr>
        <p:blipFill rotWithShape="1"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08" t="56067" r="23325" b="2086"/>
          <a:stretch/>
        </p:blipFill>
        <p:spPr>
          <a:xfrm>
            <a:off x="66791" y="4921727"/>
            <a:ext cx="2951315" cy="553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441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1B54E95-D29F-F53A-7247-6E1D0BEABF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B3DAA34-EC4A-4C45-A45C-A270F6598DEA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28/202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2A3F2F-65B7-0010-29A2-6105219050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rPr>
              <a:t>
            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389B273-B400-F152-FD92-7647561BE5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C057153-B650-4DEB-B370-79DDCFDCE934}" type="slidenum"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Neue Haas Grotesk Text Pro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Neue Haas Grotesk Text Pro"/>
              <a:ea typeface="+mn-ea"/>
              <a:cs typeface="+mn-cs"/>
            </a:endParaRPr>
          </a:p>
        </p:txBody>
      </p:sp>
      <p:pic>
        <p:nvPicPr>
          <p:cNvPr id="5" name="Picture 4" descr="A diagram of a group of people&#10;&#10;Description automatically generated">
            <a:extLst>
              <a:ext uri="{FF2B5EF4-FFF2-40B4-BE49-F238E27FC236}">
                <a16:creationId xmlns:a16="http://schemas.microsoft.com/office/drawing/2014/main" id="{2230850E-46EF-E470-A79F-C364FF26F57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 descr="A diagram of a seminar&#10;&#10;Description automatically generated">
            <a:extLst>
              <a:ext uri="{FF2B5EF4-FFF2-40B4-BE49-F238E27FC236}">
                <a16:creationId xmlns:a16="http://schemas.microsoft.com/office/drawing/2014/main" id="{038D8DDB-3924-11B9-1205-3394B5C350F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42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288000" h="10287000">
                <a:moveTo>
                  <a:pt x="0" y="0"/>
                </a:moveTo>
                <a:lnTo>
                  <a:pt x="18288000" y="0"/>
                </a:lnTo>
                <a:lnTo>
                  <a:pt x="18288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 r="-2" b="-1589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272589" y="1715064"/>
            <a:ext cx="3501508" cy="2561984"/>
          </a:xfrm>
          <a:custGeom>
            <a:avLst/>
            <a:gdLst/>
            <a:ahLst/>
            <a:cxnLst/>
            <a:rect l="l" t="t" r="r" b="b"/>
            <a:pathLst>
              <a:path w="5252262" h="3842976">
                <a:moveTo>
                  <a:pt x="0" y="0"/>
                </a:moveTo>
                <a:lnTo>
                  <a:pt x="5252262" y="0"/>
                </a:lnTo>
                <a:lnTo>
                  <a:pt x="5252262" y="3842976"/>
                </a:lnTo>
                <a:lnTo>
                  <a:pt x="0" y="3842976"/>
                </a:lnTo>
                <a:lnTo>
                  <a:pt x="0" y="0"/>
                </a:lnTo>
                <a:close/>
              </a:path>
            </a:pathLst>
          </a:custGeom>
          <a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399270" y="1906532"/>
            <a:ext cx="3304051" cy="3346402"/>
          </a:xfrm>
          <a:custGeom>
            <a:avLst/>
            <a:gdLst/>
            <a:ahLst/>
            <a:cxnLst/>
            <a:rect l="l" t="t" r="r" b="b"/>
            <a:pathLst>
              <a:path w="5614320" h="5740111">
                <a:moveTo>
                  <a:pt x="0" y="0"/>
                </a:moveTo>
                <a:lnTo>
                  <a:pt x="5614320" y="0"/>
                </a:lnTo>
                <a:lnTo>
                  <a:pt x="5614320" y="5740111"/>
                </a:lnTo>
                <a:lnTo>
                  <a:pt x="0" y="5740111"/>
                </a:lnTo>
                <a:lnTo>
                  <a:pt x="0" y="0"/>
                </a:lnTo>
                <a:close/>
              </a:path>
            </a:pathLst>
          </a:custGeo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940885" y="4728125"/>
            <a:ext cx="2271398" cy="2013921"/>
          </a:xfrm>
          <a:custGeom>
            <a:avLst/>
            <a:gdLst/>
            <a:ahLst/>
            <a:cxnLst/>
            <a:rect l="l" t="t" r="r" b="b"/>
            <a:pathLst>
              <a:path w="5416221" h="5537574">
                <a:moveTo>
                  <a:pt x="0" y="0"/>
                </a:moveTo>
                <a:lnTo>
                  <a:pt x="5416221" y="0"/>
                </a:lnTo>
                <a:lnTo>
                  <a:pt x="5416221" y="5537574"/>
                </a:lnTo>
                <a:lnTo>
                  <a:pt x="0" y="5537574"/>
                </a:lnTo>
                <a:lnTo>
                  <a:pt x="0" y="0"/>
                </a:lnTo>
                <a:close/>
              </a:path>
            </a:pathLst>
          </a:custGeom>
          <a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764153" y="285476"/>
            <a:ext cx="7941296" cy="1230679"/>
          </a:xfrm>
          <a:custGeom>
            <a:avLst/>
            <a:gdLst/>
            <a:ahLst/>
            <a:cxnLst/>
            <a:rect l="l" t="t" r="r" b="b"/>
            <a:pathLst>
              <a:path w="11911944" h="1846018">
                <a:moveTo>
                  <a:pt x="0" y="0"/>
                </a:moveTo>
                <a:lnTo>
                  <a:pt x="11911944" y="0"/>
                </a:lnTo>
                <a:lnTo>
                  <a:pt x="11911944" y="1846018"/>
                </a:lnTo>
                <a:lnTo>
                  <a:pt x="0" y="1846018"/>
                </a:lnTo>
                <a:lnTo>
                  <a:pt x="0" y="0"/>
                </a:lnTo>
                <a:close/>
              </a:path>
            </a:pathLst>
          </a:custGeom>
          <a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-72957" y="-12013"/>
            <a:ext cx="2002357" cy="1528771"/>
          </a:xfrm>
          <a:custGeom>
            <a:avLst/>
            <a:gdLst/>
            <a:ahLst/>
            <a:cxnLst/>
            <a:rect l="l" t="t" r="r" b="b"/>
            <a:pathLst>
              <a:path w="3003536" h="2293156">
                <a:moveTo>
                  <a:pt x="0" y="0"/>
                </a:moveTo>
                <a:lnTo>
                  <a:pt x="3003536" y="0"/>
                </a:lnTo>
                <a:lnTo>
                  <a:pt x="3003536" y="2293156"/>
                </a:lnTo>
                <a:lnTo>
                  <a:pt x="0" y="2293156"/>
                </a:lnTo>
                <a:lnTo>
                  <a:pt x="0" y="0"/>
                </a:lnTo>
                <a:close/>
              </a:path>
            </a:pathLst>
          </a:custGeom>
          <a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TextBox 8"/>
          <p:cNvSpPr txBox="1"/>
          <p:nvPr/>
        </p:nvSpPr>
        <p:spPr>
          <a:xfrm>
            <a:off x="-427018" y="515392"/>
            <a:ext cx="10165700" cy="67980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5600"/>
              </a:lnSpc>
            </a:pPr>
            <a:r>
              <a:rPr lang="en-US" sz="4000" b="1">
                <a:solidFill>
                  <a:schemeClr val="tx2"/>
                </a:solidFill>
                <a:latin typeface="Cavolini"/>
                <a:cs typeface="Cavolini"/>
              </a:rPr>
              <a:t>Team Storyboard Session</a:t>
            </a:r>
          </a:p>
        </p:txBody>
      </p:sp>
      <p:sp>
        <p:nvSpPr>
          <p:cNvPr id="9" name="TextBox 9"/>
          <p:cNvSpPr txBox="1"/>
          <p:nvPr/>
        </p:nvSpPr>
        <p:spPr>
          <a:xfrm>
            <a:off x="637397" y="1879561"/>
            <a:ext cx="3145672" cy="268926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4296"/>
              </a:lnSpc>
            </a:pPr>
            <a:r>
              <a:rPr lang="en-US" sz="2000" b="1">
                <a:solidFill>
                  <a:schemeClr val="tx2"/>
                </a:solidFill>
                <a:latin typeface="Cavolini"/>
                <a:cs typeface="Cavolini"/>
              </a:rPr>
              <a:t>Visit all the </a:t>
            </a:r>
            <a:endParaRPr lang="en-US">
              <a:solidFill>
                <a:schemeClr val="tx2"/>
              </a:solidFill>
              <a:cs typeface="Calibri"/>
            </a:endParaRPr>
          </a:p>
          <a:p>
            <a:pPr algn="ctr">
              <a:lnSpc>
                <a:spcPts val="4296"/>
              </a:lnSpc>
            </a:pPr>
            <a:r>
              <a:rPr lang="en-US" sz="2000" b="1">
                <a:solidFill>
                  <a:schemeClr val="tx2"/>
                </a:solidFill>
                <a:latin typeface="Cavolini"/>
                <a:cs typeface="Cavolini"/>
              </a:rPr>
              <a:t>storyboards to learn about the amazing QI work other hospitals are doing.</a:t>
            </a:r>
            <a:endParaRPr lang="en-US">
              <a:solidFill>
                <a:schemeClr val="tx2"/>
              </a:solidFill>
              <a:cs typeface="Calibri"/>
            </a:endParaRPr>
          </a:p>
        </p:txBody>
      </p:sp>
      <p:sp>
        <p:nvSpPr>
          <p:cNvPr id="10" name="TextBox 10"/>
          <p:cNvSpPr txBox="1"/>
          <p:nvPr/>
        </p:nvSpPr>
        <p:spPr>
          <a:xfrm>
            <a:off x="656245" y="5006111"/>
            <a:ext cx="2840382" cy="12311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>
                <a:solidFill>
                  <a:srgbClr val="9C786B"/>
                </a:solidFill>
                <a:latin typeface="Cavolini"/>
                <a:cs typeface="Cavolini"/>
              </a:rPr>
              <a:t>Don’t forget to use your </a:t>
            </a:r>
            <a:r>
              <a:rPr lang="en-US" sz="2000" b="1" i="1">
                <a:solidFill>
                  <a:srgbClr val="9C786B"/>
                </a:solidFill>
                <a:latin typeface="Cavolini"/>
                <a:cs typeface="Cavolini"/>
              </a:rPr>
              <a:t>Steal Shamelessly handout</a:t>
            </a:r>
            <a:r>
              <a:rPr lang="en-US" sz="2000" b="1">
                <a:solidFill>
                  <a:srgbClr val="9C786B"/>
                </a:solidFill>
                <a:latin typeface="Cavolini"/>
                <a:cs typeface="Cavolini"/>
              </a:rPr>
              <a:t>!</a:t>
            </a:r>
            <a:endParaRPr lang="en-US">
              <a:ea typeface="Calibri"/>
              <a:cs typeface="Calibri"/>
            </a:endParaRPr>
          </a:p>
        </p:txBody>
      </p:sp>
      <p:sp>
        <p:nvSpPr>
          <p:cNvPr id="12" name="Freeform 12"/>
          <p:cNvSpPr/>
          <p:nvPr/>
        </p:nvSpPr>
        <p:spPr>
          <a:xfrm>
            <a:off x="10036112" y="2875153"/>
            <a:ext cx="292460" cy="303068"/>
          </a:xfrm>
          <a:custGeom>
            <a:avLst/>
            <a:gdLst/>
            <a:ahLst/>
            <a:cxnLst/>
            <a:rect l="l" t="t" r="r" b="b"/>
            <a:pathLst>
              <a:path w="438690" h="454602">
                <a:moveTo>
                  <a:pt x="0" y="0"/>
                </a:moveTo>
                <a:lnTo>
                  <a:pt x="438690" y="0"/>
                </a:lnTo>
                <a:lnTo>
                  <a:pt x="438690" y="454602"/>
                </a:lnTo>
                <a:lnTo>
                  <a:pt x="0" y="454602"/>
                </a:lnTo>
                <a:lnTo>
                  <a:pt x="0" y="0"/>
                </a:lnTo>
                <a:close/>
              </a:path>
            </a:pathLst>
          </a:custGeom>
          <a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6" name="Freeform 16"/>
          <p:cNvSpPr/>
          <p:nvPr/>
        </p:nvSpPr>
        <p:spPr>
          <a:xfrm>
            <a:off x="9736300" y="5201051"/>
            <a:ext cx="3023707" cy="1988482"/>
          </a:xfrm>
          <a:custGeom>
            <a:avLst/>
            <a:gdLst/>
            <a:ahLst/>
            <a:cxnLst/>
            <a:rect l="l" t="t" r="r" b="b"/>
            <a:pathLst>
              <a:path w="4535560" h="2982723">
                <a:moveTo>
                  <a:pt x="0" y="0"/>
                </a:moveTo>
                <a:lnTo>
                  <a:pt x="4535560" y="0"/>
                </a:lnTo>
                <a:lnTo>
                  <a:pt x="4535560" y="2982722"/>
                </a:lnTo>
                <a:lnTo>
                  <a:pt x="0" y="2982722"/>
                </a:lnTo>
                <a:lnTo>
                  <a:pt x="0" y="0"/>
                </a:lnTo>
                <a:close/>
              </a:path>
            </a:pathLst>
          </a:custGeom>
          <a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7" name="Freeform 17"/>
          <p:cNvSpPr/>
          <p:nvPr/>
        </p:nvSpPr>
        <p:spPr>
          <a:xfrm flipH="1">
            <a:off x="3044575" y="1862310"/>
            <a:ext cx="324574" cy="597501"/>
          </a:xfrm>
          <a:custGeom>
            <a:avLst/>
            <a:gdLst/>
            <a:ahLst/>
            <a:cxnLst/>
            <a:rect l="l" t="t" r="r" b="b"/>
            <a:pathLst>
              <a:path w="621500" h="1508164">
                <a:moveTo>
                  <a:pt x="0" y="0"/>
                </a:moveTo>
                <a:lnTo>
                  <a:pt x="621500" y="0"/>
                </a:lnTo>
                <a:lnTo>
                  <a:pt x="621500" y="1508164"/>
                </a:lnTo>
                <a:lnTo>
                  <a:pt x="0" y="1508164"/>
                </a:lnTo>
                <a:lnTo>
                  <a:pt x="0" y="0"/>
                </a:lnTo>
                <a:close/>
              </a:path>
            </a:pathLst>
          </a:custGeom>
          <a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19" name="Picture 18" descr="A person holding a cup looking at a table with papers&#10;&#10;Description automatically generated">
            <a:extLst>
              <a:ext uri="{FF2B5EF4-FFF2-40B4-BE49-F238E27FC236}">
                <a16:creationId xmlns:a16="http://schemas.microsoft.com/office/drawing/2014/main" id="{6C26D102-2B06-05C4-0EFF-E54EF504C0EB}"/>
              </a:ext>
            </a:extLst>
          </p:cNvPr>
          <p:cNvPicPr>
            <a:picLocks noChangeAspect="1"/>
          </p:cNvPicPr>
          <p:nvPr/>
        </p:nvPicPr>
        <p:blipFill rotWithShape="1"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78" r="196" b="187"/>
          <a:stretch/>
        </p:blipFill>
        <p:spPr>
          <a:xfrm>
            <a:off x="6118195" y="1510363"/>
            <a:ext cx="2596306" cy="274515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4" name="Freeform 7">
            <a:extLst>
              <a:ext uri="{FF2B5EF4-FFF2-40B4-BE49-F238E27FC236}">
                <a16:creationId xmlns:a16="http://schemas.microsoft.com/office/drawing/2014/main" id="{F7FF96F3-3113-329B-A61F-F87128ED0BD0}"/>
              </a:ext>
            </a:extLst>
          </p:cNvPr>
          <p:cNvSpPr/>
          <p:nvPr/>
        </p:nvSpPr>
        <p:spPr>
          <a:xfrm>
            <a:off x="5807527" y="3428531"/>
            <a:ext cx="1078721" cy="959197"/>
          </a:xfrm>
          <a:custGeom>
            <a:avLst/>
            <a:gdLst/>
            <a:ahLst/>
            <a:cxnLst/>
            <a:rect l="l" t="t" r="r" b="b"/>
            <a:pathLst>
              <a:path w="3003536" h="2293156">
                <a:moveTo>
                  <a:pt x="0" y="0"/>
                </a:moveTo>
                <a:lnTo>
                  <a:pt x="3003536" y="0"/>
                </a:lnTo>
                <a:lnTo>
                  <a:pt x="3003536" y="2293156"/>
                </a:lnTo>
                <a:lnTo>
                  <a:pt x="0" y="2293156"/>
                </a:lnTo>
                <a:lnTo>
                  <a:pt x="0" y="0"/>
                </a:lnTo>
                <a:close/>
              </a:path>
            </a:pathLst>
          </a:custGeom>
          <a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1" name="Freeform 7">
            <a:extLst>
              <a:ext uri="{FF2B5EF4-FFF2-40B4-BE49-F238E27FC236}">
                <a16:creationId xmlns:a16="http://schemas.microsoft.com/office/drawing/2014/main" id="{199B0FF2-0971-87E1-3899-285627716B1B}"/>
              </a:ext>
            </a:extLst>
          </p:cNvPr>
          <p:cNvSpPr/>
          <p:nvPr/>
        </p:nvSpPr>
        <p:spPr>
          <a:xfrm>
            <a:off x="11257999" y="6049859"/>
            <a:ext cx="1078721" cy="959197"/>
          </a:xfrm>
          <a:custGeom>
            <a:avLst/>
            <a:gdLst/>
            <a:ahLst/>
            <a:cxnLst/>
            <a:rect l="l" t="t" r="r" b="b"/>
            <a:pathLst>
              <a:path w="3003536" h="2293156">
                <a:moveTo>
                  <a:pt x="0" y="0"/>
                </a:moveTo>
                <a:lnTo>
                  <a:pt x="3003536" y="0"/>
                </a:lnTo>
                <a:lnTo>
                  <a:pt x="3003536" y="2293156"/>
                </a:lnTo>
                <a:lnTo>
                  <a:pt x="0" y="2293156"/>
                </a:lnTo>
                <a:lnTo>
                  <a:pt x="0" y="0"/>
                </a:lnTo>
                <a:close/>
              </a:path>
            </a:pathLst>
          </a:custGeom>
          <a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pic>
        <p:nvPicPr>
          <p:cNvPr id="25" name="Picture 24" descr="A group of people standing in a room&#10;&#10;Description automatically generated">
            <a:extLst>
              <a:ext uri="{FF2B5EF4-FFF2-40B4-BE49-F238E27FC236}">
                <a16:creationId xmlns:a16="http://schemas.microsoft.com/office/drawing/2014/main" id="{45479871-3ECA-2DB9-6FE6-93D91C0A83C2}"/>
              </a:ext>
            </a:extLst>
          </p:cNvPr>
          <p:cNvPicPr>
            <a:picLocks noChangeAspect="1"/>
          </p:cNvPicPr>
          <p:nvPr/>
        </p:nvPicPr>
        <p:blipFill rotWithShape="1"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76" r="16200" b="-590"/>
          <a:stretch/>
        </p:blipFill>
        <p:spPr>
          <a:xfrm>
            <a:off x="4067509" y="2988664"/>
            <a:ext cx="2821432" cy="2475179"/>
          </a:xfrm>
          <a:prstGeom prst="rect">
            <a:avLst/>
          </a:prstGeom>
        </p:spPr>
      </p:pic>
      <p:pic>
        <p:nvPicPr>
          <p:cNvPr id="18" name="Picture 17" descr="A group of women standing next to a table with papers&#10;&#10;Description automatically generated">
            <a:extLst>
              <a:ext uri="{FF2B5EF4-FFF2-40B4-BE49-F238E27FC236}">
                <a16:creationId xmlns:a16="http://schemas.microsoft.com/office/drawing/2014/main" id="{34F99C39-4B9B-5FFF-8287-4B283FF9676E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06" t="-1119" r="10843" b="-1709"/>
          <a:stretch/>
        </p:blipFill>
        <p:spPr>
          <a:xfrm>
            <a:off x="9269362" y="1718333"/>
            <a:ext cx="2653577" cy="5093169"/>
          </a:xfrm>
          <a:prstGeom prst="rect">
            <a:avLst/>
          </a:prstGeom>
        </p:spPr>
      </p:pic>
      <p:sp>
        <p:nvSpPr>
          <p:cNvPr id="22" name="Freeform 15">
            <a:extLst>
              <a:ext uri="{FF2B5EF4-FFF2-40B4-BE49-F238E27FC236}">
                <a16:creationId xmlns:a16="http://schemas.microsoft.com/office/drawing/2014/main" id="{97FF1F2C-6485-E05E-FD17-4C390061539B}"/>
              </a:ext>
            </a:extLst>
          </p:cNvPr>
          <p:cNvSpPr/>
          <p:nvPr/>
        </p:nvSpPr>
        <p:spPr>
          <a:xfrm rot="5400000">
            <a:off x="4226975" y="3004359"/>
            <a:ext cx="602159" cy="248144"/>
          </a:xfrm>
          <a:custGeom>
            <a:avLst/>
            <a:gdLst/>
            <a:ahLst/>
            <a:cxnLst/>
            <a:rect l="l" t="t" r="r" b="b"/>
            <a:pathLst>
              <a:path w="903238" h="372216">
                <a:moveTo>
                  <a:pt x="0" y="0"/>
                </a:moveTo>
                <a:lnTo>
                  <a:pt x="903238" y="0"/>
                </a:lnTo>
                <a:lnTo>
                  <a:pt x="903238" y="372216"/>
                </a:lnTo>
                <a:lnTo>
                  <a:pt x="0" y="372216"/>
                </a:lnTo>
                <a:lnTo>
                  <a:pt x="0" y="0"/>
                </a:lnTo>
                <a:close/>
              </a:path>
            </a:pathLst>
          </a:custGeom>
          <a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3" name="Freeform 13"/>
          <p:cNvSpPr/>
          <p:nvPr/>
        </p:nvSpPr>
        <p:spPr>
          <a:xfrm>
            <a:off x="9267010" y="362794"/>
            <a:ext cx="2515775" cy="2292114"/>
          </a:xfrm>
          <a:custGeom>
            <a:avLst/>
            <a:gdLst/>
            <a:ahLst/>
            <a:cxnLst/>
            <a:rect l="l" t="t" r="r" b="b"/>
            <a:pathLst>
              <a:path w="3011882" h="3825706">
                <a:moveTo>
                  <a:pt x="0" y="0"/>
                </a:moveTo>
                <a:lnTo>
                  <a:pt x="3011882" y="0"/>
                </a:lnTo>
                <a:lnTo>
                  <a:pt x="3011882" y="3825706"/>
                </a:lnTo>
                <a:lnTo>
                  <a:pt x="0" y="3825706"/>
                </a:lnTo>
                <a:lnTo>
                  <a:pt x="0" y="0"/>
                </a:lnTo>
                <a:close/>
              </a:path>
            </a:pathLst>
          </a:custGeom>
          <a:blipFill>
            <a:blip r:embed="rId2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5" name="Freeform 15"/>
          <p:cNvSpPr/>
          <p:nvPr/>
        </p:nvSpPr>
        <p:spPr>
          <a:xfrm>
            <a:off x="8969324" y="505603"/>
            <a:ext cx="602159" cy="248144"/>
          </a:xfrm>
          <a:custGeom>
            <a:avLst/>
            <a:gdLst/>
            <a:ahLst/>
            <a:cxnLst/>
            <a:rect l="l" t="t" r="r" b="b"/>
            <a:pathLst>
              <a:path w="903238" h="372216">
                <a:moveTo>
                  <a:pt x="0" y="0"/>
                </a:moveTo>
                <a:lnTo>
                  <a:pt x="903238" y="0"/>
                </a:lnTo>
                <a:lnTo>
                  <a:pt x="903238" y="372216"/>
                </a:lnTo>
                <a:lnTo>
                  <a:pt x="0" y="372216"/>
                </a:lnTo>
                <a:lnTo>
                  <a:pt x="0" y="0"/>
                </a:lnTo>
                <a:close/>
              </a:path>
            </a:pathLst>
          </a:custGeom>
          <a:blipFill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4" name="TextBox 14"/>
          <p:cNvSpPr txBox="1"/>
          <p:nvPr/>
        </p:nvSpPr>
        <p:spPr>
          <a:xfrm>
            <a:off x="9443515" y="1033256"/>
            <a:ext cx="2165814" cy="951607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840"/>
              </a:lnSpc>
            </a:pPr>
            <a:r>
              <a:rPr lang="en-US" sz="2800" b="1">
                <a:solidFill>
                  <a:schemeClr val="tx2"/>
                </a:solidFill>
                <a:latin typeface="Cavolini"/>
                <a:cs typeface="Cavolini"/>
              </a:rPr>
              <a:t>11:35-12:15pm</a:t>
            </a:r>
          </a:p>
        </p:txBody>
      </p:sp>
      <p:pic>
        <p:nvPicPr>
          <p:cNvPr id="23" name="Picture 22" descr="A group of women looking at a paper&#10;&#10;Description automatically generated">
            <a:extLst>
              <a:ext uri="{FF2B5EF4-FFF2-40B4-BE49-F238E27FC236}">
                <a16:creationId xmlns:a16="http://schemas.microsoft.com/office/drawing/2014/main" id="{BFDB15B5-91CF-CE6D-E107-EA990F01D7BB}"/>
              </a:ext>
            </a:extLst>
          </p:cNvPr>
          <p:cNvPicPr>
            <a:picLocks noChangeAspect="1"/>
          </p:cNvPicPr>
          <p:nvPr/>
        </p:nvPicPr>
        <p:blipFill rotWithShape="1">
          <a:blip r:embed="rId2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5" t="36757" r="589" b="3275"/>
          <a:stretch/>
        </p:blipFill>
        <p:spPr>
          <a:xfrm>
            <a:off x="6325161" y="4061219"/>
            <a:ext cx="2377408" cy="2663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94288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ouple of women in a basket and tickets&#10;&#10;Description automatically generated">
            <a:extLst>
              <a:ext uri="{FF2B5EF4-FFF2-40B4-BE49-F238E27FC236}">
                <a16:creationId xmlns:a16="http://schemas.microsoft.com/office/drawing/2014/main" id="{AE4D0A83-4639-E834-A664-8C9D2217834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56581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4" name="Google Shape;2654;g2491ddcd1b9_0_8119"/>
          <p:cNvSpPr/>
          <p:nvPr/>
        </p:nvSpPr>
        <p:spPr>
          <a:xfrm>
            <a:off x="0" y="5987966"/>
            <a:ext cx="9161029" cy="870035"/>
          </a:xfrm>
          <a:custGeom>
            <a:avLst/>
            <a:gdLst/>
            <a:ahLst/>
            <a:cxnLst/>
            <a:rect l="l" t="t" r="r" b="b"/>
            <a:pathLst>
              <a:path w="9161029" h="1490093" extrusionOk="0">
                <a:moveTo>
                  <a:pt x="0" y="0"/>
                </a:moveTo>
                <a:lnTo>
                  <a:pt x="2046494" y="0"/>
                </a:lnTo>
                <a:lnTo>
                  <a:pt x="2496613" y="0"/>
                </a:lnTo>
                <a:lnTo>
                  <a:pt x="3235839" y="0"/>
                </a:lnTo>
                <a:lnTo>
                  <a:pt x="9161029" y="0"/>
                </a:lnTo>
                <a:lnTo>
                  <a:pt x="8470921" y="1490093"/>
                </a:lnTo>
                <a:lnTo>
                  <a:pt x="0" y="1490093"/>
                </a:lnTo>
                <a:close/>
              </a:path>
            </a:pathLst>
          </a:custGeom>
          <a:solidFill>
            <a:srgbClr val="9CA5AE">
              <a:alpha val="40000"/>
            </a:srgb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55" name="Google Shape;2655;g2491ddcd1b9_0_8119"/>
          <p:cNvSpPr/>
          <p:nvPr/>
        </p:nvSpPr>
        <p:spPr>
          <a:xfrm>
            <a:off x="8396979" y="5987966"/>
            <a:ext cx="3795021" cy="870035"/>
          </a:xfrm>
          <a:custGeom>
            <a:avLst/>
            <a:gdLst/>
            <a:ahLst/>
            <a:cxnLst/>
            <a:rect l="l" t="t" r="r" b="b"/>
            <a:pathLst>
              <a:path w="3428963" h="1490093" extrusionOk="0">
                <a:moveTo>
                  <a:pt x="690108" y="0"/>
                </a:moveTo>
                <a:lnTo>
                  <a:pt x="3428963" y="0"/>
                </a:lnTo>
                <a:lnTo>
                  <a:pt x="3428963" y="1490093"/>
                </a:lnTo>
                <a:lnTo>
                  <a:pt x="0" y="1490093"/>
                </a:lnTo>
                <a:close/>
              </a:path>
            </a:pathLst>
          </a:custGeom>
          <a:solidFill>
            <a:schemeClr val="dk1">
              <a:alpha val="69411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56" name="Google Shape;2656;g2491ddcd1b9_0_8119"/>
          <p:cNvSpPr txBox="1">
            <a:spLocks noGrp="1"/>
          </p:cNvSpPr>
          <p:nvPr>
            <p:ph type="title"/>
          </p:nvPr>
        </p:nvSpPr>
        <p:spPr>
          <a:xfrm>
            <a:off x="6148" y="1649"/>
            <a:ext cx="10796100" cy="1340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</a:pPr>
            <a:r>
              <a:rPr lang="en-US" sz="3500">
                <a:latin typeface="Aptos"/>
              </a:rPr>
              <a:t>But wait </a:t>
            </a:r>
            <a:br>
              <a:rPr lang="en-US" sz="3500">
                <a:latin typeface="Aptos"/>
              </a:rPr>
            </a:br>
            <a:r>
              <a:rPr lang="en-US" sz="3500">
                <a:latin typeface="Aptos"/>
              </a:rPr>
              <a:t>there's more....</a:t>
            </a:r>
            <a:endParaRPr sz="3500">
              <a:latin typeface="Aptos"/>
            </a:endParaRPr>
          </a:p>
        </p:txBody>
      </p:sp>
      <p:sp>
        <p:nvSpPr>
          <p:cNvPr id="2657" name="Google Shape;2657;g2491ddcd1b9_0_8119"/>
          <p:cNvSpPr txBox="1">
            <a:spLocks noGrp="1"/>
          </p:cNvSpPr>
          <p:nvPr>
            <p:ph type="ftr" idx="11"/>
          </p:nvPr>
        </p:nvSpPr>
        <p:spPr>
          <a:xfrm>
            <a:off x="9414844" y="6263640"/>
            <a:ext cx="21279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r>
              <a:rPr lang="en-US" sz="1000">
                <a:solidFill>
                  <a:schemeClr val="lt1"/>
                </a:solidFill>
              </a:rPr>
              <a:t>Illinois Perinatal Quality Collaborative</a:t>
            </a:r>
            <a:endParaRPr/>
          </a:p>
        </p:txBody>
      </p:sp>
      <p:sp>
        <p:nvSpPr>
          <p:cNvPr id="2658" name="Google Shape;2658;g2491ddcd1b9_0_8119"/>
          <p:cNvSpPr txBox="1">
            <a:spLocks noGrp="1"/>
          </p:cNvSpPr>
          <p:nvPr>
            <p:ph type="body" idx="1"/>
          </p:nvPr>
        </p:nvSpPr>
        <p:spPr>
          <a:xfrm>
            <a:off x="214927" y="1254196"/>
            <a:ext cx="304353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2286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600"/>
              <a:buChar char="•"/>
            </a:pPr>
            <a:r>
              <a:rPr lang="en-US" sz="2600" b="1">
                <a:solidFill>
                  <a:srgbClr val="000000"/>
                </a:solidFill>
                <a:latin typeface="Aptos"/>
              </a:rPr>
              <a:t>Extra Raffle Ticket Fun!</a:t>
            </a:r>
            <a:endParaRPr>
              <a:latin typeface="Aptos"/>
            </a:endParaRPr>
          </a:p>
          <a:p>
            <a:pPr marL="228600" lvl="0" indent="-228600" algn="l" rtl="0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SzPts val="2600"/>
              <a:buChar char="•"/>
            </a:pPr>
            <a:r>
              <a:rPr lang="en-US" sz="2600" b="1">
                <a:solidFill>
                  <a:srgbClr val="000000"/>
                </a:solidFill>
                <a:latin typeface="Aptos"/>
              </a:rPr>
              <a:t>Visit teams Storyboards and complete your </a:t>
            </a:r>
            <a:r>
              <a:rPr lang="en-US" sz="2600" b="1" err="1">
                <a:solidFill>
                  <a:schemeClr val="accent2"/>
                </a:solidFill>
                <a:latin typeface="Aptos"/>
              </a:rPr>
              <a:t>BinGo</a:t>
            </a:r>
            <a:r>
              <a:rPr lang="en-US" sz="2600" b="1">
                <a:solidFill>
                  <a:schemeClr val="accent2"/>
                </a:solidFill>
                <a:latin typeface="Aptos"/>
              </a:rPr>
              <a:t> card</a:t>
            </a:r>
            <a:r>
              <a:rPr lang="en-US" sz="2600" b="1">
                <a:solidFill>
                  <a:srgbClr val="000000"/>
                </a:solidFill>
                <a:latin typeface="Aptos"/>
              </a:rPr>
              <a:t> for another chance to win one of the amazing raffle baskets! </a:t>
            </a:r>
            <a:endParaRPr sz="2600" b="1">
              <a:solidFill>
                <a:srgbClr val="000000"/>
              </a:solidFill>
              <a:latin typeface="Aptos"/>
            </a:endParaRPr>
          </a:p>
        </p:txBody>
      </p:sp>
      <p:pic>
        <p:nvPicPr>
          <p:cNvPr id="2659" name="Google Shape;2659;g2491ddcd1b9_0_8119" descr="A picture containing text&#10;&#10;Description automatically generated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43497" y="6340"/>
            <a:ext cx="834677" cy="813870"/>
          </a:xfrm>
          <a:prstGeom prst="rect">
            <a:avLst/>
          </a:prstGeom>
          <a:noFill/>
          <a:ln>
            <a:noFill/>
          </a:ln>
        </p:spPr>
      </p:pic>
      <p:sp>
        <p:nvSpPr>
          <p:cNvPr id="2661" name="Google Shape;2661;g2491ddcd1b9_0_8119"/>
          <p:cNvSpPr txBox="1"/>
          <p:nvPr/>
        </p:nvSpPr>
        <p:spPr>
          <a:xfrm>
            <a:off x="7451134" y="5641705"/>
            <a:ext cx="4734000" cy="461700"/>
          </a:xfrm>
          <a:prstGeom prst="rect">
            <a:avLst/>
          </a:prstGeom>
          <a:solidFill>
            <a:schemeClr val="bg1"/>
          </a:solidFill>
          <a:ln>
            <a:solidFill>
              <a:srgbClr val="E2809E"/>
            </a:solidFill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r>
              <a:rPr lang="en-US" sz="2400" b="1" i="0" u="none" strike="noStrike" cap="none">
                <a:solidFill>
                  <a:schemeClr val="accent3"/>
                </a:solidFill>
                <a:latin typeface="Calibri"/>
                <a:ea typeface="Calibri"/>
                <a:cs typeface="Calibri"/>
                <a:sym typeface="Calibri"/>
              </a:rPr>
              <a:t>Located in your ILPQC F2F Folder</a:t>
            </a:r>
            <a:endParaRPr lang="en-US" sz="1400" b="0" i="0" u="none" strike="noStrike" cap="none">
              <a:solidFill>
                <a:schemeClr val="accent3"/>
              </a:solidFill>
              <a:latin typeface="Arial"/>
              <a:ea typeface="Arial"/>
              <a:cs typeface="Arial"/>
            </a:endParaRPr>
          </a:p>
        </p:txBody>
      </p:sp>
      <p:sp>
        <p:nvSpPr>
          <p:cNvPr id="2662" name="Google Shape;2662;g2491ddcd1b9_0_8119"/>
          <p:cNvSpPr txBox="1"/>
          <p:nvPr/>
        </p:nvSpPr>
        <p:spPr>
          <a:xfrm>
            <a:off x="0" y="6123391"/>
            <a:ext cx="10118700" cy="5847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800"/>
              <a:buFont typeface="Arial"/>
              <a:buNone/>
            </a:pPr>
            <a:r>
              <a:rPr lang="en-US" sz="3200" b="1" i="0" u="none" strike="noStrike" cap="none">
                <a:solidFill>
                  <a:srgbClr val="1C498B"/>
                </a:solidFill>
                <a:latin typeface="Aptos"/>
                <a:ea typeface="Calibri"/>
                <a:cs typeface="Calibri"/>
                <a:sym typeface="Calibri"/>
              </a:rPr>
              <a:t>Opportunity to Get up and Storyboard </a:t>
            </a:r>
            <a:r>
              <a:rPr lang="en-US" sz="3200" b="1" i="0" u="none" strike="noStrike" cap="none" err="1">
                <a:solidFill>
                  <a:srgbClr val="1C498B"/>
                </a:solidFill>
                <a:latin typeface="Aptos"/>
                <a:ea typeface="Calibri"/>
                <a:cs typeface="Calibri"/>
                <a:sym typeface="Calibri"/>
              </a:rPr>
              <a:t>BinGO</a:t>
            </a:r>
            <a:r>
              <a:rPr lang="en-US" sz="3200" b="1" i="0" u="none" strike="noStrike" cap="none">
                <a:solidFill>
                  <a:srgbClr val="1C498B"/>
                </a:solidFill>
                <a:latin typeface="Aptos"/>
                <a:ea typeface="Calibri"/>
                <a:cs typeface="Calibri"/>
                <a:sym typeface="Calibri"/>
              </a:rPr>
              <a:t> </a:t>
            </a:r>
            <a:r>
              <a:rPr lang="en-US" sz="3200" b="0" i="0" u="none" strike="noStrike" cap="none">
                <a:solidFill>
                  <a:srgbClr val="1C498B"/>
                </a:solidFill>
                <a:latin typeface="Aptos"/>
                <a:ea typeface="Calibri"/>
                <a:cs typeface="Calibri"/>
                <a:sym typeface="Calibri"/>
              </a:rPr>
              <a:t>​</a:t>
            </a:r>
            <a:endParaRPr sz="3200" b="0" i="0" u="none" strike="noStrike" cap="none">
              <a:solidFill>
                <a:schemeClr val="dk1"/>
              </a:solidFill>
              <a:latin typeface="Aptos"/>
              <a:ea typeface="Calibri"/>
              <a:cs typeface="Calibri"/>
              <a:sym typeface="Calibri"/>
            </a:endParaRPr>
          </a:p>
        </p:txBody>
      </p:sp>
      <p:pic>
        <p:nvPicPr>
          <p:cNvPr id="2" name="Picture 1" descr="A blue and white sign with white text&#10;&#10;Description automatically generated">
            <a:extLst>
              <a:ext uri="{FF2B5EF4-FFF2-40B4-BE49-F238E27FC236}">
                <a16:creationId xmlns:a16="http://schemas.microsoft.com/office/drawing/2014/main" id="{5EF4DF84-E15F-1207-AD9B-A31B45B6CD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6667" y="8764"/>
            <a:ext cx="8558467" cy="5749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0019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VanillaVTI">
  <a:themeElements>
    <a:clrScheme name="VanillaVTI">
      <a:dk1>
        <a:sysClr val="windowText" lastClr="000000"/>
      </a:dk1>
      <a:lt1>
        <a:sysClr val="window" lastClr="FFFFFF"/>
      </a:lt1>
      <a:dk2>
        <a:srgbClr val="2C3932"/>
      </a:dk2>
      <a:lt2>
        <a:srgbClr val="FDF6EA"/>
      </a:lt2>
      <a:accent1>
        <a:srgbClr val="169C9A"/>
      </a:accent1>
      <a:accent2>
        <a:srgbClr val="FA9A42"/>
      </a:accent2>
      <a:accent3>
        <a:srgbClr val="E15C3D"/>
      </a:accent3>
      <a:accent4>
        <a:srgbClr val="E78A67"/>
      </a:accent4>
      <a:accent5>
        <a:srgbClr val="A74B40"/>
      </a:accent5>
      <a:accent6>
        <a:srgbClr val="3D9072"/>
      </a:accent6>
      <a:hlink>
        <a:srgbClr val="169C9A"/>
      </a:hlink>
      <a:folHlink>
        <a:srgbClr val="E15C3D"/>
      </a:folHlink>
    </a:clrScheme>
    <a:fontScheme name="VanillaVTI">
      <a:majorFont>
        <a:latin typeface="Neue Haas Grotesk Text Pro"/>
        <a:ea typeface=""/>
        <a:cs typeface=""/>
      </a:majorFont>
      <a:minorFont>
        <a:latin typeface="Neue Haas Grotesk Text Pro"/>
        <a:ea typeface=""/>
        <a:cs typeface=""/>
      </a:minorFont>
    </a:fontScheme>
    <a:fmtScheme name="VanillaVTI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anillaVTI" id="{AACC6CF0-9F86-48CC-9C4E-CA578EE0A0A0}" vid="{3BDE51FE-56D6-4100-AFB5-5B4AEDCE2EF6}"/>
    </a:ext>
  </a:extLst>
</a:theme>
</file>

<file path=ppt/theme/theme11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12.xml><?xml version="1.0" encoding="utf-8"?>
<a:theme xmlns:a="http://schemas.openxmlformats.org/drawingml/2006/main" name="7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9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10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12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8.xml><?xml version="1.0" encoding="utf-8"?>
<a:theme xmlns:a="http://schemas.openxmlformats.org/drawingml/2006/main" name="1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5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14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4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LPQC presentation template 050521" id="{674D30D3-C77E-E647-8D3B-83DDD22D03E9}" vid="{554A91CC-0DFA-5C44-A336-EAD772B121DE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61</TotalTime>
  <Words>3483</Words>
  <Application>Microsoft Office PowerPoint</Application>
  <PresentationFormat>Widescreen</PresentationFormat>
  <Paragraphs>595</Paragraphs>
  <Slides>56</Slides>
  <Notes>39</Notes>
  <HiddenSlides>0</HiddenSlides>
  <MMClips>0</MMClips>
  <ScaleCrop>false</ScaleCrop>
  <HeadingPairs>
    <vt:vector size="4" baseType="variant">
      <vt:variant>
        <vt:lpstr>Theme</vt:lpstr>
      </vt:variant>
      <vt:variant>
        <vt:i4>20</vt:i4>
      </vt:variant>
      <vt:variant>
        <vt:lpstr>Slide Titles</vt:lpstr>
      </vt:variant>
      <vt:variant>
        <vt:i4>56</vt:i4>
      </vt:variant>
    </vt:vector>
  </HeadingPairs>
  <TitlesOfParts>
    <vt:vector size="76" baseType="lpstr">
      <vt:lpstr>1_Office Theme</vt:lpstr>
      <vt:lpstr>2_Office Theme</vt:lpstr>
      <vt:lpstr>Office Theme</vt:lpstr>
      <vt:lpstr>Office Theme</vt:lpstr>
      <vt:lpstr>1_Office Theme</vt:lpstr>
      <vt:lpstr>1_Office Theme</vt:lpstr>
      <vt:lpstr>1_Office Theme</vt:lpstr>
      <vt:lpstr>3_Office Theme</vt:lpstr>
      <vt:lpstr>4_Office Theme</vt:lpstr>
      <vt:lpstr>VanillaVTI</vt:lpstr>
      <vt:lpstr>6_office theme</vt:lpstr>
      <vt:lpstr>7_Office Theme</vt:lpstr>
      <vt:lpstr>8_Office Theme</vt:lpstr>
      <vt:lpstr>9_Office Theme</vt:lpstr>
      <vt:lpstr>10_Office Theme</vt:lpstr>
      <vt:lpstr>11_Office Theme</vt:lpstr>
      <vt:lpstr>12_Office Theme</vt:lpstr>
      <vt:lpstr>13_Office Theme</vt:lpstr>
      <vt:lpstr>5_Office Theme</vt:lpstr>
      <vt:lpstr>14_Office Theme</vt:lpstr>
      <vt:lpstr>PowerPoint Presentation</vt:lpstr>
      <vt:lpstr>Illinois Perinatal Quality Collaborative</vt:lpstr>
      <vt:lpstr>ILPQC Face-to-Face 2024: Day #1 OB Agenda</vt:lpstr>
      <vt:lpstr>ILPQC Face-to-Face 2024: Day #2 Neonatal Agenda</vt:lpstr>
      <vt:lpstr>PowerPoint Presentation</vt:lpstr>
      <vt:lpstr>PowerPoint Presentation</vt:lpstr>
      <vt:lpstr>PowerPoint Presentation</vt:lpstr>
      <vt:lpstr>PowerPoint Presentation</vt:lpstr>
      <vt:lpstr>But wait  there's more....</vt:lpstr>
      <vt:lpstr>Make Sure  to Come &amp; Visit  ILPQC's Partner Tables</vt:lpstr>
      <vt:lpstr>PowerPoint Presentation</vt:lpstr>
      <vt:lpstr>2024 OB Face-to-Face Attendee Resource Folder</vt:lpstr>
      <vt:lpstr>PowerPoint Presentation</vt:lpstr>
      <vt:lpstr>Welcome Address</vt:lpstr>
      <vt:lpstr>Making Change Happen in 2024</vt:lpstr>
      <vt:lpstr>Welcome back to Springfield! </vt:lpstr>
      <vt:lpstr>PowerPoint Presentation</vt:lpstr>
      <vt:lpstr>Together, WE ARE ILPQC!</vt:lpstr>
      <vt:lpstr>Goals for today</vt:lpstr>
      <vt:lpstr>Promoting Vaginal Birth</vt:lpstr>
      <vt:lpstr>PowerPoint Presentation</vt:lpstr>
      <vt:lpstr>PowerPoint Presentation</vt:lpstr>
      <vt:lpstr>PowerPoint Presentation</vt:lpstr>
      <vt:lpstr>PVB Structure Measure Implementation</vt:lpstr>
      <vt:lpstr>Celebrating our PVB Success</vt:lpstr>
      <vt:lpstr>Reduced NTSV C-Section Rates and Variability Across Illinois Hospitals</vt:lpstr>
      <vt:lpstr>Improved % of NTSV C-sections Meeting ACOG/SMFM Criteria</vt:lpstr>
      <vt:lpstr>PowerPoint Presentation</vt:lpstr>
      <vt:lpstr>PowerPoint Presentation</vt:lpstr>
      <vt:lpstr>PVB QI Excellence Award Criteria</vt:lpstr>
      <vt:lpstr>PVB Next Steps</vt:lpstr>
      <vt:lpstr>Birth Equity Initiative</vt:lpstr>
      <vt:lpstr>PowerPoint Presentation</vt:lpstr>
      <vt:lpstr>PowerPoint Presentation</vt:lpstr>
      <vt:lpstr>PowerPoint Presentation</vt:lpstr>
      <vt:lpstr>PREM Survey Implementation</vt:lpstr>
      <vt:lpstr>PREM Survey Completion  Goal &gt;10% of births</vt:lpstr>
      <vt:lpstr>Steps to Improve PREM Survey Completion, Share Data and Take Action</vt:lpstr>
      <vt:lpstr>Make the Most of ILPQC PREM REDCap Reports </vt:lpstr>
      <vt:lpstr>Engage Patients and Community in QI Work</vt:lpstr>
      <vt:lpstr>Respectful Care Breakfasts Across IL</vt:lpstr>
      <vt:lpstr>Social Determinants of Health Screening (L&amp;D)</vt:lpstr>
      <vt:lpstr>PowerPoint Presentation</vt:lpstr>
      <vt:lpstr>SDOH Screening and Linkage to Resources</vt:lpstr>
      <vt:lpstr>Birth Equity QI Excellence Award Criteria</vt:lpstr>
      <vt:lpstr>Birth Equity Next Steps</vt:lpstr>
      <vt:lpstr>Mothers and Newborns affected by Opioids (MNO) Sustainability</vt:lpstr>
      <vt:lpstr>PowerPoint Presentation</vt:lpstr>
      <vt:lpstr>Raising Resource Awareness: Connecting Clinical Staff </vt:lpstr>
      <vt:lpstr>OUD Helpline Communication Campaign for OB &amp; ED Units</vt:lpstr>
      <vt:lpstr>Coming in 2025</vt:lpstr>
      <vt:lpstr>PowerPoint Presentation</vt:lpstr>
      <vt:lpstr>PowerPoint Presentation</vt:lpstr>
      <vt:lpstr>Exciting Announcement about TeamBirth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vera, Alana</dc:creator>
  <cp:lastModifiedBy>Patricia Ann Lee King</cp:lastModifiedBy>
  <cp:revision>115</cp:revision>
  <dcterms:created xsi:type="dcterms:W3CDTF">2024-05-07T17:11:34Z</dcterms:created>
  <dcterms:modified xsi:type="dcterms:W3CDTF">2024-05-28T14:42:22Z</dcterms:modified>
</cp:coreProperties>
</file>